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2.xml" ContentType="application/vnd.openxmlformats-officedocument.theme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3.xml" ContentType="application/vnd.openxmlformats-officedocument.theme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101.xml" ContentType="application/vnd.openxmlformats-officedocument.presentationml.tags+xml"/>
  <Override PartName="/ppt/notesSlides/notesSlide1.xml" ContentType="application/vnd.openxmlformats-officedocument.presentationml.notesSlide+xml"/>
  <Override PartName="/ppt/tags/tag102.xml" ContentType="application/vnd.openxmlformats-officedocument.presentationml.tags+xml"/>
  <Override PartName="/ppt/notesSlides/notesSlide2.xml" ContentType="application/vnd.openxmlformats-officedocument.presentationml.notesSlide+xml"/>
  <Override PartName="/ppt/tags/tag103.xml" ContentType="application/vnd.openxmlformats-officedocument.presentationml.tags+xml"/>
  <Override PartName="/ppt/notesSlides/notesSlide3.xml" ContentType="application/vnd.openxmlformats-officedocument.presentationml.notesSlide+xml"/>
  <Override PartName="/ppt/tags/tag104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48" r:id="rId4"/>
    <p:sldMasterId id="2147483884" r:id="rId5"/>
    <p:sldMasterId id="2147484257" r:id="rId6"/>
    <p:sldMasterId id="2147484361" r:id="rId7"/>
  </p:sldMasterIdLst>
  <p:notesMasterIdLst>
    <p:notesMasterId r:id="rId13"/>
  </p:notesMasterIdLst>
  <p:handoutMasterIdLst>
    <p:handoutMasterId r:id="rId14"/>
  </p:handoutMasterIdLst>
  <p:sldIdLst>
    <p:sldId id="2147482695" r:id="rId8"/>
    <p:sldId id="2147483279" r:id="rId9"/>
    <p:sldId id="269" r:id="rId10"/>
    <p:sldId id="271" r:id="rId11"/>
    <p:sldId id="272" r:id="rId12"/>
  </p:sldIdLst>
  <p:sldSz cx="12192000" cy="6858000"/>
  <p:notesSz cx="6858000" cy="91440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2BBE51E-DFEC-08AD-9FA5-A40D04F2459F}" name="Barbieri, Roberta {PEP}" initials="BR{" userId="S::Roberta.Barbieri@pepsico.com::02d463e3-31be-4543-9635-215167b37761" providerId="AD"/>
  <p188:author id="{BEDB8A1F-86FE-81C5-1C08-43C7778120C3}" name="Simoglou, Christopher {PEP}" initials="SC{" userId="S::Christopher.Simoglou@pepsico.com::9252f5cc-4145-4d6a-8c3f-916fb1da6b1b" providerId="AD"/>
  <p188:author id="{74B89E25-8C51-F0AD-3952-842FFE6A0C5E}" name="Jones, Melissa {PEP}" initials="JM{" userId="S::Melissa.Jones@pepsico.com::76dbaf36-b9c3-4a64-b475-32e5a5a638fe" providerId="AD"/>
  <p188:author id="{44E24B56-B785-32DF-6D49-DC3D9E5320DC}" name="Chung, Chloe {PEP}" initials="CC{" userId="S::Chloe.Chung@pepsico.com::66693c35-e055-4c4c-b8f8-1335b6aef442" providerId="AD"/>
  <p188:author id="{C35FB062-1372-6CC3-4DA9-5A615159EEC5}" name="Walton, Catherine {PEP}" initials="WC{" userId="S::Catherine.Walton@pepsico.com::bfbd9cd2-703c-4afc-a58b-8c117451c638" providerId="AD"/>
  <p188:author id="{91272876-CAD9-F43B-7FA6-0F78C3C12259}" name="Parra, Shanna {PEP}" initials="PS{" userId="S::Shanna.Parra@pepsico.com::2808970f-6f44-4696-b120-4137f2ed6749" providerId="AD"/>
  <p188:author id="{07616177-2559-45F1-6BD4-2B46B40EC08C}" name="Jani, Victoria {PEP}" initials="J{" userId="S::victoria.jani@pepsico.com::1821d261-42d2-466f-b425-82b890a47147" providerId="AD"/>
  <p188:author id="{37A6C086-DC88-1E32-AFC9-2A6D3665B9BD}" name="Barbieri, Roberta {PEP}" initials="B{" userId="S::roberta.barbieri@pepsico.com::02d463e3-31be-4543-9635-215167b37761" providerId="AD"/>
  <p188:author id="{08D04289-D94C-2580-AA90-781D62DA2A33}" name="Haverson, Olivia {PEP}" initials="HO{" userId="S::Olivia.Haverson@pepsico.com::19f4feec-5d63-4129-b409-92df7b183df4" providerId="AD"/>
  <p188:author id="{717E7189-94F3-10E4-1BF2-6DFA6F8A996C}" name="Suarez Paz, Mariela {PEP}" initials="SPM{" userId="S::Mariela.SuarezPaz@pepsico.com::7fc53ac8-d257-482c-89c1-a5fb6c548cbb" providerId="AD"/>
  <p188:author id="{4269E78A-B7D9-ADE0-59BD-B7FADDF0A045}" name="Parra, Shanna {PEP}" initials="P{" userId="S::shanna.parra@pepsico.com::2808970f-6f44-4696-b120-4137f2ed6749" providerId="AD"/>
  <p188:author id="{60CD5EB0-C63D-7322-BF68-708685A402F4}" name="Chung, Chloe {PEP}" initials="C{" userId="S::chloe.chung@pepsico.com::66693c35-e055-4c4c-b8f8-1335b6aef442" providerId="AD"/>
  <p188:author id="{6A23FFB7-F0CC-045C-B7B9-63AFB4D7C22F}" name="Tamburro, Joseph {PEP}" initials="TJ{" userId="S::Joseph.Tamburro@pepsico.com::17333bd9-7b19-47d4-9bb2-dbef4fb4c8f5" providerId="AD"/>
  <p188:author id="{FBFA2BD0-B80B-34F3-23E4-E5054ED2392B}" name="Stradling, Emma {PEP}" initials="SE{" userId="S::Emma.Stradling@pepsico.com::1e0ef241-33a3-48c0-9a6d-5d9cb728139c" providerId="AD"/>
  <p188:author id="{6C5AD8E3-B43C-6081-2F53-2F3F3E98B37E}" name="Guest User" initials="GU" userId="S::urn:spo:anon#74c9fb912c562d2a38b593b1d5e373bc001b858958569d356fab648bc20dd169::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mith, Meagan {PEP}" initials="SM{" lastIdx="26" clrIdx="0">
    <p:extLst>
      <p:ext uri="{19B8F6BF-5375-455C-9EA6-DF929625EA0E}">
        <p15:presenceInfo xmlns:p15="http://schemas.microsoft.com/office/powerpoint/2012/main" userId="S::Meagan.Smith@pepsico.com::330715a8-4d2f-4e72-b189-3d9c3c36dd13" providerId="AD"/>
      </p:ext>
    </p:extLst>
  </p:cmAuthor>
  <p:cmAuthor id="2" name="Kim, Wooyoung - Contractor {PEP}" initials="KW-C{" lastIdx="2" clrIdx="1">
    <p:extLst>
      <p:ext uri="{19B8F6BF-5375-455C-9EA6-DF929625EA0E}">
        <p15:presenceInfo xmlns:p15="http://schemas.microsoft.com/office/powerpoint/2012/main" userId="S::wooyoung.kim.contractor@pepsico.com::90e0b37e-577e-4be9-a5f4-d14d4d592b1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B3FC"/>
    <a:srgbClr val="0065E5"/>
    <a:srgbClr val="092188"/>
    <a:srgbClr val="FFC62C"/>
    <a:srgbClr val="133CCF"/>
    <a:srgbClr val="011C89"/>
    <a:srgbClr val="0052DB"/>
    <a:srgbClr val="8FC0FF"/>
    <a:srgbClr val="011464"/>
    <a:srgbClr val="011D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3731683-A327-4E0C-B8F0-ED3B088FD8DC}" v="1" dt="2025-04-08T21:49:30.254"/>
  </p1510:revLst>
</p1510:revInfo>
</file>

<file path=ppt/tableStyles.xml><?xml version="1.0" encoding="utf-8"?>
<a:tblStyleLst xmlns:a="http://schemas.openxmlformats.org/drawingml/2006/main" def="{5C22544A-7EE6-4342-B048-85BDC9FD1C3A}"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9588" autoAdjust="0"/>
  </p:normalViewPr>
  <p:slideViewPr>
    <p:cSldViewPr snapToGrid="0">
      <p:cViewPr varScale="1">
        <p:scale>
          <a:sx n="95" d="100"/>
          <a:sy n="95" d="100"/>
        </p:scale>
        <p:origin x="115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23" Type="http://schemas.microsoft.com/office/2018/10/relationships/authors" Target="authors.xml"/><Relationship Id="rId10" Type="http://schemas.openxmlformats.org/officeDocument/2006/relationships/slide" Target="slides/slide3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handoutMaster" Target="handoutMasters/handout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lnicoff, Matt {PEP}" userId="d3616016-b40c-48ec-9f68-9858efa5f361" providerId="ADAL" clId="{54A5B6AD-7E26-4D9B-A7DE-D02F0C72CC2E}"/>
    <pc:docChg chg="custSel delSld modSld delMainMaster delSection modSection">
      <pc:chgData name="Melnicoff, Matt {PEP}" userId="d3616016-b40c-48ec-9f68-9858efa5f361" providerId="ADAL" clId="{54A5B6AD-7E26-4D9B-A7DE-D02F0C72CC2E}" dt="2025-03-28T19:12:44.707" v="11" actId="47"/>
      <pc:docMkLst>
        <pc:docMk/>
      </pc:docMkLst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971041159" sldId="256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2811134437" sldId="257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1476579693" sldId="258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602500010" sldId="259"/>
        </pc:sldMkLst>
      </pc:sldChg>
      <pc:sldChg chg="del">
        <pc:chgData name="Melnicoff, Matt {PEP}" userId="d3616016-b40c-48ec-9f68-9858efa5f361" providerId="ADAL" clId="{54A5B6AD-7E26-4D9B-A7DE-D02F0C72CC2E}" dt="2025-03-28T19:12:44.707" v="11" actId="47"/>
        <pc:sldMkLst>
          <pc:docMk/>
          <pc:sldMk cId="2707975612" sldId="260"/>
        </pc:sldMkLst>
      </pc:sldChg>
      <pc:sldChg chg="del">
        <pc:chgData name="Melnicoff, Matt {PEP}" userId="d3616016-b40c-48ec-9f68-9858efa5f361" providerId="ADAL" clId="{54A5B6AD-7E26-4D9B-A7DE-D02F0C72CC2E}" dt="2025-03-28T19:12:44.707" v="11" actId="47"/>
        <pc:sldMkLst>
          <pc:docMk/>
          <pc:sldMk cId="3317141176" sldId="261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3522430052" sldId="262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1982682430" sldId="263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2854440491" sldId="264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1319199590" sldId="265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1991289101" sldId="267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3266922756" sldId="268"/>
        </pc:sldMkLst>
      </pc:sldChg>
      <pc:sldChg chg="del">
        <pc:chgData name="Melnicoff, Matt {PEP}" userId="d3616016-b40c-48ec-9f68-9858efa5f361" providerId="ADAL" clId="{54A5B6AD-7E26-4D9B-A7DE-D02F0C72CC2E}" dt="2025-03-28T19:12:44.707" v="11" actId="47"/>
        <pc:sldMkLst>
          <pc:docMk/>
          <pc:sldMk cId="2605151332" sldId="270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3378604841" sldId="273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3189004063" sldId="274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332766598" sldId="275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1652484256" sldId="278"/>
        </pc:sldMkLst>
      </pc:sldChg>
      <pc:sldChg chg="del">
        <pc:chgData name="Melnicoff, Matt {PEP}" userId="d3616016-b40c-48ec-9f68-9858efa5f361" providerId="ADAL" clId="{54A5B6AD-7E26-4D9B-A7DE-D02F0C72CC2E}" dt="2025-03-28T19:12:44.707" v="11" actId="47"/>
        <pc:sldMkLst>
          <pc:docMk/>
          <pc:sldMk cId="3533853904" sldId="279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2100336481" sldId="280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3169086682" sldId="281"/>
        </pc:sldMkLst>
      </pc:sldChg>
      <pc:sldChg chg="del">
        <pc:chgData name="Melnicoff, Matt {PEP}" userId="d3616016-b40c-48ec-9f68-9858efa5f361" providerId="ADAL" clId="{54A5B6AD-7E26-4D9B-A7DE-D02F0C72CC2E}" dt="2025-03-28T19:12:44.707" v="11" actId="47"/>
        <pc:sldMkLst>
          <pc:docMk/>
          <pc:sldMk cId="210494694" sldId="283"/>
        </pc:sldMkLst>
      </pc:sldChg>
      <pc:sldChg chg="del">
        <pc:chgData name="Melnicoff, Matt {PEP}" userId="d3616016-b40c-48ec-9f68-9858efa5f361" providerId="ADAL" clId="{54A5B6AD-7E26-4D9B-A7DE-D02F0C72CC2E}" dt="2025-03-28T19:12:44.707" v="11" actId="47"/>
        <pc:sldMkLst>
          <pc:docMk/>
          <pc:sldMk cId="1579796005" sldId="284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218932090" sldId="285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4097175449" sldId="286"/>
        </pc:sldMkLst>
      </pc:sldChg>
      <pc:sldChg chg="del">
        <pc:chgData name="Melnicoff, Matt {PEP}" userId="d3616016-b40c-48ec-9f68-9858efa5f361" providerId="ADAL" clId="{54A5B6AD-7E26-4D9B-A7DE-D02F0C72CC2E}" dt="2025-03-28T19:12:00.391" v="7" actId="47"/>
        <pc:sldMkLst>
          <pc:docMk/>
          <pc:sldMk cId="300100612" sldId="287"/>
        </pc:sldMkLst>
      </pc:sldChg>
      <pc:sldChg chg="del">
        <pc:chgData name="Melnicoff, Matt {PEP}" userId="d3616016-b40c-48ec-9f68-9858efa5f361" providerId="ADAL" clId="{54A5B6AD-7E26-4D9B-A7DE-D02F0C72CC2E}" dt="2025-03-28T19:12:34.918" v="10" actId="47"/>
        <pc:sldMkLst>
          <pc:docMk/>
          <pc:sldMk cId="3965716480" sldId="288"/>
        </pc:sldMkLst>
      </pc:sldChg>
      <pc:sldChg chg="del">
        <pc:chgData name="Melnicoff, Matt {PEP}" userId="d3616016-b40c-48ec-9f68-9858efa5f361" providerId="ADAL" clId="{54A5B6AD-7E26-4D9B-A7DE-D02F0C72CC2E}" dt="2025-03-28T19:12:44.707" v="11" actId="47"/>
        <pc:sldMkLst>
          <pc:docMk/>
          <pc:sldMk cId="1179935126" sldId="289"/>
        </pc:sldMkLst>
      </pc:sldChg>
      <pc:sldChg chg="del">
        <pc:chgData name="Melnicoff, Matt {PEP}" userId="d3616016-b40c-48ec-9f68-9858efa5f361" providerId="ADAL" clId="{54A5B6AD-7E26-4D9B-A7DE-D02F0C72CC2E}" dt="2025-03-28T19:12:34.918" v="10" actId="47"/>
        <pc:sldMkLst>
          <pc:docMk/>
          <pc:sldMk cId="1388267611" sldId="307"/>
        </pc:sldMkLst>
      </pc:sldChg>
      <pc:sldChg chg="del">
        <pc:chgData name="Melnicoff, Matt {PEP}" userId="d3616016-b40c-48ec-9f68-9858efa5f361" providerId="ADAL" clId="{54A5B6AD-7E26-4D9B-A7DE-D02F0C72CC2E}" dt="2025-03-28T19:12:34.918" v="10" actId="47"/>
        <pc:sldMkLst>
          <pc:docMk/>
          <pc:sldMk cId="1670353729" sldId="308"/>
        </pc:sldMkLst>
      </pc:sldChg>
      <pc:sldChg chg="del">
        <pc:chgData name="Melnicoff, Matt {PEP}" userId="d3616016-b40c-48ec-9f68-9858efa5f361" providerId="ADAL" clId="{54A5B6AD-7E26-4D9B-A7DE-D02F0C72CC2E}" dt="2025-03-28T19:12:00.391" v="7" actId="47"/>
        <pc:sldMkLst>
          <pc:docMk/>
          <pc:sldMk cId="1307700179" sldId="309"/>
        </pc:sldMkLst>
      </pc:sldChg>
      <pc:sldChg chg="del">
        <pc:chgData name="Melnicoff, Matt {PEP}" userId="d3616016-b40c-48ec-9f68-9858efa5f361" providerId="ADAL" clId="{54A5B6AD-7E26-4D9B-A7DE-D02F0C72CC2E}" dt="2025-03-28T19:12:00.391" v="7" actId="47"/>
        <pc:sldMkLst>
          <pc:docMk/>
          <pc:sldMk cId="2842154747" sldId="310"/>
        </pc:sldMkLst>
      </pc:sldChg>
      <pc:sldChg chg="del">
        <pc:chgData name="Melnicoff, Matt {PEP}" userId="d3616016-b40c-48ec-9f68-9858efa5f361" providerId="ADAL" clId="{54A5B6AD-7E26-4D9B-A7DE-D02F0C72CC2E}" dt="2025-03-28T19:12:00.391" v="7" actId="47"/>
        <pc:sldMkLst>
          <pc:docMk/>
          <pc:sldMk cId="2450328797" sldId="311"/>
        </pc:sldMkLst>
      </pc:sldChg>
      <pc:sldChg chg="del">
        <pc:chgData name="Melnicoff, Matt {PEP}" userId="d3616016-b40c-48ec-9f68-9858efa5f361" providerId="ADAL" clId="{54A5B6AD-7E26-4D9B-A7DE-D02F0C72CC2E}" dt="2025-03-28T19:12:44.707" v="11" actId="47"/>
        <pc:sldMkLst>
          <pc:docMk/>
          <pc:sldMk cId="3959443806" sldId="312"/>
        </pc:sldMkLst>
      </pc:sldChg>
      <pc:sldChg chg="del">
        <pc:chgData name="Melnicoff, Matt {PEP}" userId="d3616016-b40c-48ec-9f68-9858efa5f361" providerId="ADAL" clId="{54A5B6AD-7E26-4D9B-A7DE-D02F0C72CC2E}" dt="2025-03-28T19:12:00.391" v="7" actId="47"/>
        <pc:sldMkLst>
          <pc:docMk/>
          <pc:sldMk cId="2973695090" sldId="313"/>
        </pc:sldMkLst>
      </pc:sldChg>
      <pc:sldChg chg="del">
        <pc:chgData name="Melnicoff, Matt {PEP}" userId="d3616016-b40c-48ec-9f68-9858efa5f361" providerId="ADAL" clId="{54A5B6AD-7E26-4D9B-A7DE-D02F0C72CC2E}" dt="2025-03-28T19:12:11.720" v="8" actId="47"/>
        <pc:sldMkLst>
          <pc:docMk/>
          <pc:sldMk cId="3737812679" sldId="314"/>
        </pc:sldMkLst>
      </pc:sldChg>
      <pc:sldChg chg="del">
        <pc:chgData name="Melnicoff, Matt {PEP}" userId="d3616016-b40c-48ec-9f68-9858efa5f361" providerId="ADAL" clId="{54A5B6AD-7E26-4D9B-A7DE-D02F0C72CC2E}" dt="2025-03-28T19:12:11.720" v="8" actId="47"/>
        <pc:sldMkLst>
          <pc:docMk/>
          <pc:sldMk cId="480500665" sldId="315"/>
        </pc:sldMkLst>
      </pc:sldChg>
      <pc:sldChg chg="del">
        <pc:chgData name="Melnicoff, Matt {PEP}" userId="d3616016-b40c-48ec-9f68-9858efa5f361" providerId="ADAL" clId="{54A5B6AD-7E26-4D9B-A7DE-D02F0C72CC2E}" dt="2025-03-28T19:12:11.720" v="8" actId="47"/>
        <pc:sldMkLst>
          <pc:docMk/>
          <pc:sldMk cId="1303682412" sldId="316"/>
        </pc:sldMkLst>
      </pc:sldChg>
      <pc:sldChg chg="del">
        <pc:chgData name="Melnicoff, Matt {PEP}" userId="d3616016-b40c-48ec-9f68-9858efa5f361" providerId="ADAL" clId="{54A5B6AD-7E26-4D9B-A7DE-D02F0C72CC2E}" dt="2025-03-28T19:12:11.720" v="8" actId="47"/>
        <pc:sldMkLst>
          <pc:docMk/>
          <pc:sldMk cId="1827636396" sldId="317"/>
        </pc:sldMkLst>
      </pc:sldChg>
      <pc:sldChg chg="del">
        <pc:chgData name="Melnicoff, Matt {PEP}" userId="d3616016-b40c-48ec-9f68-9858efa5f361" providerId="ADAL" clId="{54A5B6AD-7E26-4D9B-A7DE-D02F0C72CC2E}" dt="2025-03-28T19:12:11.720" v="8" actId="47"/>
        <pc:sldMkLst>
          <pc:docMk/>
          <pc:sldMk cId="1041036452" sldId="318"/>
        </pc:sldMkLst>
      </pc:sldChg>
      <pc:sldChg chg="del">
        <pc:chgData name="Melnicoff, Matt {PEP}" userId="d3616016-b40c-48ec-9f68-9858efa5f361" providerId="ADAL" clId="{54A5B6AD-7E26-4D9B-A7DE-D02F0C72CC2E}" dt="2025-03-28T19:12:11.720" v="8" actId="47"/>
        <pc:sldMkLst>
          <pc:docMk/>
          <pc:sldMk cId="3959487560" sldId="319"/>
        </pc:sldMkLst>
      </pc:sldChg>
      <pc:sldChg chg="del">
        <pc:chgData name="Melnicoff, Matt {PEP}" userId="d3616016-b40c-48ec-9f68-9858efa5f361" providerId="ADAL" clId="{54A5B6AD-7E26-4D9B-A7DE-D02F0C72CC2E}" dt="2025-03-28T19:12:11.720" v="8" actId="47"/>
        <pc:sldMkLst>
          <pc:docMk/>
          <pc:sldMk cId="2169082733" sldId="320"/>
        </pc:sldMkLst>
      </pc:sldChg>
      <pc:sldChg chg="del">
        <pc:chgData name="Melnicoff, Matt {PEP}" userId="d3616016-b40c-48ec-9f68-9858efa5f361" providerId="ADAL" clId="{54A5B6AD-7E26-4D9B-A7DE-D02F0C72CC2E}" dt="2025-03-28T19:12:21.912" v="9" actId="47"/>
        <pc:sldMkLst>
          <pc:docMk/>
          <pc:sldMk cId="1603764005" sldId="321"/>
        </pc:sldMkLst>
      </pc:sldChg>
      <pc:sldChg chg="del">
        <pc:chgData name="Melnicoff, Matt {PEP}" userId="d3616016-b40c-48ec-9f68-9858efa5f361" providerId="ADAL" clId="{54A5B6AD-7E26-4D9B-A7DE-D02F0C72CC2E}" dt="2025-03-28T19:12:21.912" v="9" actId="47"/>
        <pc:sldMkLst>
          <pc:docMk/>
          <pc:sldMk cId="186605707" sldId="322"/>
        </pc:sldMkLst>
      </pc:sldChg>
      <pc:sldChg chg="del">
        <pc:chgData name="Melnicoff, Matt {PEP}" userId="d3616016-b40c-48ec-9f68-9858efa5f361" providerId="ADAL" clId="{54A5B6AD-7E26-4D9B-A7DE-D02F0C72CC2E}" dt="2025-03-28T19:12:21.912" v="9" actId="47"/>
        <pc:sldMkLst>
          <pc:docMk/>
          <pc:sldMk cId="292158503" sldId="323"/>
        </pc:sldMkLst>
      </pc:sldChg>
      <pc:sldChg chg="del">
        <pc:chgData name="Melnicoff, Matt {PEP}" userId="d3616016-b40c-48ec-9f68-9858efa5f361" providerId="ADAL" clId="{54A5B6AD-7E26-4D9B-A7DE-D02F0C72CC2E}" dt="2025-03-28T19:12:34.918" v="10" actId="47"/>
        <pc:sldMkLst>
          <pc:docMk/>
          <pc:sldMk cId="4286328395" sldId="327"/>
        </pc:sldMkLst>
      </pc:sldChg>
      <pc:sldChg chg="del">
        <pc:chgData name="Melnicoff, Matt {PEP}" userId="d3616016-b40c-48ec-9f68-9858efa5f361" providerId="ADAL" clId="{54A5B6AD-7E26-4D9B-A7DE-D02F0C72CC2E}" dt="2025-03-28T19:12:34.918" v="10" actId="47"/>
        <pc:sldMkLst>
          <pc:docMk/>
          <pc:sldMk cId="3061486048" sldId="328"/>
        </pc:sldMkLst>
      </pc:sldChg>
      <pc:sldChg chg="del">
        <pc:chgData name="Melnicoff, Matt {PEP}" userId="d3616016-b40c-48ec-9f68-9858efa5f361" providerId="ADAL" clId="{54A5B6AD-7E26-4D9B-A7DE-D02F0C72CC2E}" dt="2025-03-28T19:12:44.707" v="11" actId="47"/>
        <pc:sldMkLst>
          <pc:docMk/>
          <pc:sldMk cId="4207138220" sldId="2134807386"/>
        </pc:sldMkLst>
      </pc:sldChg>
      <pc:sldChg chg="del">
        <pc:chgData name="Melnicoff, Matt {PEP}" userId="d3616016-b40c-48ec-9f68-9858efa5f361" providerId="ADAL" clId="{54A5B6AD-7E26-4D9B-A7DE-D02F0C72CC2E}" dt="2025-03-28T19:12:44.707" v="11" actId="47"/>
        <pc:sldMkLst>
          <pc:docMk/>
          <pc:sldMk cId="1460720529" sldId="2147474443"/>
        </pc:sldMkLst>
      </pc:sldChg>
      <pc:sldChg chg="del">
        <pc:chgData name="Melnicoff, Matt {PEP}" userId="d3616016-b40c-48ec-9f68-9858efa5f361" providerId="ADAL" clId="{54A5B6AD-7E26-4D9B-A7DE-D02F0C72CC2E}" dt="2025-03-28T19:12:44.707" v="11" actId="47"/>
        <pc:sldMkLst>
          <pc:docMk/>
          <pc:sldMk cId="1857807931" sldId="2147479336"/>
        </pc:sldMkLst>
      </pc:sldChg>
      <pc:sldChg chg="del">
        <pc:chgData name="Melnicoff, Matt {PEP}" userId="d3616016-b40c-48ec-9f68-9858efa5f361" providerId="ADAL" clId="{54A5B6AD-7E26-4D9B-A7DE-D02F0C72CC2E}" dt="2025-03-28T19:12:44.707" v="11" actId="47"/>
        <pc:sldMkLst>
          <pc:docMk/>
          <pc:sldMk cId="2471992695" sldId="2147479376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2261891406" sldId="2147482710"/>
        </pc:sldMkLst>
      </pc:sldChg>
      <pc:sldChg chg="del">
        <pc:chgData name="Melnicoff, Matt {PEP}" userId="d3616016-b40c-48ec-9f68-9858efa5f361" providerId="ADAL" clId="{54A5B6AD-7E26-4D9B-A7DE-D02F0C72CC2E}" dt="2025-03-28T19:12:44.707" v="11" actId="47"/>
        <pc:sldMkLst>
          <pc:docMk/>
          <pc:sldMk cId="2756269031" sldId="2147483232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2813315900" sldId="2147483241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2008080969" sldId="2147483248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4151431577" sldId="2147483249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271074334" sldId="2147483251"/>
        </pc:sldMkLst>
      </pc:sldChg>
      <pc:sldChg chg="del">
        <pc:chgData name="Melnicoff, Matt {PEP}" userId="d3616016-b40c-48ec-9f68-9858efa5f361" providerId="ADAL" clId="{54A5B6AD-7E26-4D9B-A7DE-D02F0C72CC2E}" dt="2025-03-28T19:12:44.707" v="11" actId="47"/>
        <pc:sldMkLst>
          <pc:docMk/>
          <pc:sldMk cId="1994787619" sldId="2147483262"/>
        </pc:sldMkLst>
      </pc:sldChg>
      <pc:sldChg chg="del">
        <pc:chgData name="Melnicoff, Matt {PEP}" userId="d3616016-b40c-48ec-9f68-9858efa5f361" providerId="ADAL" clId="{54A5B6AD-7E26-4D9B-A7DE-D02F0C72CC2E}" dt="2025-03-28T19:12:34.918" v="10" actId="47"/>
        <pc:sldMkLst>
          <pc:docMk/>
          <pc:sldMk cId="223357345" sldId="2147483266"/>
        </pc:sldMkLst>
      </pc:sldChg>
      <pc:sldChg chg="del">
        <pc:chgData name="Melnicoff, Matt {PEP}" userId="d3616016-b40c-48ec-9f68-9858efa5f361" providerId="ADAL" clId="{54A5B6AD-7E26-4D9B-A7DE-D02F0C72CC2E}" dt="2025-03-28T19:12:34.918" v="10" actId="47"/>
        <pc:sldMkLst>
          <pc:docMk/>
          <pc:sldMk cId="749668386" sldId="2147483272"/>
        </pc:sldMkLst>
      </pc:sldChg>
      <pc:sldChg chg="delSp modSp mod">
        <pc:chgData name="Melnicoff, Matt {PEP}" userId="d3616016-b40c-48ec-9f68-9858efa5f361" providerId="ADAL" clId="{54A5B6AD-7E26-4D9B-A7DE-D02F0C72CC2E}" dt="2025-03-28T19:11:44.062" v="6" actId="20577"/>
        <pc:sldMkLst>
          <pc:docMk/>
          <pc:sldMk cId="4158100711" sldId="2147483279"/>
        </pc:sldMkLst>
        <pc:spChg chg="del">
          <ac:chgData name="Melnicoff, Matt {PEP}" userId="d3616016-b40c-48ec-9f68-9858efa5f361" providerId="ADAL" clId="{54A5B6AD-7E26-4D9B-A7DE-D02F0C72CC2E}" dt="2025-03-28T19:11:15.663" v="4" actId="478"/>
          <ac:spMkLst>
            <pc:docMk/>
            <pc:sldMk cId="4158100711" sldId="2147483279"/>
            <ac:spMk id="5" creationId="{68676992-9676-60C9-5913-137630C02E84}"/>
          </ac:spMkLst>
        </pc:spChg>
        <pc:spChg chg="del">
          <ac:chgData name="Melnicoff, Matt {PEP}" userId="d3616016-b40c-48ec-9f68-9858efa5f361" providerId="ADAL" clId="{54A5B6AD-7E26-4D9B-A7DE-D02F0C72CC2E}" dt="2025-03-28T19:11:18.848" v="5" actId="478"/>
          <ac:spMkLst>
            <pc:docMk/>
            <pc:sldMk cId="4158100711" sldId="2147483279"/>
            <ac:spMk id="7" creationId="{B4DE6A71-0A32-158C-944E-D9D0A9B0FAF2}"/>
          </ac:spMkLst>
        </pc:spChg>
        <pc:spChg chg="mod">
          <ac:chgData name="Melnicoff, Matt {PEP}" userId="d3616016-b40c-48ec-9f68-9858efa5f361" providerId="ADAL" clId="{54A5B6AD-7E26-4D9B-A7DE-D02F0C72CC2E}" dt="2025-03-28T19:11:44.062" v="6" actId="20577"/>
          <ac:spMkLst>
            <pc:docMk/>
            <pc:sldMk cId="4158100711" sldId="2147483279"/>
            <ac:spMk id="24" creationId="{01C8EF56-1E4D-083B-D418-CDEB406D4763}"/>
          </ac:spMkLst>
        </pc:spChg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3396467407" sldId="2147483568"/>
        </pc:sldMkLst>
      </pc:sldChg>
      <pc:sldChg chg="del">
        <pc:chgData name="Melnicoff, Matt {PEP}" userId="d3616016-b40c-48ec-9f68-9858efa5f361" providerId="ADAL" clId="{54A5B6AD-7E26-4D9B-A7DE-D02F0C72CC2E}" dt="2025-03-28T19:12:44.707" v="11" actId="47"/>
        <pc:sldMkLst>
          <pc:docMk/>
          <pc:sldMk cId="2355651295" sldId="2147483636"/>
        </pc:sldMkLst>
      </pc:sldChg>
      <pc:sldChg chg="del">
        <pc:chgData name="Melnicoff, Matt {PEP}" userId="d3616016-b40c-48ec-9f68-9858efa5f361" providerId="ADAL" clId="{54A5B6AD-7E26-4D9B-A7DE-D02F0C72CC2E}" dt="2025-03-28T19:11:08.738" v="3" actId="47"/>
        <pc:sldMkLst>
          <pc:docMk/>
          <pc:sldMk cId="4114904672" sldId="2147483645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2835388951" sldId="2147483646"/>
        </pc:sldMkLst>
      </pc:sldChg>
      <pc:sldChg chg="del">
        <pc:chgData name="Melnicoff, Matt {PEP}" userId="d3616016-b40c-48ec-9f68-9858efa5f361" providerId="ADAL" clId="{54A5B6AD-7E26-4D9B-A7DE-D02F0C72CC2E}" dt="2025-03-28T19:10:52.979" v="0" actId="47"/>
        <pc:sldMkLst>
          <pc:docMk/>
          <pc:sldMk cId="452787927" sldId="2147483647"/>
        </pc:sldMkLst>
      </pc:sldChg>
      <pc:sldMasterChg chg="delSldLayout">
        <pc:chgData name="Melnicoff, Matt {PEP}" userId="d3616016-b40c-48ec-9f68-9858efa5f361" providerId="ADAL" clId="{54A5B6AD-7E26-4D9B-A7DE-D02F0C72CC2E}" dt="2025-03-28T19:12:11.720" v="8" actId="47"/>
        <pc:sldMasterMkLst>
          <pc:docMk/>
          <pc:sldMasterMk cId="765661222" sldId="2147483648"/>
        </pc:sldMasterMkLst>
        <pc:sldLayoutChg chg="del">
          <pc:chgData name="Melnicoff, Matt {PEP}" userId="d3616016-b40c-48ec-9f68-9858efa5f361" providerId="ADAL" clId="{54A5B6AD-7E26-4D9B-A7DE-D02F0C72CC2E}" dt="2025-03-28T19:12:11.720" v="8" actId="47"/>
          <pc:sldLayoutMkLst>
            <pc:docMk/>
            <pc:sldMasterMk cId="765661222" sldId="2147483648"/>
            <pc:sldLayoutMk cId="1890403623" sldId="2147483972"/>
          </pc:sldLayoutMkLst>
        </pc:sldLayoutChg>
      </pc:sldMasterChg>
      <pc:sldMasterChg chg="del delSldLayout">
        <pc:chgData name="Melnicoff, Matt {PEP}" userId="d3616016-b40c-48ec-9f68-9858efa5f361" providerId="ADAL" clId="{54A5B6AD-7E26-4D9B-A7DE-D02F0C72CC2E}" dt="2025-03-28T19:12:44.707" v="11" actId="47"/>
        <pc:sldMasterMkLst>
          <pc:docMk/>
          <pc:sldMasterMk cId="1141091508" sldId="2147484188"/>
        </pc:sldMasterMkLst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68527943" sldId="2147484189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1257610333" sldId="2147484190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2918297090" sldId="2147484191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1648639284" sldId="2147484192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1209304695" sldId="2147484193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4132329087" sldId="2147484194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3830331189" sldId="2147484195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542530944" sldId="2147484196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1318226795" sldId="2147484197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884060270" sldId="2147484198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3292577755" sldId="2147484199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1583935693" sldId="2147484200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1258559287" sldId="2147484201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4284292273" sldId="2147484202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730438692" sldId="2147484203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2774485619" sldId="2147484204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774693351" sldId="2147484205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639276762" sldId="2147484206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2607727812" sldId="2147484207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3096507433" sldId="2147484208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3265453760" sldId="2147484209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788159002" sldId="2147484210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1414578739" sldId="2147484211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3330468180" sldId="2147484212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2276437603" sldId="2147484213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320063191" sldId="2147484214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1641002626" sldId="2147484215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3430847990" sldId="2147484216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1716330167" sldId="2147484217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990582479" sldId="2147484218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3919258224" sldId="2147484219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731908068" sldId="2147484220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4912793" sldId="2147484221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2649418159" sldId="2147484222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2994454621" sldId="2147484223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2801470025" sldId="2147484224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957627961" sldId="2147484225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3001763868" sldId="2147484226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604464922" sldId="2147484227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4082119876" sldId="2147484228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2592471340" sldId="2147484229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423760782" sldId="2147484230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271363802" sldId="2147484231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3497064842" sldId="2147484232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2774072944" sldId="2147484233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3856212533" sldId="2147484234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3455825736" sldId="2147484235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1440875147" sldId="2147484236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2365676704" sldId="2147484237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1802415205" sldId="2147484238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3822505186" sldId="2147484239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533730022" sldId="2147484240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2025380860" sldId="2147484241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224460298" sldId="2147484242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2862563770" sldId="2147484243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2471667532" sldId="2147484244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943040294" sldId="2147484245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3386265039" sldId="2147484246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300441312" sldId="2147484247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1693795893" sldId="2147484248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164293541" sldId="2147484249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3010147592" sldId="2147484250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3562890626" sldId="2147484251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1172543099" sldId="2147484252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2528524203" sldId="2147484253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4122720947" sldId="2147484254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17205150" sldId="2147484255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1141091508" sldId="2147484188"/>
            <pc:sldLayoutMk cId="158911902" sldId="2147484256"/>
          </pc:sldLayoutMkLst>
        </pc:sldLayoutChg>
      </pc:sldMasterChg>
      <pc:sldMasterChg chg="del delSldLayout">
        <pc:chgData name="Melnicoff, Matt {PEP}" userId="d3616016-b40c-48ec-9f68-9858efa5f361" providerId="ADAL" clId="{54A5B6AD-7E26-4D9B-A7DE-D02F0C72CC2E}" dt="2025-03-28T19:10:52.979" v="0" actId="47"/>
        <pc:sldMasterMkLst>
          <pc:docMk/>
          <pc:sldMasterMk cId="3000343980" sldId="2147484378"/>
        </pc:sldMasterMkLst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3000343980" sldId="2147484378"/>
            <pc:sldLayoutMk cId="467937292" sldId="2147484379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3000343980" sldId="2147484378"/>
            <pc:sldLayoutMk cId="807144798" sldId="2147484380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3000343980" sldId="2147484378"/>
            <pc:sldLayoutMk cId="3168761950" sldId="2147484381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3000343980" sldId="2147484378"/>
            <pc:sldLayoutMk cId="1489991123" sldId="2147484382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3000343980" sldId="2147484378"/>
            <pc:sldLayoutMk cId="3815358552" sldId="2147484383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3000343980" sldId="2147484378"/>
            <pc:sldLayoutMk cId="1129774422" sldId="2147484384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3000343980" sldId="2147484378"/>
            <pc:sldLayoutMk cId="1825081425" sldId="2147484385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3000343980" sldId="2147484378"/>
            <pc:sldLayoutMk cId="3898108168" sldId="2147484386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3000343980" sldId="2147484378"/>
            <pc:sldLayoutMk cId="459782399" sldId="2147484387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3000343980" sldId="2147484378"/>
            <pc:sldLayoutMk cId="27836585" sldId="2147484388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3000343980" sldId="2147484378"/>
            <pc:sldLayoutMk cId="422072130" sldId="2147484389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3000343980" sldId="2147484378"/>
            <pc:sldLayoutMk cId="2017969064" sldId="2147484390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3000343980" sldId="2147484378"/>
            <pc:sldLayoutMk cId="1156160392" sldId="2147484391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3000343980" sldId="2147484378"/>
            <pc:sldLayoutMk cId="4180353396" sldId="2147484392"/>
          </pc:sldLayoutMkLst>
        </pc:sldLayoutChg>
      </pc:sldMasterChg>
      <pc:sldMasterChg chg="del delSldLayout">
        <pc:chgData name="Melnicoff, Matt {PEP}" userId="d3616016-b40c-48ec-9f68-9858efa5f361" providerId="ADAL" clId="{54A5B6AD-7E26-4D9B-A7DE-D02F0C72CC2E}" dt="2025-03-28T19:12:44.707" v="11" actId="47"/>
        <pc:sldMasterMkLst>
          <pc:docMk/>
          <pc:sldMasterMk cId="3455657246" sldId="2147484393"/>
        </pc:sldMasterMkLst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3455657246" sldId="2147484393"/>
            <pc:sldLayoutMk cId="4179405236" sldId="2147484394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3455657246" sldId="2147484393"/>
            <pc:sldLayoutMk cId="3760558406" sldId="2147484395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3455657246" sldId="2147484393"/>
            <pc:sldLayoutMk cId="2422461694" sldId="2147484396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3455657246" sldId="2147484393"/>
            <pc:sldLayoutMk cId="1749936543" sldId="2147484397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3455657246" sldId="2147484393"/>
            <pc:sldLayoutMk cId="3166034290" sldId="2147484398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3455657246" sldId="2147484393"/>
            <pc:sldLayoutMk cId="2197501005" sldId="2147484399"/>
          </pc:sldLayoutMkLst>
        </pc:sldLayoutChg>
      </pc:sldMasterChg>
      <pc:sldMasterChg chg="del delSldLayout">
        <pc:chgData name="Melnicoff, Matt {PEP}" userId="d3616016-b40c-48ec-9f68-9858efa5f361" providerId="ADAL" clId="{54A5B6AD-7E26-4D9B-A7DE-D02F0C72CC2E}" dt="2025-03-28T19:12:44.707" v="11" actId="47"/>
        <pc:sldMasterMkLst>
          <pc:docMk/>
          <pc:sldMasterMk cId="2374615066" sldId="2147484400"/>
        </pc:sldMasterMkLst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1979354435" sldId="2147484401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1996057964" sldId="2147484402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3551477371" sldId="2147484403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3833863017" sldId="2147484404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2948907186" sldId="2147484405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1856149793" sldId="2147484406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499008055" sldId="2147484407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3935633302" sldId="2147484408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1428303897" sldId="2147484409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108938090" sldId="2147484410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1173522446" sldId="2147484411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3760416526" sldId="2147484412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2493400783" sldId="2147484413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677795860" sldId="2147484414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2793801914" sldId="2147484415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331659112" sldId="2147484416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812102635" sldId="2147484417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3356842408" sldId="2147484418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2982398278" sldId="2147484419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865083794" sldId="2147484420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3604191023" sldId="2147484421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1767100460" sldId="2147484422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3733997480" sldId="2147484423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3508843199" sldId="2147484424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3821881574" sldId="2147484425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2468190390" sldId="2147484426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4034386278" sldId="2147484427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148304394" sldId="2147484428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3464819483" sldId="2147484429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1114500914" sldId="2147484430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3442206142" sldId="2147484431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2345071892" sldId="2147484432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2659408937" sldId="2147484433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4285442959" sldId="2147484434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3338717186" sldId="2147484435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291763332" sldId="2147484436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1148269933" sldId="2147484437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3371769282" sldId="2147484438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1769300611" sldId="2147484439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112858189" sldId="2147484440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2181314888" sldId="2147484441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2641235570" sldId="2147484442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3719861096" sldId="2147484443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1756934247" sldId="2147484444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138398083" sldId="2147484445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1568766337" sldId="2147484446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2587950478" sldId="2147484447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308077984" sldId="2147484448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2740849307" sldId="2147484449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2725198370" sldId="2147484450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3300477953" sldId="2147484451"/>
          </pc:sldLayoutMkLst>
        </pc:sldLayoutChg>
        <pc:sldLayoutChg chg="del">
          <pc:chgData name="Melnicoff, Matt {PEP}" userId="d3616016-b40c-48ec-9f68-9858efa5f361" providerId="ADAL" clId="{54A5B6AD-7E26-4D9B-A7DE-D02F0C72CC2E}" dt="2025-03-28T19:12:44.707" v="11" actId="47"/>
          <pc:sldLayoutMkLst>
            <pc:docMk/>
            <pc:sldMasterMk cId="2374615066" sldId="2147484400"/>
            <pc:sldLayoutMk cId="1401928456" sldId="2147484452"/>
          </pc:sldLayoutMkLst>
        </pc:sldLayoutChg>
      </pc:sldMasterChg>
      <pc:sldMasterChg chg="del delSldLayout">
        <pc:chgData name="Melnicoff, Matt {PEP}" userId="d3616016-b40c-48ec-9f68-9858efa5f361" providerId="ADAL" clId="{54A5B6AD-7E26-4D9B-A7DE-D02F0C72CC2E}" dt="2025-03-28T19:10:52.979" v="0" actId="47"/>
        <pc:sldMasterMkLst>
          <pc:docMk/>
          <pc:sldMasterMk cId="1251440870" sldId="2147484454"/>
        </pc:sldMasterMkLst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1251440870" sldId="2147484454"/>
            <pc:sldLayoutMk cId="1892661892" sldId="2147484455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1251440870" sldId="2147484454"/>
            <pc:sldLayoutMk cId="2295959423" sldId="2147484456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1251440870" sldId="2147484454"/>
            <pc:sldLayoutMk cId="3070591001" sldId="2147484457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1251440870" sldId="2147484454"/>
            <pc:sldLayoutMk cId="1805499413" sldId="2147484458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1251440870" sldId="2147484454"/>
            <pc:sldLayoutMk cId="3951196110" sldId="2147484459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1251440870" sldId="2147484454"/>
            <pc:sldLayoutMk cId="250625660" sldId="2147484460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1251440870" sldId="2147484454"/>
            <pc:sldLayoutMk cId="3518051052" sldId="2147484461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1251440870" sldId="2147484454"/>
            <pc:sldLayoutMk cId="1809419426" sldId="2147484462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1251440870" sldId="2147484454"/>
            <pc:sldLayoutMk cId="4197899580" sldId="2147484463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1251440870" sldId="2147484454"/>
            <pc:sldLayoutMk cId="129517446" sldId="2147484464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1251440870" sldId="2147484454"/>
            <pc:sldLayoutMk cId="3820472221" sldId="2147484465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1251440870" sldId="2147484454"/>
            <pc:sldLayoutMk cId="4080309734" sldId="2147484466"/>
          </pc:sldLayoutMkLst>
        </pc:sldLayoutChg>
        <pc:sldLayoutChg chg="del">
          <pc:chgData name="Melnicoff, Matt {PEP}" userId="d3616016-b40c-48ec-9f68-9858efa5f361" providerId="ADAL" clId="{54A5B6AD-7E26-4D9B-A7DE-D02F0C72CC2E}" dt="2025-03-28T19:10:52.979" v="0" actId="47"/>
          <pc:sldLayoutMkLst>
            <pc:docMk/>
            <pc:sldMasterMk cId="1251440870" sldId="2147484454"/>
            <pc:sldLayoutMk cId="3006461751" sldId="2147484467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E21223-66CE-4215-A63F-27079EE36F6F}" type="datetimeFigureOut">
              <a:rPr lang="en-US" smtClean="0"/>
              <a:t>4/8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D2A7104-55CD-419E-B506-583C6A7862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720900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B1574492-103F-B34E-BE3B-6122011F1595}" type="datetimeFigureOut">
              <a:rPr lang="en-US" smtClean="0"/>
              <a:pPr/>
              <a:t>4/8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  <a:ea typeface="+mn-ea"/>
                <a:cs typeface="+mn-cs"/>
              </a:defRPr>
            </a:lvl1pPr>
          </a:lstStyle>
          <a:p>
            <a:fld id="{712622A2-3E00-2A4D-8E5C-1BC3C6BDB7A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0978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CB868C-22C3-4AC1-9B68-0ADE30B9B17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9616421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rtners for Tomorrow – a suite of sustainability solutions available to value chain partners, notably our customers. The program was named the “sustainability initiative of the year” by Business Intelligence Group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 have launched programs with partners in agriculture, we have a number of sources available for our customers and partners to leverage – e.g. the sustainability summit and the sustainability action center and we launched pep+ renew which helps our partners to convert to renewable energy. The two categories of solutions we’re going to focus on today are packaging and recycling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ww.partnersfortomorrow.com</a:t>
            </a: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622A2-3E00-2A4D-8E5C-1BC3C6BDB7A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9651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D17A41-0924-42F6-93CC-664B3686E3D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12916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2622A2-3E00-2A4D-8E5C-1BC3C6BDB7A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21817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dd </a:t>
            </a:r>
            <a:r>
              <a:rPr lang="en-US" err="1"/>
              <a:t>Pree</a:t>
            </a:r>
            <a:r>
              <a:rPr lang="en-US"/>
              <a:t>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12622A2-3E00-2A4D-8E5C-1BC3C6BDB7A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9558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oleObject" Target="../embeddings/oleObject11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6" Type="http://schemas.openxmlformats.org/officeDocument/2006/relationships/image" Target="../media/image17.pn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4.xml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82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5.xml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83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6.xml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84.bin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0.png"/><Relationship Id="rId3" Type="http://schemas.openxmlformats.org/officeDocument/2006/relationships/oleObject" Target="../embeddings/oleObject85.bin"/><Relationship Id="rId7" Type="http://schemas.openxmlformats.org/officeDocument/2006/relationships/image" Target="../media/image13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7.xml"/><Relationship Id="rId6" Type="http://schemas.openxmlformats.org/officeDocument/2006/relationships/image" Target="../media/image128.png"/><Relationship Id="rId5" Type="http://schemas.openxmlformats.org/officeDocument/2006/relationships/image" Target="../media/image138.png"/><Relationship Id="rId10" Type="http://schemas.openxmlformats.org/officeDocument/2006/relationships/image" Target="../media/image141.png"/><Relationship Id="rId4" Type="http://schemas.openxmlformats.org/officeDocument/2006/relationships/image" Target="../media/image125.emf"/><Relationship Id="rId9" Type="http://schemas.openxmlformats.org/officeDocument/2006/relationships/image" Target="../media/image141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8.xml"/><Relationship Id="rId6" Type="http://schemas.openxmlformats.org/officeDocument/2006/relationships/image" Target="../media/image128.png"/><Relationship Id="rId5" Type="http://schemas.openxmlformats.org/officeDocument/2006/relationships/image" Target="../media/image142.jpeg"/><Relationship Id="rId4" Type="http://schemas.openxmlformats.org/officeDocument/2006/relationships/image" Target="../media/image125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9.xml"/><Relationship Id="rId6" Type="http://schemas.openxmlformats.org/officeDocument/2006/relationships/image" Target="../media/image144.png"/><Relationship Id="rId5" Type="http://schemas.openxmlformats.org/officeDocument/2006/relationships/image" Target="../media/image135.jpeg"/><Relationship Id="rId4" Type="http://schemas.openxmlformats.org/officeDocument/2006/relationships/image" Target="../media/image143.emf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0.xml"/><Relationship Id="rId5" Type="http://schemas.openxmlformats.org/officeDocument/2006/relationships/image" Target="../media/image128.png"/><Relationship Id="rId4" Type="http://schemas.openxmlformats.org/officeDocument/2006/relationships/image" Target="../media/image125.emf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1.xml"/><Relationship Id="rId6" Type="http://schemas.openxmlformats.org/officeDocument/2006/relationships/image" Target="../media/image146.png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89.bin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0.png"/><Relationship Id="rId3" Type="http://schemas.openxmlformats.org/officeDocument/2006/relationships/oleObject" Target="../embeddings/oleObject90.bin"/><Relationship Id="rId7" Type="http://schemas.openxmlformats.org/officeDocument/2006/relationships/image" Target="../media/image149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2.xml"/><Relationship Id="rId6" Type="http://schemas.openxmlformats.org/officeDocument/2006/relationships/image" Target="../media/image148.png"/><Relationship Id="rId5" Type="http://schemas.openxmlformats.org/officeDocument/2006/relationships/image" Target="../media/image147.png"/><Relationship Id="rId10" Type="http://schemas.openxmlformats.org/officeDocument/2006/relationships/image" Target="../media/image152.png"/><Relationship Id="rId4" Type="http://schemas.openxmlformats.org/officeDocument/2006/relationships/image" Target="../media/image143.emf"/><Relationship Id="rId9" Type="http://schemas.openxmlformats.org/officeDocument/2006/relationships/image" Target="../media/image151.png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6.png"/><Relationship Id="rId3" Type="http://schemas.openxmlformats.org/officeDocument/2006/relationships/oleObject" Target="../embeddings/oleObject91.bin"/><Relationship Id="rId7" Type="http://schemas.openxmlformats.org/officeDocument/2006/relationships/image" Target="../media/image155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3.xml"/><Relationship Id="rId6" Type="http://schemas.openxmlformats.org/officeDocument/2006/relationships/image" Target="../media/image154.png"/><Relationship Id="rId5" Type="http://schemas.openxmlformats.org/officeDocument/2006/relationships/image" Target="../media/image153.png"/><Relationship Id="rId4" Type="http://schemas.openxmlformats.org/officeDocument/2006/relationships/image" Target="../media/image143.emf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12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18.jpe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4.xml"/><Relationship Id="rId5" Type="http://schemas.openxmlformats.org/officeDocument/2006/relationships/image" Target="../media/image157.png"/><Relationship Id="rId4" Type="http://schemas.openxmlformats.org/officeDocument/2006/relationships/image" Target="../media/image143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5.xml"/><Relationship Id="rId4" Type="http://schemas.openxmlformats.org/officeDocument/2006/relationships/image" Target="../media/image122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6.xml"/><Relationship Id="rId4" Type="http://schemas.openxmlformats.org/officeDocument/2006/relationships/image" Target="../media/image143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7.xml"/><Relationship Id="rId4" Type="http://schemas.openxmlformats.org/officeDocument/2006/relationships/image" Target="../media/image143.emf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8.xml"/><Relationship Id="rId4" Type="http://schemas.openxmlformats.org/officeDocument/2006/relationships/image" Target="../media/image143.emf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9.xml"/><Relationship Id="rId4" Type="http://schemas.openxmlformats.org/officeDocument/2006/relationships/image" Target="../media/image122.emf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0.xml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98.bin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13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6" Type="http://schemas.openxmlformats.org/officeDocument/2006/relationships/image" Target="../media/image19.pn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pn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3.svg"/><Relationship Id="rId2" Type="http://schemas.openxmlformats.org/officeDocument/2006/relationships/image" Target="../media/image162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9.png"/><Relationship Id="rId13" Type="http://schemas.openxmlformats.org/officeDocument/2006/relationships/image" Target="../media/image174.png"/><Relationship Id="rId3" Type="http://schemas.openxmlformats.org/officeDocument/2006/relationships/image" Target="../media/image165.svg"/><Relationship Id="rId7" Type="http://schemas.openxmlformats.org/officeDocument/2006/relationships/image" Target="../media/image168.svg"/><Relationship Id="rId12" Type="http://schemas.openxmlformats.org/officeDocument/2006/relationships/image" Target="../media/image173.svg"/><Relationship Id="rId2" Type="http://schemas.openxmlformats.org/officeDocument/2006/relationships/image" Target="../media/image164.png"/><Relationship Id="rId16" Type="http://schemas.openxmlformats.org/officeDocument/2006/relationships/image" Target="../media/image177.sv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62.png"/><Relationship Id="rId11" Type="http://schemas.openxmlformats.org/officeDocument/2006/relationships/image" Target="../media/image172.png"/><Relationship Id="rId5" Type="http://schemas.openxmlformats.org/officeDocument/2006/relationships/image" Target="../media/image167.svg"/><Relationship Id="rId15" Type="http://schemas.openxmlformats.org/officeDocument/2006/relationships/image" Target="../media/image176.png"/><Relationship Id="rId10" Type="http://schemas.openxmlformats.org/officeDocument/2006/relationships/image" Target="../media/image171.png"/><Relationship Id="rId4" Type="http://schemas.openxmlformats.org/officeDocument/2006/relationships/image" Target="../media/image166.png"/><Relationship Id="rId9" Type="http://schemas.openxmlformats.org/officeDocument/2006/relationships/image" Target="../media/image170.png"/><Relationship Id="rId14" Type="http://schemas.openxmlformats.org/officeDocument/2006/relationships/image" Target="../media/image175.svg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8.pn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79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7.jpeg"/><Relationship Id="rId13" Type="http://schemas.openxmlformats.org/officeDocument/2006/relationships/image" Target="../media/image192.svg"/><Relationship Id="rId18" Type="http://schemas.openxmlformats.org/officeDocument/2006/relationships/image" Target="../media/image197.png"/><Relationship Id="rId3" Type="http://schemas.openxmlformats.org/officeDocument/2006/relationships/image" Target="../media/image182.png"/><Relationship Id="rId21" Type="http://schemas.openxmlformats.org/officeDocument/2006/relationships/hyperlink" Target="https://www.pepsico.com/our-impact/esg-topics-a-z/calculation-methodology" TargetMode="External"/><Relationship Id="rId7" Type="http://schemas.openxmlformats.org/officeDocument/2006/relationships/image" Target="../media/image186.jpeg"/><Relationship Id="rId12" Type="http://schemas.openxmlformats.org/officeDocument/2006/relationships/image" Target="../media/image191.png"/><Relationship Id="rId17" Type="http://schemas.openxmlformats.org/officeDocument/2006/relationships/image" Target="../media/image196.svg"/><Relationship Id="rId2" Type="http://schemas.openxmlformats.org/officeDocument/2006/relationships/image" Target="../media/image181.jpeg"/><Relationship Id="rId16" Type="http://schemas.openxmlformats.org/officeDocument/2006/relationships/image" Target="../media/image195.png"/><Relationship Id="rId20" Type="http://schemas.openxmlformats.org/officeDocument/2006/relationships/image" Target="../media/image19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85.svg"/><Relationship Id="rId11" Type="http://schemas.openxmlformats.org/officeDocument/2006/relationships/image" Target="../media/image190.svg"/><Relationship Id="rId5" Type="http://schemas.openxmlformats.org/officeDocument/2006/relationships/image" Target="../media/image184.png"/><Relationship Id="rId15" Type="http://schemas.openxmlformats.org/officeDocument/2006/relationships/image" Target="../media/image194.svg"/><Relationship Id="rId10" Type="http://schemas.openxmlformats.org/officeDocument/2006/relationships/image" Target="../media/image189.png"/><Relationship Id="rId19" Type="http://schemas.openxmlformats.org/officeDocument/2006/relationships/image" Target="../media/image198.png"/><Relationship Id="rId4" Type="http://schemas.openxmlformats.org/officeDocument/2006/relationships/image" Target="../media/image183.svg"/><Relationship Id="rId9" Type="http://schemas.openxmlformats.org/officeDocument/2006/relationships/image" Target="../media/image188.jpeg"/><Relationship Id="rId14" Type="http://schemas.openxmlformats.org/officeDocument/2006/relationships/image" Target="../media/image193.png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14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6" Type="http://schemas.openxmlformats.org/officeDocument/2006/relationships/image" Target="../media/image20.jpe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79.png"/><Relationship Id="rId1" Type="http://schemas.openxmlformats.org/officeDocument/2006/relationships/slideMaster" Target="../slideMasters/slideMaster4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79.png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79.png"/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0.svg"/><Relationship Id="rId2" Type="http://schemas.openxmlformats.org/officeDocument/2006/relationships/image" Target="../media/image179.png"/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4.svg"/><Relationship Id="rId3" Type="http://schemas.openxmlformats.org/officeDocument/2006/relationships/image" Target="../media/image201.svg"/><Relationship Id="rId7" Type="http://schemas.openxmlformats.org/officeDocument/2006/relationships/image" Target="../media/image203.png"/><Relationship Id="rId12" Type="http://schemas.openxmlformats.org/officeDocument/2006/relationships/image" Target="../media/image206.svg"/><Relationship Id="rId2" Type="http://schemas.openxmlformats.org/officeDocument/2006/relationships/image" Target="../media/image200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02.png"/><Relationship Id="rId11" Type="http://schemas.openxmlformats.org/officeDocument/2006/relationships/image" Target="../media/image205.png"/><Relationship Id="rId5" Type="http://schemas.openxmlformats.org/officeDocument/2006/relationships/image" Target="../media/image180.svg"/><Relationship Id="rId10" Type="http://schemas.openxmlformats.org/officeDocument/2006/relationships/image" Target="../media/image183.svg"/><Relationship Id="rId4" Type="http://schemas.openxmlformats.org/officeDocument/2006/relationships/image" Target="../media/image179.png"/><Relationship Id="rId9" Type="http://schemas.openxmlformats.org/officeDocument/2006/relationships/image" Target="../media/image182.png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22.emf"/><Relationship Id="rId5" Type="http://schemas.openxmlformats.org/officeDocument/2006/relationships/image" Target="../media/image21.emf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16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6" Type="http://schemas.openxmlformats.org/officeDocument/2006/relationships/image" Target="../media/image24.emf"/><Relationship Id="rId5" Type="http://schemas.openxmlformats.org/officeDocument/2006/relationships/image" Target="../media/image23.emf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oleObject" Target="../embeddings/oleObject17.bin"/><Relationship Id="rId7" Type="http://schemas.openxmlformats.org/officeDocument/2006/relationships/image" Target="../media/image2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6" Type="http://schemas.openxmlformats.org/officeDocument/2006/relationships/image" Target="../media/image25.emf"/><Relationship Id="rId5" Type="http://schemas.openxmlformats.org/officeDocument/2006/relationships/image" Target="../media/image23.emf"/><Relationship Id="rId4" Type="http://schemas.openxmlformats.org/officeDocument/2006/relationships/image" Target="../media/image2.emf"/><Relationship Id="rId9" Type="http://schemas.openxmlformats.org/officeDocument/2006/relationships/image" Target="../media/image7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7" Type="http://schemas.openxmlformats.org/officeDocument/2006/relationships/image" Target="../media/image28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6" Type="http://schemas.openxmlformats.org/officeDocument/2006/relationships/image" Target="../media/image22.emf"/><Relationship Id="rId5" Type="http://schemas.openxmlformats.org/officeDocument/2006/relationships/image" Target="../media/image27.emf"/><Relationship Id="rId4" Type="http://schemas.openxmlformats.org/officeDocument/2006/relationships/image" Target="../media/image2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7" Type="http://schemas.openxmlformats.org/officeDocument/2006/relationships/image" Target="../media/image2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6" Type="http://schemas.openxmlformats.org/officeDocument/2006/relationships/image" Target="../media/image22.emf"/><Relationship Id="rId5" Type="http://schemas.openxmlformats.org/officeDocument/2006/relationships/image" Target="../media/image27.emf"/><Relationship Id="rId4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6" Type="http://schemas.openxmlformats.org/officeDocument/2006/relationships/image" Target="../media/image28.emf"/><Relationship Id="rId5" Type="http://schemas.openxmlformats.org/officeDocument/2006/relationships/image" Target="../media/image22.emf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image" Target="../media/image2.emf"/><Relationship Id="rId9" Type="http://schemas.openxmlformats.org/officeDocument/2006/relationships/image" Target="../media/image7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6" Type="http://schemas.openxmlformats.org/officeDocument/2006/relationships/image" Target="../media/image31.emf"/><Relationship Id="rId5" Type="http://schemas.openxmlformats.org/officeDocument/2006/relationships/image" Target="../media/image30.emf"/><Relationship Id="rId4" Type="http://schemas.openxmlformats.org/officeDocument/2006/relationships/image" Target="../media/image2.emf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emf"/><Relationship Id="rId3" Type="http://schemas.openxmlformats.org/officeDocument/2006/relationships/oleObject" Target="../embeddings/oleObject22.bin"/><Relationship Id="rId7" Type="http://schemas.openxmlformats.org/officeDocument/2006/relationships/image" Target="../media/image3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6" Type="http://schemas.openxmlformats.org/officeDocument/2006/relationships/image" Target="../media/image33.jpeg"/><Relationship Id="rId11" Type="http://schemas.openxmlformats.org/officeDocument/2006/relationships/image" Target="../media/image38.emf"/><Relationship Id="rId5" Type="http://schemas.openxmlformats.org/officeDocument/2006/relationships/image" Target="../media/image32.emf"/><Relationship Id="rId10" Type="http://schemas.openxmlformats.org/officeDocument/2006/relationships/image" Target="../media/image37.emf"/><Relationship Id="rId4" Type="http://schemas.openxmlformats.org/officeDocument/2006/relationships/image" Target="../media/image2.emf"/><Relationship Id="rId9" Type="http://schemas.openxmlformats.org/officeDocument/2006/relationships/image" Target="../media/image36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image" Target="../media/image32.emf"/><Relationship Id="rId7" Type="http://schemas.openxmlformats.org/officeDocument/2006/relationships/image" Target="../media/image3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6" Type="http://schemas.openxmlformats.org/officeDocument/2006/relationships/image" Target="../media/image39.jpeg"/><Relationship Id="rId5" Type="http://schemas.openxmlformats.org/officeDocument/2006/relationships/image" Target="../media/image2.emf"/><Relationship Id="rId10" Type="http://schemas.openxmlformats.org/officeDocument/2006/relationships/image" Target="../media/image38.emf"/><Relationship Id="rId4" Type="http://schemas.openxmlformats.org/officeDocument/2006/relationships/oleObject" Target="../embeddings/oleObject23.bin"/><Relationship Id="rId9" Type="http://schemas.openxmlformats.org/officeDocument/2006/relationships/image" Target="../media/image37.emf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oleObject" Target="../embeddings/oleObject24.bin"/><Relationship Id="rId7" Type="http://schemas.openxmlformats.org/officeDocument/2006/relationships/image" Target="../media/image3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6" Type="http://schemas.openxmlformats.org/officeDocument/2006/relationships/image" Target="../media/image40.png"/><Relationship Id="rId5" Type="http://schemas.openxmlformats.org/officeDocument/2006/relationships/image" Target="../media/image32.emf"/><Relationship Id="rId10" Type="http://schemas.openxmlformats.org/officeDocument/2006/relationships/image" Target="../media/image38.emf"/><Relationship Id="rId4" Type="http://schemas.openxmlformats.org/officeDocument/2006/relationships/image" Target="../media/image2.emf"/><Relationship Id="rId9" Type="http://schemas.openxmlformats.org/officeDocument/2006/relationships/image" Target="../media/image37.emf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oleObject" Target="../embeddings/oleObject24.bin"/><Relationship Id="rId7" Type="http://schemas.openxmlformats.org/officeDocument/2006/relationships/image" Target="../media/image3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6" Type="http://schemas.openxmlformats.org/officeDocument/2006/relationships/image" Target="../media/image41.jpeg"/><Relationship Id="rId5" Type="http://schemas.openxmlformats.org/officeDocument/2006/relationships/image" Target="../media/image32.emf"/><Relationship Id="rId10" Type="http://schemas.openxmlformats.org/officeDocument/2006/relationships/image" Target="../media/image38.emf"/><Relationship Id="rId4" Type="http://schemas.openxmlformats.org/officeDocument/2006/relationships/image" Target="../media/image2.emf"/><Relationship Id="rId9" Type="http://schemas.openxmlformats.org/officeDocument/2006/relationships/image" Target="../media/image37.emf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oleObject" Target="../embeddings/oleObject25.bin"/><Relationship Id="rId7" Type="http://schemas.openxmlformats.org/officeDocument/2006/relationships/image" Target="../media/image3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6" Type="http://schemas.openxmlformats.org/officeDocument/2006/relationships/image" Target="../media/image42.jpeg"/><Relationship Id="rId5" Type="http://schemas.openxmlformats.org/officeDocument/2006/relationships/image" Target="../media/image32.emf"/><Relationship Id="rId10" Type="http://schemas.openxmlformats.org/officeDocument/2006/relationships/image" Target="../media/image38.emf"/><Relationship Id="rId4" Type="http://schemas.openxmlformats.org/officeDocument/2006/relationships/image" Target="../media/image2.emf"/><Relationship Id="rId9" Type="http://schemas.openxmlformats.org/officeDocument/2006/relationships/image" Target="../media/image37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emf"/><Relationship Id="rId3" Type="http://schemas.openxmlformats.org/officeDocument/2006/relationships/oleObject" Target="../embeddings/oleObject26.bin"/><Relationship Id="rId7" Type="http://schemas.openxmlformats.org/officeDocument/2006/relationships/image" Target="../media/image3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6" Type="http://schemas.openxmlformats.org/officeDocument/2006/relationships/image" Target="../media/image43.jpeg"/><Relationship Id="rId5" Type="http://schemas.openxmlformats.org/officeDocument/2006/relationships/image" Target="../media/image32.emf"/><Relationship Id="rId10" Type="http://schemas.openxmlformats.org/officeDocument/2006/relationships/image" Target="../media/image38.emf"/><Relationship Id="rId4" Type="http://schemas.openxmlformats.org/officeDocument/2006/relationships/image" Target="../media/image2.emf"/><Relationship Id="rId9" Type="http://schemas.openxmlformats.org/officeDocument/2006/relationships/image" Target="../media/image37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oleObject" Target="../embeddings/oleObject27.bin"/><Relationship Id="rId7" Type="http://schemas.openxmlformats.org/officeDocument/2006/relationships/image" Target="../media/image45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6" Type="http://schemas.openxmlformats.org/officeDocument/2006/relationships/image" Target="../media/image44.emf"/><Relationship Id="rId5" Type="http://schemas.openxmlformats.org/officeDocument/2006/relationships/image" Target="../media/image32.emf"/><Relationship Id="rId4" Type="http://schemas.openxmlformats.org/officeDocument/2006/relationships/image" Target="../media/image2.emf"/><Relationship Id="rId9" Type="http://schemas.openxmlformats.org/officeDocument/2006/relationships/image" Target="../media/image47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emf"/><Relationship Id="rId3" Type="http://schemas.openxmlformats.org/officeDocument/2006/relationships/oleObject" Target="../embeddings/oleObject28.bin"/><Relationship Id="rId7" Type="http://schemas.openxmlformats.org/officeDocument/2006/relationships/image" Target="../media/image4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6" Type="http://schemas.openxmlformats.org/officeDocument/2006/relationships/image" Target="../media/image48.jpeg"/><Relationship Id="rId5" Type="http://schemas.openxmlformats.org/officeDocument/2006/relationships/image" Target="../media/image32.emf"/><Relationship Id="rId4" Type="http://schemas.openxmlformats.org/officeDocument/2006/relationships/image" Target="../media/image2.emf"/><Relationship Id="rId9" Type="http://schemas.openxmlformats.org/officeDocument/2006/relationships/image" Target="../media/image47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7" Type="http://schemas.openxmlformats.org/officeDocument/2006/relationships/image" Target="../media/image4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6" Type="http://schemas.openxmlformats.org/officeDocument/2006/relationships/image" Target="../media/image6.emf"/><Relationship Id="rId5" Type="http://schemas.openxmlformats.org/officeDocument/2006/relationships/image" Target="../media/image30.emf"/><Relationship Id="rId4" Type="http://schemas.openxmlformats.org/officeDocument/2006/relationships/image" Target="../media/image2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8.jpe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50.emf"/><Relationship Id="rId4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6" Type="http://schemas.openxmlformats.org/officeDocument/2006/relationships/image" Target="../media/image51.emf"/><Relationship Id="rId5" Type="http://schemas.openxmlformats.org/officeDocument/2006/relationships/image" Target="../media/image22.emf"/><Relationship Id="rId4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6" Type="http://schemas.openxmlformats.org/officeDocument/2006/relationships/image" Target="../media/image22.emf"/><Relationship Id="rId5" Type="http://schemas.openxmlformats.org/officeDocument/2006/relationships/image" Target="../media/image52.emf"/><Relationship Id="rId4" Type="http://schemas.openxmlformats.org/officeDocument/2006/relationships/image" Target="../media/image2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6" Type="http://schemas.openxmlformats.org/officeDocument/2006/relationships/image" Target="../media/image22.emf"/><Relationship Id="rId5" Type="http://schemas.openxmlformats.org/officeDocument/2006/relationships/image" Target="../media/image53.emf"/><Relationship Id="rId4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7" Type="http://schemas.openxmlformats.org/officeDocument/2006/relationships/image" Target="../media/image28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6" Type="http://schemas.openxmlformats.org/officeDocument/2006/relationships/image" Target="../media/image22.emf"/><Relationship Id="rId5" Type="http://schemas.openxmlformats.org/officeDocument/2006/relationships/image" Target="../media/image27.emf"/><Relationship Id="rId4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7" Type="http://schemas.openxmlformats.org/officeDocument/2006/relationships/image" Target="../media/image28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6" Type="http://schemas.openxmlformats.org/officeDocument/2006/relationships/image" Target="../media/image22.emf"/><Relationship Id="rId5" Type="http://schemas.openxmlformats.org/officeDocument/2006/relationships/image" Target="../media/image27.emf"/><Relationship Id="rId4" Type="http://schemas.openxmlformats.org/officeDocument/2006/relationships/image" Target="../media/image2.emf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emf"/><Relationship Id="rId3" Type="http://schemas.openxmlformats.org/officeDocument/2006/relationships/oleObject" Target="../embeddings/oleObject36.bin"/><Relationship Id="rId7" Type="http://schemas.openxmlformats.org/officeDocument/2006/relationships/image" Target="../media/image2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6" Type="http://schemas.openxmlformats.org/officeDocument/2006/relationships/image" Target="../media/image22.emf"/><Relationship Id="rId5" Type="http://schemas.openxmlformats.org/officeDocument/2006/relationships/image" Target="../media/image27.emf"/><Relationship Id="rId4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oleObject" Target="../embeddings/oleObject37.bin"/><Relationship Id="rId7" Type="http://schemas.openxmlformats.org/officeDocument/2006/relationships/image" Target="../media/image54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6" Type="http://schemas.openxmlformats.org/officeDocument/2006/relationships/image" Target="../media/image29.emf"/><Relationship Id="rId5" Type="http://schemas.openxmlformats.org/officeDocument/2006/relationships/image" Target="../media/image22.emf"/><Relationship Id="rId4" Type="http://schemas.openxmlformats.org/officeDocument/2006/relationships/image" Target="../media/image2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22.emf"/><Relationship Id="rId4" Type="http://schemas.openxmlformats.org/officeDocument/2006/relationships/image" Target="../media/image2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7" Type="http://schemas.openxmlformats.org/officeDocument/2006/relationships/image" Target="../media/image5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Relationship Id="rId6" Type="http://schemas.openxmlformats.org/officeDocument/2006/relationships/image" Target="../media/image22.emf"/><Relationship Id="rId5" Type="http://schemas.openxmlformats.org/officeDocument/2006/relationships/image" Target="../media/image27.emf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oleObject" Target="../embeddings/oleObject5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10.jpe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emf"/><Relationship Id="rId3" Type="http://schemas.openxmlformats.org/officeDocument/2006/relationships/oleObject" Target="../embeddings/oleObject40.bin"/><Relationship Id="rId7" Type="http://schemas.openxmlformats.org/officeDocument/2006/relationships/image" Target="../media/image29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Relationship Id="rId6" Type="http://schemas.openxmlformats.org/officeDocument/2006/relationships/image" Target="../media/image22.emf"/><Relationship Id="rId5" Type="http://schemas.openxmlformats.org/officeDocument/2006/relationships/image" Target="../media/image27.emf"/><Relationship Id="rId4" Type="http://schemas.openxmlformats.org/officeDocument/2006/relationships/image" Target="../media/image2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Relationship Id="rId6" Type="http://schemas.openxmlformats.org/officeDocument/2006/relationships/image" Target="../media/image57.emf"/><Relationship Id="rId5" Type="http://schemas.openxmlformats.org/officeDocument/2006/relationships/image" Target="../media/image22.emf"/><Relationship Id="rId4" Type="http://schemas.openxmlformats.org/officeDocument/2006/relationships/image" Target="../media/image2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6" Type="http://schemas.openxmlformats.org/officeDocument/2006/relationships/image" Target="../media/image56.emf"/><Relationship Id="rId5" Type="http://schemas.openxmlformats.org/officeDocument/2006/relationships/image" Target="../media/image22.emf"/><Relationship Id="rId4" Type="http://schemas.openxmlformats.org/officeDocument/2006/relationships/image" Target="../media/image2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Relationship Id="rId6" Type="http://schemas.openxmlformats.org/officeDocument/2006/relationships/image" Target="../media/image22.emf"/><Relationship Id="rId5" Type="http://schemas.openxmlformats.org/officeDocument/2006/relationships/image" Target="../media/image36.emf"/><Relationship Id="rId4" Type="http://schemas.openxmlformats.org/officeDocument/2006/relationships/image" Target="../media/image2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Relationship Id="rId6" Type="http://schemas.openxmlformats.org/officeDocument/2006/relationships/image" Target="../media/image22.emf"/><Relationship Id="rId5" Type="http://schemas.openxmlformats.org/officeDocument/2006/relationships/image" Target="../media/image36.emf"/><Relationship Id="rId4" Type="http://schemas.openxmlformats.org/officeDocument/2006/relationships/image" Target="../media/image2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Relationship Id="rId6" Type="http://schemas.openxmlformats.org/officeDocument/2006/relationships/image" Target="../media/image22.emf"/><Relationship Id="rId5" Type="http://schemas.openxmlformats.org/officeDocument/2006/relationships/image" Target="../media/image36.emf"/><Relationship Id="rId4" Type="http://schemas.openxmlformats.org/officeDocument/2006/relationships/image" Target="../media/image2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Relationship Id="rId6" Type="http://schemas.openxmlformats.org/officeDocument/2006/relationships/image" Target="../media/image59.emf"/><Relationship Id="rId5" Type="http://schemas.openxmlformats.org/officeDocument/2006/relationships/image" Target="../media/image58.emf"/><Relationship Id="rId4" Type="http://schemas.openxmlformats.org/officeDocument/2006/relationships/image" Target="../media/image2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Relationship Id="rId5" Type="http://schemas.openxmlformats.org/officeDocument/2006/relationships/image" Target="../media/image59.emf"/><Relationship Id="rId4" Type="http://schemas.openxmlformats.org/officeDocument/2006/relationships/image" Target="../media/image2.emf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oleObject" Target="../embeddings/oleObject48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Relationship Id="rId6" Type="http://schemas.openxmlformats.org/officeDocument/2006/relationships/image" Target="../media/image61.emf"/><Relationship Id="rId5" Type="http://schemas.openxmlformats.org/officeDocument/2006/relationships/image" Target="../media/image60.png"/><Relationship Id="rId4" Type="http://schemas.openxmlformats.org/officeDocument/2006/relationships/image" Target="../media/image2.emf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oleObject" Target="../embeddings/oleObject49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6" Type="http://schemas.openxmlformats.org/officeDocument/2006/relationships/image" Target="../media/image61.emf"/><Relationship Id="rId5" Type="http://schemas.openxmlformats.org/officeDocument/2006/relationships/image" Target="../media/image62.jpeg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oleObject" Target="../embeddings/oleObject6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12.pn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oleObject" Target="../embeddings/oleObject50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6" Type="http://schemas.openxmlformats.org/officeDocument/2006/relationships/image" Target="../media/image61.emf"/><Relationship Id="rId5" Type="http://schemas.openxmlformats.org/officeDocument/2006/relationships/image" Target="../media/image63.jpeg"/><Relationship Id="rId4" Type="http://schemas.openxmlformats.org/officeDocument/2006/relationships/image" Target="../media/image2.emf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oleObject" Target="../embeddings/oleObject51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Relationship Id="rId6" Type="http://schemas.openxmlformats.org/officeDocument/2006/relationships/image" Target="../media/image61.emf"/><Relationship Id="rId5" Type="http://schemas.openxmlformats.org/officeDocument/2006/relationships/image" Target="../media/image64.jpeg"/><Relationship Id="rId4" Type="http://schemas.openxmlformats.org/officeDocument/2006/relationships/image" Target="../media/image2.emf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oleObject" Target="../embeddings/oleObject52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4.xml"/><Relationship Id="rId6" Type="http://schemas.openxmlformats.org/officeDocument/2006/relationships/image" Target="../media/image61.emf"/><Relationship Id="rId5" Type="http://schemas.openxmlformats.org/officeDocument/2006/relationships/image" Target="../media/image65.jpeg"/><Relationship Id="rId4" Type="http://schemas.openxmlformats.org/officeDocument/2006/relationships/image" Target="../media/image2.emf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3" Type="http://schemas.openxmlformats.org/officeDocument/2006/relationships/oleObject" Target="../embeddings/oleObject53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5.xml"/><Relationship Id="rId6" Type="http://schemas.openxmlformats.org/officeDocument/2006/relationships/image" Target="../media/image61.emf"/><Relationship Id="rId5" Type="http://schemas.openxmlformats.org/officeDocument/2006/relationships/image" Target="../media/image66.png"/><Relationship Id="rId4" Type="http://schemas.openxmlformats.org/officeDocument/2006/relationships/image" Target="../media/image2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7" Type="http://schemas.openxmlformats.org/officeDocument/2006/relationships/image" Target="../media/image6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6.xml"/><Relationship Id="rId6" Type="http://schemas.openxmlformats.org/officeDocument/2006/relationships/image" Target="../media/image22.emf"/><Relationship Id="rId5" Type="http://schemas.openxmlformats.org/officeDocument/2006/relationships/image" Target="../media/image67.emf"/><Relationship Id="rId4" Type="http://schemas.openxmlformats.org/officeDocument/2006/relationships/image" Target="../media/image2.emf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emf"/><Relationship Id="rId3" Type="http://schemas.openxmlformats.org/officeDocument/2006/relationships/oleObject" Target="../embeddings/oleObject55.bin"/><Relationship Id="rId7" Type="http://schemas.openxmlformats.org/officeDocument/2006/relationships/image" Target="../media/image7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7.xml"/><Relationship Id="rId6" Type="http://schemas.openxmlformats.org/officeDocument/2006/relationships/image" Target="../media/image70.png"/><Relationship Id="rId5" Type="http://schemas.openxmlformats.org/officeDocument/2006/relationships/image" Target="../media/image69.emf"/><Relationship Id="rId4" Type="http://schemas.openxmlformats.org/officeDocument/2006/relationships/image" Target="../media/image2.emf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emf"/><Relationship Id="rId3" Type="http://schemas.openxmlformats.org/officeDocument/2006/relationships/oleObject" Target="../embeddings/oleObject56.bin"/><Relationship Id="rId7" Type="http://schemas.openxmlformats.org/officeDocument/2006/relationships/image" Target="../media/image7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8.xml"/><Relationship Id="rId6" Type="http://schemas.openxmlformats.org/officeDocument/2006/relationships/image" Target="../media/image73.jpeg"/><Relationship Id="rId5" Type="http://schemas.openxmlformats.org/officeDocument/2006/relationships/image" Target="../media/image69.emf"/><Relationship Id="rId4" Type="http://schemas.openxmlformats.org/officeDocument/2006/relationships/image" Target="../media/image2.emf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emf"/><Relationship Id="rId3" Type="http://schemas.openxmlformats.org/officeDocument/2006/relationships/oleObject" Target="../embeddings/oleObject57.bin"/><Relationship Id="rId7" Type="http://schemas.openxmlformats.org/officeDocument/2006/relationships/image" Target="../media/image7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9.xml"/><Relationship Id="rId6" Type="http://schemas.openxmlformats.org/officeDocument/2006/relationships/image" Target="../media/image74.png"/><Relationship Id="rId5" Type="http://schemas.openxmlformats.org/officeDocument/2006/relationships/image" Target="../media/image69.emf"/><Relationship Id="rId4" Type="http://schemas.openxmlformats.org/officeDocument/2006/relationships/image" Target="../media/image2.emf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emf"/><Relationship Id="rId3" Type="http://schemas.openxmlformats.org/officeDocument/2006/relationships/oleObject" Target="../embeddings/oleObject58.bin"/><Relationship Id="rId7" Type="http://schemas.openxmlformats.org/officeDocument/2006/relationships/image" Target="../media/image71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0.xml"/><Relationship Id="rId6" Type="http://schemas.openxmlformats.org/officeDocument/2006/relationships/image" Target="../media/image75.jpeg"/><Relationship Id="rId5" Type="http://schemas.openxmlformats.org/officeDocument/2006/relationships/image" Target="../media/image69.emf"/><Relationship Id="rId4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emf"/><Relationship Id="rId3" Type="http://schemas.openxmlformats.org/officeDocument/2006/relationships/oleObject" Target="../embeddings/oleObject59.bin"/><Relationship Id="rId7" Type="http://schemas.openxmlformats.org/officeDocument/2006/relationships/image" Target="../media/image7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1.xml"/><Relationship Id="rId6" Type="http://schemas.openxmlformats.org/officeDocument/2006/relationships/image" Target="../media/image6.emf"/><Relationship Id="rId5" Type="http://schemas.openxmlformats.org/officeDocument/2006/relationships/image" Target="../media/image76.emf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oleObject" Target="../embeddings/oleObject7.bin"/><Relationship Id="rId7" Type="http://schemas.openxmlformats.org/officeDocument/2006/relationships/image" Target="../media/image1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13.jpe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emf"/><Relationship Id="rId3" Type="http://schemas.openxmlformats.org/officeDocument/2006/relationships/oleObject" Target="../embeddings/oleObject60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2.xml"/><Relationship Id="rId6" Type="http://schemas.openxmlformats.org/officeDocument/2006/relationships/image" Target="../media/image79.png"/><Relationship Id="rId5" Type="http://schemas.openxmlformats.org/officeDocument/2006/relationships/image" Target="../media/image76.emf"/><Relationship Id="rId4" Type="http://schemas.openxmlformats.org/officeDocument/2006/relationships/image" Target="../media/image2.emf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emf"/><Relationship Id="rId3" Type="http://schemas.openxmlformats.org/officeDocument/2006/relationships/oleObject" Target="../embeddings/oleObject61.bin"/><Relationship Id="rId7" Type="http://schemas.openxmlformats.org/officeDocument/2006/relationships/image" Target="../media/image8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3.xml"/><Relationship Id="rId6" Type="http://schemas.openxmlformats.org/officeDocument/2006/relationships/image" Target="../media/image6.emf"/><Relationship Id="rId5" Type="http://schemas.openxmlformats.org/officeDocument/2006/relationships/image" Target="../media/image76.emf"/><Relationship Id="rId4" Type="http://schemas.openxmlformats.org/officeDocument/2006/relationships/image" Target="../media/image2.emf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oleObject" Target="../embeddings/oleObject62.bin"/><Relationship Id="rId7" Type="http://schemas.openxmlformats.org/officeDocument/2006/relationships/image" Target="../media/image6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4.xml"/><Relationship Id="rId6" Type="http://schemas.openxmlformats.org/officeDocument/2006/relationships/image" Target="../media/image81.emf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7" Type="http://schemas.openxmlformats.org/officeDocument/2006/relationships/image" Target="../media/image8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5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2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7" Type="http://schemas.openxmlformats.org/officeDocument/2006/relationships/image" Target="../media/image8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6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2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7" Type="http://schemas.openxmlformats.org/officeDocument/2006/relationships/image" Target="../media/image90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7.xml"/><Relationship Id="rId6" Type="http://schemas.openxmlformats.org/officeDocument/2006/relationships/image" Target="../media/image89.png"/><Relationship Id="rId5" Type="http://schemas.openxmlformats.org/officeDocument/2006/relationships/image" Target="../media/image88.png"/><Relationship Id="rId4" Type="http://schemas.openxmlformats.org/officeDocument/2006/relationships/image" Target="../media/image2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8.xml"/><Relationship Id="rId4" Type="http://schemas.openxmlformats.org/officeDocument/2006/relationships/image" Target="../media/image2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3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1.png"/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1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oleObject" Target="../embeddings/oleObject8.bin"/><Relationship Id="rId7" Type="http://schemas.openxmlformats.org/officeDocument/2006/relationships/image" Target="../media/image1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png"/><Relationship Id="rId3" Type="http://schemas.openxmlformats.org/officeDocument/2006/relationships/image" Target="../media/image97.png"/><Relationship Id="rId7" Type="http://schemas.openxmlformats.org/officeDocument/2006/relationships/image" Target="../media/image101.png"/><Relationship Id="rId12" Type="http://schemas.openxmlformats.org/officeDocument/2006/relationships/image" Target="../media/image106.png"/><Relationship Id="rId2" Type="http://schemas.openxmlformats.org/officeDocument/2006/relationships/image" Target="../media/image9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0.png"/><Relationship Id="rId11" Type="http://schemas.openxmlformats.org/officeDocument/2006/relationships/image" Target="../media/image105.png"/><Relationship Id="rId5" Type="http://schemas.openxmlformats.org/officeDocument/2006/relationships/image" Target="../media/image99.png"/><Relationship Id="rId10" Type="http://schemas.openxmlformats.org/officeDocument/2006/relationships/image" Target="../media/image104.png"/><Relationship Id="rId4" Type="http://schemas.openxmlformats.org/officeDocument/2006/relationships/image" Target="../media/image98.png"/><Relationship Id="rId9" Type="http://schemas.openxmlformats.org/officeDocument/2006/relationships/image" Target="../media/image103.png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7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8.png"/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image" Target="../media/image11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7.png"/><Relationship Id="rId4" Type="http://schemas.openxmlformats.org/officeDocument/2006/relationships/image" Target="../media/image113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image" Target="../media/image114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oleObject" Target="../embeddings/oleObject9.bin"/><Relationship Id="rId7" Type="http://schemas.openxmlformats.org/officeDocument/2006/relationships/image" Target="../media/image1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11.png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8.png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7.png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7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8.png"/><Relationship Id="rId2" Type="http://schemas.openxmlformats.org/officeDocument/2006/relationships/image" Target="../media/image12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7.png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0.xml"/><Relationship Id="rId6" Type="http://schemas.openxmlformats.org/officeDocument/2006/relationships/image" Target="../media/image124.png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68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1.xml"/><Relationship Id="rId4" Type="http://schemas.openxmlformats.org/officeDocument/2006/relationships/image" Target="../media/image122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2.xml"/><Relationship Id="rId4" Type="http://schemas.openxmlformats.org/officeDocument/2006/relationships/image" Target="../media/image122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7" Type="http://schemas.openxmlformats.org/officeDocument/2006/relationships/image" Target="../media/image12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3.xml"/><Relationship Id="rId6" Type="http://schemas.openxmlformats.org/officeDocument/2006/relationships/image" Target="../media/image127.png"/><Relationship Id="rId5" Type="http://schemas.openxmlformats.org/officeDocument/2006/relationships/image" Target="../media/image126.jpeg"/><Relationship Id="rId4" Type="http://schemas.openxmlformats.org/officeDocument/2006/relationships/image" Target="../media/image125.emf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oleObject" Target="../embeddings/oleObject10.bin"/><Relationship Id="rId7" Type="http://schemas.microsoft.com/office/2007/relationships/hdphoto" Target="../media/hdphoto1.wdp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openxmlformats.org/officeDocument/2006/relationships/image" Target="../media/image16.png"/><Relationship Id="rId5" Type="http://schemas.openxmlformats.org/officeDocument/2006/relationships/image" Target="../media/image3.emf"/><Relationship Id="rId4" Type="http://schemas.openxmlformats.org/officeDocument/2006/relationships/image" Target="../media/image2.emf"/><Relationship Id="rId9" Type="http://schemas.openxmlformats.org/officeDocument/2006/relationships/image" Target="../media/image4.emf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4.xml"/><Relationship Id="rId6" Type="http://schemas.openxmlformats.org/officeDocument/2006/relationships/image" Target="../media/image129.png"/><Relationship Id="rId5" Type="http://schemas.openxmlformats.org/officeDocument/2006/relationships/image" Target="../media/image128.png"/><Relationship Id="rId4" Type="http://schemas.openxmlformats.org/officeDocument/2006/relationships/image" Target="../media/image125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5.xml"/><Relationship Id="rId6" Type="http://schemas.openxmlformats.org/officeDocument/2006/relationships/image" Target="../media/image130.png"/><Relationship Id="rId5" Type="http://schemas.openxmlformats.org/officeDocument/2006/relationships/image" Target="../media/image128.png"/><Relationship Id="rId4" Type="http://schemas.openxmlformats.org/officeDocument/2006/relationships/image" Target="../media/image125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6.xml"/><Relationship Id="rId4" Type="http://schemas.openxmlformats.org/officeDocument/2006/relationships/image" Target="../media/image122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7.xml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75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7" Type="http://schemas.openxmlformats.org/officeDocument/2006/relationships/image" Target="../media/image13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8.xml"/><Relationship Id="rId6" Type="http://schemas.openxmlformats.org/officeDocument/2006/relationships/image" Target="../media/image132.png"/><Relationship Id="rId5" Type="http://schemas.openxmlformats.org/officeDocument/2006/relationships/image" Target="../media/image128.png"/><Relationship Id="rId4" Type="http://schemas.openxmlformats.org/officeDocument/2006/relationships/image" Target="../media/image125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9.xml"/><Relationship Id="rId4" Type="http://schemas.openxmlformats.org/officeDocument/2006/relationships/image" Target="../media/image122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0.xml"/><Relationship Id="rId5" Type="http://schemas.openxmlformats.org/officeDocument/2006/relationships/image" Target="../media/image122.emf"/><Relationship Id="rId4" Type="http://schemas.openxmlformats.org/officeDocument/2006/relationships/oleObject" Target="../embeddings/oleObject78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Relationship Id="rId6" Type="http://schemas.openxmlformats.org/officeDocument/2006/relationships/image" Target="../media/image135.jpeg"/><Relationship Id="rId5" Type="http://schemas.openxmlformats.org/officeDocument/2006/relationships/image" Target="../media/image128.png"/><Relationship Id="rId4" Type="http://schemas.openxmlformats.org/officeDocument/2006/relationships/image" Target="../media/image125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2.xml"/><Relationship Id="rId4" Type="http://schemas.openxmlformats.org/officeDocument/2006/relationships/image" Target="../media/image122.emf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3.xml"/><Relationship Id="rId6" Type="http://schemas.openxmlformats.org/officeDocument/2006/relationships/image" Target="../media/image128.png"/><Relationship Id="rId5" Type="http://schemas.openxmlformats.org/officeDocument/2006/relationships/image" Target="../media/image136.png"/><Relationship Id="rId4" Type="http://schemas.openxmlformats.org/officeDocument/2006/relationships/image" Target="../media/image12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80F5283D-7852-B68B-630F-C31B84D502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73898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80F5283D-7852-B68B-630F-C31B84D502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>
            <a:extLst>
              <a:ext uri="{FF2B5EF4-FFF2-40B4-BE49-F238E27FC236}">
                <a16:creationId xmlns:a16="http://schemas.microsoft.com/office/drawing/2014/main" id="{404477DA-D9A2-C10A-D38B-113AA2EAB80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 l="3369" t="3331" r="3369" b="3369"/>
          <a:stretch>
            <a:fillRect/>
          </a:stretch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ln>
            <a:noFill/>
          </a:ln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69AA76A-63B0-043E-9580-A15A6FEFC1A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BE964DB-0B7D-6EBB-6725-1A820FD13642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704CCFC-D2B6-AED8-CDA0-B163BD4463C5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9FBCCFC-0390-34AE-3F80-B46BBA62BC2A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2168E1A-69DF-F63E-2AE8-B60DB7234A4E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6975E2E-3984-0B40-73A8-B7CC4A2B19B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E6261FB-107B-F06A-B395-518E576232F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AB54340-675F-F707-4E34-A216647E1734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D03F967-EC41-F0EA-462E-6FA837216E2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7CDF6FE-CD83-9225-B5BE-6792B764FB1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11844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A36D955-B3A7-C98D-63C4-65BC52F78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2641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A36D955-B3A7-C98D-63C4-65BC52F78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3DA9054-7CE1-745E-E670-5377D98582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25091" r="11852" b="-41"/>
          <a:stretch/>
        </p:blipFill>
        <p:spPr>
          <a:xfrm>
            <a:off x="0" y="0"/>
            <a:ext cx="6483964" cy="6858000"/>
          </a:xfrm>
          <a:custGeom>
            <a:avLst/>
            <a:gdLst>
              <a:gd name="connsiteX0" fmla="*/ 0 w 6483964"/>
              <a:gd name="connsiteY0" fmla="*/ 0 h 6858000"/>
              <a:gd name="connsiteX1" fmla="*/ 6483964 w 6483964"/>
              <a:gd name="connsiteY1" fmla="*/ 0 h 6858000"/>
              <a:gd name="connsiteX2" fmla="*/ 6483964 w 6483964"/>
              <a:gd name="connsiteY2" fmla="*/ 6858000 h 6858000"/>
              <a:gd name="connsiteX3" fmla="*/ 0 w 648396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3964" h="6858000">
                <a:moveTo>
                  <a:pt x="0" y="0"/>
                </a:moveTo>
                <a:lnTo>
                  <a:pt x="6483964" y="0"/>
                </a:lnTo>
                <a:lnTo>
                  <a:pt x="648396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359549-5A1F-9411-3B5D-0D48941C24F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2174" y="5029200"/>
            <a:ext cx="2637118" cy="141828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53851"/>
            <a:ext cx="4882138" cy="608864"/>
          </a:xfrm>
        </p:spPr>
        <p:txBody>
          <a:bodyPr bIns="0" anchor="b">
            <a:no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6533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-Subdivider-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06A473-E852-43C8-8FFD-BB83C54C89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160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06A473-E852-43C8-8FFD-BB83C54C89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38611F4-33D6-48A3-BBA6-C5988CB770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B1FACB-EDA9-4965-841B-DE3316F310FB}"/>
              </a:ext>
            </a:extLst>
          </p:cNvPr>
          <p:cNvSpPr/>
          <p:nvPr userDrawn="1"/>
        </p:nvSpPr>
        <p:spPr>
          <a:xfrm flipV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7000">
                <a:schemeClr val="accent3">
                  <a:lumMod val="75000"/>
                  <a:alpha val="30000"/>
                </a:schemeClr>
              </a:gs>
              <a:gs pos="43000">
                <a:schemeClr val="accent3">
                  <a:alpha val="30000"/>
                </a:schemeClr>
              </a:gs>
              <a:gs pos="0">
                <a:schemeClr val="accent3">
                  <a:lumMod val="50000"/>
                  <a:alpha val="30000"/>
                </a:schemeClr>
              </a:gs>
              <a:gs pos="100000">
                <a:schemeClr val="accent3">
                  <a:lumMod val="50000"/>
                  <a:alpha val="3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2519C45-A85B-499F-AC90-71D2B5EA0E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7600" y="2840474"/>
            <a:ext cx="4876800" cy="117705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7938" indent="-7938" algn="ctr" rtl="0">
              <a:lnSpc>
                <a:spcPct val="110000"/>
              </a:lnSpc>
              <a:spcBef>
                <a:spcPts val="0"/>
              </a:spcBef>
              <a:buNone/>
              <a:tabLst/>
              <a:defRPr sz="3600" b="1" i="0" spc="70" baseline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350321296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-Subdivider-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06A473-E852-43C8-8FFD-BB83C54C89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6055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06A473-E852-43C8-8FFD-BB83C54C89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38611F4-33D6-48A3-BBA6-C5988CB770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B1FACB-EDA9-4965-841B-DE3316F310FB}"/>
              </a:ext>
            </a:extLst>
          </p:cNvPr>
          <p:cNvSpPr/>
          <p:nvPr userDrawn="1"/>
        </p:nvSpPr>
        <p:spPr>
          <a:xfrm flipV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7000">
                <a:srgbClr val="4CAF40">
                  <a:lumMod val="90000"/>
                  <a:lumOff val="10000"/>
                  <a:alpha val="30000"/>
                </a:srgbClr>
              </a:gs>
              <a:gs pos="43000">
                <a:schemeClr val="accent5">
                  <a:lumMod val="93000"/>
                  <a:lumOff val="7000"/>
                  <a:alpha val="30000"/>
                </a:schemeClr>
              </a:gs>
              <a:gs pos="0">
                <a:schemeClr val="accent4">
                  <a:lumMod val="75000"/>
                  <a:alpha val="30000"/>
                </a:schemeClr>
              </a:gs>
              <a:gs pos="100000">
                <a:schemeClr val="accent4">
                  <a:lumMod val="79000"/>
                  <a:alpha val="3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2519C45-A85B-499F-AC90-71D2B5EA0E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7600" y="2840474"/>
            <a:ext cx="4876800" cy="117705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7938" indent="-7938" algn="ctr" rtl="0">
              <a:lnSpc>
                <a:spcPct val="110000"/>
              </a:lnSpc>
              <a:spcBef>
                <a:spcPts val="0"/>
              </a:spcBef>
              <a:buNone/>
              <a:tabLst/>
              <a:defRPr sz="3600" b="1" i="0" spc="70" baseline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21505619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-Subdivider-3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06A473-E852-43C8-8FFD-BB83C54C89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08334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06A473-E852-43C8-8FFD-BB83C54C89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E38611F4-33D6-48A3-BBA6-C5988CB770D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B1FACB-EDA9-4965-841B-DE3316F310FB}"/>
              </a:ext>
            </a:extLst>
          </p:cNvPr>
          <p:cNvSpPr/>
          <p:nvPr userDrawn="1"/>
        </p:nvSpPr>
        <p:spPr>
          <a:xfrm flipV="1"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17000">
                <a:schemeClr val="accent6">
                  <a:alpha val="30000"/>
                </a:schemeClr>
              </a:gs>
              <a:gs pos="43000">
                <a:schemeClr val="accent6">
                  <a:lumMod val="75000"/>
                  <a:alpha val="30000"/>
                </a:schemeClr>
              </a:gs>
              <a:gs pos="0">
                <a:schemeClr val="accent6">
                  <a:lumMod val="75000"/>
                  <a:alpha val="30000"/>
                </a:schemeClr>
              </a:gs>
              <a:gs pos="100000">
                <a:schemeClr val="accent6">
                  <a:lumMod val="50000"/>
                  <a:alpha val="3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2519C45-A85B-499F-AC90-71D2B5EA0E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7600" y="2840474"/>
            <a:ext cx="4876800" cy="117705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7938" indent="-7938" algn="ctr" rtl="0">
              <a:lnSpc>
                <a:spcPct val="110000"/>
              </a:lnSpc>
              <a:spcBef>
                <a:spcPts val="0"/>
              </a:spcBef>
              <a:buNone/>
              <a:tabLst/>
              <a:defRPr sz="3600" b="1" i="0" spc="70" baseline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411498453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(Pepsi Bottle) ">
    <p:bg>
      <p:bgPr>
        <a:solidFill>
          <a:srgbClr val="006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7009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5600733-47C5-4699-8308-3A99A2581CA2}"/>
              </a:ext>
            </a:extLst>
          </p:cNvPr>
          <p:cNvSpPr/>
          <p:nvPr userDrawn="1"/>
        </p:nvSpPr>
        <p:spPr>
          <a:xfrm>
            <a:off x="0" y="0"/>
            <a:ext cx="7478038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pic>
        <p:nvPicPr>
          <p:cNvPr id="9" name="Picture 8" descr="A picture containing grass, outdoor, plant, field&#10;&#10;Description automatically generated">
            <a:extLst>
              <a:ext uri="{FF2B5EF4-FFF2-40B4-BE49-F238E27FC236}">
                <a16:creationId xmlns:a16="http://schemas.microsoft.com/office/drawing/2014/main" id="{9434E705-FDB4-474B-A09A-758A7D0574A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048" t="13152" r="28090" b="7894"/>
          <a:stretch/>
        </p:blipFill>
        <p:spPr>
          <a:xfrm>
            <a:off x="0" y="388939"/>
            <a:ext cx="7479917" cy="6469062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ABA205B-9E12-44B1-A996-D8A93D84D6DC}"/>
              </a:ext>
            </a:extLst>
          </p:cNvPr>
          <p:cNvSpPr/>
          <p:nvPr userDrawn="1"/>
        </p:nvSpPr>
        <p:spPr>
          <a:xfrm rot="10800000" flipH="1">
            <a:off x="-1881" y="1650380"/>
            <a:ext cx="5207620" cy="520762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BF3C2C-A662-4830-A417-279B0C4699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970" t="34147" r="15168" b="-1"/>
          <a:stretch/>
        </p:blipFill>
        <p:spPr>
          <a:xfrm>
            <a:off x="5595679" y="2419815"/>
            <a:ext cx="1882360" cy="4438185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4B0CE4D4-D011-41C3-A5DB-85600DC4DDBE}"/>
              </a:ext>
            </a:extLst>
          </p:cNvPr>
          <p:cNvGrpSpPr/>
          <p:nvPr userDrawn="1"/>
        </p:nvGrpSpPr>
        <p:grpSpPr>
          <a:xfrm>
            <a:off x="815290" y="7243785"/>
            <a:ext cx="10561420" cy="4008734"/>
            <a:chOff x="300038" y="1533525"/>
            <a:chExt cx="10561420" cy="4008734"/>
          </a:xfrm>
        </p:grpSpPr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4" name="Slide Zoom 23">
                  <a:extLst>
                    <a:ext uri="{FF2B5EF4-FFF2-40B4-BE49-F238E27FC236}">
                      <a16:creationId xmlns:a16="http://schemas.microsoft.com/office/drawing/2014/main" id="{E3581796-FA97-44B4-A802-166D1981C238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81074920"/>
                    </p:ext>
                  </p:extLst>
                </p:nvPr>
              </p:nvGraphicFramePr>
              <p:xfrm>
                <a:off x="1941977" y="1533525"/>
                <a:ext cx="774344" cy="435569"/>
              </p:xfrm>
              <a:graphic>
                <a:graphicData uri="http://schemas.microsoft.com/office/powerpoint/2016/slidezoom">
                  <pslz:sldZm>
                    <pslz:sldZmObj sldId="2146848283" cId="4200400830">
                      <pslz:zmPr id="{0894AE9B-9B8E-4C31-83A4-2E7FB70817C4}" transitionDur="1000">
                        <p166:blipFill xmlns:p166="http://schemas.microsoft.com/office/powerpoint/2016/6/main">
                          <a:blip r:embed="rId8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4" name="Slide Zoom 23">
                  <a:extLst>
                    <a:ext uri="{FF2B5EF4-FFF2-40B4-BE49-F238E27FC236}">
                      <a16:creationId xmlns:a16="http://schemas.microsoft.com/office/drawing/2014/main" id="{E3581796-FA97-44B4-A802-166D1981C238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457229" y="7243785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5" name="Slide Zoom 24">
                  <a:extLst>
                    <a:ext uri="{FF2B5EF4-FFF2-40B4-BE49-F238E27FC236}">
                      <a16:creationId xmlns:a16="http://schemas.microsoft.com/office/drawing/2014/main" id="{7A040608-7F0D-424E-A5F9-A1A6E215E15E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1559134128"/>
                    </p:ext>
                  </p:extLst>
                </p:nvPr>
              </p:nvGraphicFramePr>
              <p:xfrm>
                <a:off x="1941976" y="2087214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451" cId="221702242">
                      <pslz:zmPr id="{79A121F9-F9B7-4589-8254-84FFB1B349B6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5" name="Slide Zoom 24">
                  <a:extLst>
                    <a:ext uri="{FF2B5EF4-FFF2-40B4-BE49-F238E27FC236}">
                      <a16:creationId xmlns:a16="http://schemas.microsoft.com/office/drawing/2014/main" id="{7A040608-7F0D-424E-A5F9-A1A6E215E15E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457228" y="7797474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6" name="Slide Zoom 25">
                  <a:extLst>
                    <a:ext uri="{FF2B5EF4-FFF2-40B4-BE49-F238E27FC236}">
                      <a16:creationId xmlns:a16="http://schemas.microsoft.com/office/drawing/2014/main" id="{CFD0ADE4-C544-4704-A68D-95B47E24F60A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395075889"/>
                    </p:ext>
                  </p:extLst>
                </p:nvPr>
              </p:nvGraphicFramePr>
              <p:xfrm>
                <a:off x="2868759" y="2624497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604" cId="4214287328">
                      <pslz:zmPr id="{8B9D1B15-37E3-4CED-BDAC-FD3DB59F82FA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6" name="Slide Zoom 25">
                  <a:extLst>
                    <a:ext uri="{FF2B5EF4-FFF2-40B4-BE49-F238E27FC236}">
                      <a16:creationId xmlns:a16="http://schemas.microsoft.com/office/drawing/2014/main" id="{CFD0ADE4-C544-4704-A68D-95B47E24F60A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3384011" y="8334757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7" name="Slide Zoom 26">
                  <a:extLst>
                    <a:ext uri="{FF2B5EF4-FFF2-40B4-BE49-F238E27FC236}">
                      <a16:creationId xmlns:a16="http://schemas.microsoft.com/office/drawing/2014/main" id="{587085B4-EA51-4786-B9AD-A5BEF7B42976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1152830473"/>
                    </p:ext>
                  </p:extLst>
                </p:nvPr>
              </p:nvGraphicFramePr>
              <p:xfrm>
                <a:off x="3853389" y="2625341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86" cId="512482825">
                      <pslz:zmPr id="{0ADD2454-2617-44E1-A75D-B8F0FF337FA3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7" name="Slide Zoom 26">
                  <a:extLst>
                    <a:ext uri="{FF2B5EF4-FFF2-40B4-BE49-F238E27FC236}">
                      <a16:creationId xmlns:a16="http://schemas.microsoft.com/office/drawing/2014/main" id="{587085B4-EA51-4786-B9AD-A5BEF7B42976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4368641" y="8335601"/>
                  <a:ext cx="774344" cy="43556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8" name="Slide Zoom 27">
                  <a:extLst>
                    <a:ext uri="{FF2B5EF4-FFF2-40B4-BE49-F238E27FC236}">
                      <a16:creationId xmlns:a16="http://schemas.microsoft.com/office/drawing/2014/main" id="{CF12A53C-129B-4452-9F78-F5C405E47710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592031034"/>
                    </p:ext>
                  </p:extLst>
                </p:nvPr>
              </p:nvGraphicFramePr>
              <p:xfrm>
                <a:off x="4712918" y="2625947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87" cId="1080661050">
                      <pslz:zmPr id="{29292435-0BF5-41EE-991F-67BC7FDD7BDE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8" name="Slide Zoom 27">
                  <a:extLst>
                    <a:ext uri="{FF2B5EF4-FFF2-40B4-BE49-F238E27FC236}">
                      <a16:creationId xmlns:a16="http://schemas.microsoft.com/office/drawing/2014/main" id="{CF12A53C-129B-4452-9F78-F5C405E47710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5228170" y="8336207"/>
                  <a:ext cx="774344" cy="43556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29" name="Slide Zoom 28">
                  <a:extLst>
                    <a:ext uri="{FF2B5EF4-FFF2-40B4-BE49-F238E27FC236}">
                      <a16:creationId xmlns:a16="http://schemas.microsoft.com/office/drawing/2014/main" id="{94C604FE-7D34-4BFF-9465-B5E709D9F9CE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555977736"/>
                    </p:ext>
                  </p:extLst>
                </p:nvPr>
              </p:nvGraphicFramePr>
              <p:xfrm>
                <a:off x="5572447" y="2618704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88" cId="1661454726">
                      <pslz:zmPr id="{957F4654-131C-452F-B799-C4F3122BE8D9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29" name="Slide Zoom 28">
                  <a:extLst>
                    <a:ext uri="{FF2B5EF4-FFF2-40B4-BE49-F238E27FC236}">
                      <a16:creationId xmlns:a16="http://schemas.microsoft.com/office/drawing/2014/main" id="{94C604FE-7D34-4BFF-9465-B5E709D9F9CE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6087699" y="8328964"/>
                  <a:ext cx="774344" cy="43556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0" name="Slide Zoom 29">
                  <a:extLst>
                    <a:ext uri="{FF2B5EF4-FFF2-40B4-BE49-F238E27FC236}">
                      <a16:creationId xmlns:a16="http://schemas.microsoft.com/office/drawing/2014/main" id="{0EB54D74-56E0-43EE-AA23-5E2F276A3851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680768022"/>
                    </p:ext>
                  </p:extLst>
                </p:nvPr>
              </p:nvGraphicFramePr>
              <p:xfrm>
                <a:off x="6465155" y="2608296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286" cId="4240409654">
                      <pslz:zmPr id="{9ED75409-BDBC-4AAD-A2A3-C242F26E38E9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0" name="Slide Zoom 29">
                  <a:extLst>
                    <a:ext uri="{FF2B5EF4-FFF2-40B4-BE49-F238E27FC236}">
                      <a16:creationId xmlns:a16="http://schemas.microsoft.com/office/drawing/2014/main" id="{0EB54D74-56E0-43EE-AA23-5E2F276A3851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6980407" y="8318556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1" name="Slide Zoom 30">
                  <a:extLst>
                    <a:ext uri="{FF2B5EF4-FFF2-40B4-BE49-F238E27FC236}">
                      <a16:creationId xmlns:a16="http://schemas.microsoft.com/office/drawing/2014/main" id="{E88C98BB-C948-47CD-ACFC-AE5E13AE00B4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4012894930"/>
                    </p:ext>
                  </p:extLst>
                </p:nvPr>
              </p:nvGraphicFramePr>
              <p:xfrm>
                <a:off x="7394367" y="2601454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364" cId="2538522832">
                      <pslz:zmPr id="{81E34B1F-4A81-4F07-94AE-B1355868311A}" returnToParent="0" transitionDur="1000">
                        <p166:blipFill xmlns:p166="http://schemas.microsoft.com/office/powerpoint/2016/6/main">
                          <a:blip r:embed="rId8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1" name="Slide Zoom 30">
                  <a:extLst>
                    <a:ext uri="{FF2B5EF4-FFF2-40B4-BE49-F238E27FC236}">
                      <a16:creationId xmlns:a16="http://schemas.microsoft.com/office/drawing/2014/main" id="{E88C98BB-C948-47CD-ACFC-AE5E13AE00B4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7909619" y="8311714"/>
                  <a:ext cx="774344" cy="43556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2" name="Slide Zoom 31">
                  <a:extLst>
                    <a:ext uri="{FF2B5EF4-FFF2-40B4-BE49-F238E27FC236}">
                      <a16:creationId xmlns:a16="http://schemas.microsoft.com/office/drawing/2014/main" id="{B45FAA0E-4284-4A22-BF51-7F483CA295EF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637870975"/>
                    </p:ext>
                  </p:extLst>
                </p:nvPr>
              </p:nvGraphicFramePr>
              <p:xfrm>
                <a:off x="8276135" y="2615731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385" cId="754241112">
                      <pslz:zmPr id="{439E46D6-61A2-4590-AD56-3E5E9247DBD9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2" name="Slide Zoom 31">
                  <a:extLst>
                    <a:ext uri="{FF2B5EF4-FFF2-40B4-BE49-F238E27FC236}">
                      <a16:creationId xmlns:a16="http://schemas.microsoft.com/office/drawing/2014/main" id="{B45FAA0E-4284-4A22-BF51-7F483CA295EF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8791387" y="8325991"/>
                  <a:ext cx="774344" cy="43556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3" name="Slide Zoom 32">
                  <a:extLst>
                    <a:ext uri="{FF2B5EF4-FFF2-40B4-BE49-F238E27FC236}">
                      <a16:creationId xmlns:a16="http://schemas.microsoft.com/office/drawing/2014/main" id="{38CB3183-1B24-4B4F-B0E5-8A8F1DC7D7F7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1672624513"/>
                    </p:ext>
                  </p:extLst>
                </p:nvPr>
              </p:nvGraphicFramePr>
              <p:xfrm>
                <a:off x="9157902" y="2584809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386" cId="3655581783">
                      <pslz:zmPr id="{0E1D668C-9F57-45E3-9945-9066D384EE34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3" name="Slide Zoom 32">
                  <a:extLst>
                    <a:ext uri="{FF2B5EF4-FFF2-40B4-BE49-F238E27FC236}">
                      <a16:creationId xmlns:a16="http://schemas.microsoft.com/office/drawing/2014/main" id="{38CB3183-1B24-4B4F-B0E5-8A8F1DC7D7F7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9673154" y="8295069"/>
                  <a:ext cx="774344" cy="435569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4" name="Slide Zoom 33">
                  <a:extLst>
                    <a:ext uri="{FF2B5EF4-FFF2-40B4-BE49-F238E27FC236}">
                      <a16:creationId xmlns:a16="http://schemas.microsoft.com/office/drawing/2014/main" id="{5A29E2B2-F160-404F-99AF-863FBDEB658C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645639896"/>
                    </p:ext>
                  </p:extLst>
                </p:nvPr>
              </p:nvGraphicFramePr>
              <p:xfrm>
                <a:off x="10087114" y="2601453"/>
                <a:ext cx="774344" cy="435569"/>
              </p:xfrm>
              <a:graphic>
                <a:graphicData uri="http://schemas.microsoft.com/office/powerpoint/2016/slidezoom">
                  <pslz:sldZm>
                    <pslz:sldZmObj sldId="2146848292" cId="2119390895">
                      <pslz:zmPr id="{B7FD65CC-0DCF-4BF5-A563-C3947E5B189F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4" name="Slide Zoom 33">
                  <a:extLst>
                    <a:ext uri="{FF2B5EF4-FFF2-40B4-BE49-F238E27FC236}">
                      <a16:creationId xmlns:a16="http://schemas.microsoft.com/office/drawing/2014/main" id="{5A29E2B2-F160-404F-99AF-863FBDEB658C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10602366" y="8311713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5" name="Slide Zoom 34">
                  <a:extLst>
                    <a:ext uri="{FF2B5EF4-FFF2-40B4-BE49-F238E27FC236}">
                      <a16:creationId xmlns:a16="http://schemas.microsoft.com/office/drawing/2014/main" id="{5DFDE293-D588-4579-B950-D06D29A82A71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545933784"/>
                    </p:ext>
                  </p:extLst>
                </p:nvPr>
              </p:nvGraphicFramePr>
              <p:xfrm>
                <a:off x="1941976" y="3355896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91" cId="4090794730">
                      <pslz:zmPr id="{1DE1014C-DC38-4334-8346-AA32F7852D29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5" name="Slide Zoom 34">
                  <a:extLst>
                    <a:ext uri="{FF2B5EF4-FFF2-40B4-BE49-F238E27FC236}">
                      <a16:creationId xmlns:a16="http://schemas.microsoft.com/office/drawing/2014/main" id="{5DFDE293-D588-4579-B950-D06D29A82A71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457228" y="9066156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6" name="Slide Zoom 35">
                  <a:extLst>
                    <a:ext uri="{FF2B5EF4-FFF2-40B4-BE49-F238E27FC236}">
                      <a16:creationId xmlns:a16="http://schemas.microsoft.com/office/drawing/2014/main" id="{2FA5D017-D919-4A03-AD86-D3E7D36E1C3E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783790248"/>
                    </p:ext>
                  </p:extLst>
                </p:nvPr>
              </p:nvGraphicFramePr>
              <p:xfrm>
                <a:off x="2941064" y="3355896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92" cId="2670237118">
                      <pslz:zmPr id="{B044D797-2E0F-44D1-8DF3-53B23B5EE74D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6" name="Slide Zoom 35">
                  <a:extLst>
                    <a:ext uri="{FF2B5EF4-FFF2-40B4-BE49-F238E27FC236}">
                      <a16:creationId xmlns:a16="http://schemas.microsoft.com/office/drawing/2014/main" id="{2FA5D017-D919-4A03-AD86-D3E7D36E1C3E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3456316" y="9066156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7" name="Slide Zoom 36">
                  <a:extLst>
                    <a:ext uri="{FF2B5EF4-FFF2-40B4-BE49-F238E27FC236}">
                      <a16:creationId xmlns:a16="http://schemas.microsoft.com/office/drawing/2014/main" id="{2925C8D3-3952-4905-A3FB-412C79A4B15C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3909275920"/>
                    </p:ext>
                  </p:extLst>
                </p:nvPr>
              </p:nvGraphicFramePr>
              <p:xfrm>
                <a:off x="3942395" y="3356541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93" cId="394390103">
                      <pslz:zmPr id="{A413179C-519C-48DA-9CDC-63BDBF9A9DFB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7" name="Slide Zoom 36">
                  <a:extLst>
                    <a:ext uri="{FF2B5EF4-FFF2-40B4-BE49-F238E27FC236}">
                      <a16:creationId xmlns:a16="http://schemas.microsoft.com/office/drawing/2014/main" id="{2925C8D3-3952-4905-A3FB-412C79A4B15C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4457647" y="9066801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8" name="Slide Zoom 37">
                  <a:extLst>
                    <a:ext uri="{FF2B5EF4-FFF2-40B4-BE49-F238E27FC236}">
                      <a16:creationId xmlns:a16="http://schemas.microsoft.com/office/drawing/2014/main" id="{FFC6EEDE-820B-44D9-B362-5B8B28F987B6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4191918468"/>
                    </p:ext>
                  </p:extLst>
                </p:nvPr>
              </p:nvGraphicFramePr>
              <p:xfrm>
                <a:off x="1941976" y="3949303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99" cId="1735737450">
                      <pslz:zmPr id="{628212E5-1268-4ECE-8CFC-BAE489F3FEAD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8" name="Slide Zoom 37">
                  <a:extLst>
                    <a:ext uri="{FF2B5EF4-FFF2-40B4-BE49-F238E27FC236}">
                      <a16:creationId xmlns:a16="http://schemas.microsoft.com/office/drawing/2014/main" id="{FFC6EEDE-820B-44D9-B362-5B8B28F987B6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457228" y="9659563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39" name="Slide Zoom 38">
                  <a:extLst>
                    <a:ext uri="{FF2B5EF4-FFF2-40B4-BE49-F238E27FC236}">
                      <a16:creationId xmlns:a16="http://schemas.microsoft.com/office/drawing/2014/main" id="{265A7FDA-2C6B-4B58-BDB2-6C75B25BBCF2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194059818"/>
                    </p:ext>
                  </p:extLst>
                </p:nvPr>
              </p:nvGraphicFramePr>
              <p:xfrm>
                <a:off x="2941064" y="3979421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85" cId="1079425659">
                      <pslz:zmPr id="{123AC876-A129-48CC-A911-10C0125536EE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39" name="Slide Zoom 38">
                  <a:extLst>
                    <a:ext uri="{FF2B5EF4-FFF2-40B4-BE49-F238E27FC236}">
                      <a16:creationId xmlns:a16="http://schemas.microsoft.com/office/drawing/2014/main" id="{265A7FDA-2C6B-4B58-BDB2-6C75B25BBCF2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3456316" y="9689681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40" name="Slide Zoom 39">
                  <a:extLst>
                    <a:ext uri="{FF2B5EF4-FFF2-40B4-BE49-F238E27FC236}">
                      <a16:creationId xmlns:a16="http://schemas.microsoft.com/office/drawing/2014/main" id="{B5A7A157-58A2-4AF1-99B6-AC2C10C8201B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251292580"/>
                    </p:ext>
                  </p:extLst>
                </p:nvPr>
              </p:nvGraphicFramePr>
              <p:xfrm>
                <a:off x="4009595" y="3966089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95" cId="1762180489">
                      <pslz:zmPr id="{EC668C0F-080F-49F3-8C44-05359A5C4DAE}" returnToParent="0" transitionDur="1000">
                        <p166:blipFill xmlns:p166="http://schemas.microsoft.com/office/powerpoint/2016/6/main">
                          <a:blip r:embed="rId8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40" name="Slide Zoom 39">
                  <a:extLst>
                    <a:ext uri="{FF2B5EF4-FFF2-40B4-BE49-F238E27FC236}">
                      <a16:creationId xmlns:a16="http://schemas.microsoft.com/office/drawing/2014/main" id="{B5A7A157-58A2-4AF1-99B6-AC2C10C8201B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4524847" y="9676349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41" name="Slide Zoom 40">
                  <a:extLst>
                    <a:ext uri="{FF2B5EF4-FFF2-40B4-BE49-F238E27FC236}">
                      <a16:creationId xmlns:a16="http://schemas.microsoft.com/office/drawing/2014/main" id="{B062338B-1D3D-400E-8668-C2A36FA48D13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601764955"/>
                    </p:ext>
                  </p:extLst>
                </p:nvPr>
              </p:nvGraphicFramePr>
              <p:xfrm>
                <a:off x="4910355" y="3950602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601" cId="3144376485">
                      <pslz:zmPr id="{28E8F3CC-5CA0-47D0-BB07-1B895BC9C21E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41" name="Slide Zoom 40">
                  <a:extLst>
                    <a:ext uri="{FF2B5EF4-FFF2-40B4-BE49-F238E27FC236}">
                      <a16:creationId xmlns:a16="http://schemas.microsoft.com/office/drawing/2014/main" id="{B062338B-1D3D-400E-8668-C2A36FA48D13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5425607" y="9660862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p:sp>
          <p:nvSpPr>
            <p:cNvPr id="42" name="Rectangle: Single Corner Rounded 41">
              <a:hlinkClick r:id="" action="ppaction://noaction"/>
              <a:extLst>
                <a:ext uri="{FF2B5EF4-FFF2-40B4-BE49-F238E27FC236}">
                  <a16:creationId xmlns:a16="http://schemas.microsoft.com/office/drawing/2014/main" id="{03BA0DD5-5BDC-4F24-B9A2-6F396DA519D9}"/>
                </a:ext>
              </a:extLst>
            </p:cNvPr>
            <p:cNvSpPr/>
            <p:nvPr/>
          </p:nvSpPr>
          <p:spPr>
            <a:xfrm>
              <a:off x="300042" y="1591094"/>
              <a:ext cx="1493990" cy="378000"/>
            </a:xfrm>
            <a:prstGeom prst="round1Rect">
              <a:avLst>
                <a:gd name="adj" fmla="val 36667"/>
              </a:avLst>
            </a:prstGeom>
            <a:solidFill>
              <a:schemeClr val="accent1"/>
            </a:solidFill>
            <a:ln w="2222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840" b="1">
                  <a:solidFill>
                    <a:schemeClr val="bg1"/>
                  </a:solidFill>
                  <a:latin typeface="Leelawadee" panose="020B0502040204020203" pitchFamily="34" charset="-34"/>
                  <a:cs typeface="Leelawadee" panose="020B0502040204020203" pitchFamily="34" charset="-34"/>
                </a:rPr>
                <a:t>Context</a:t>
              </a:r>
              <a:br>
                <a:rPr lang="en-GB" sz="840" b="1">
                  <a:solidFill>
                    <a:schemeClr val="bg1"/>
                  </a:solidFill>
                  <a:latin typeface="Leelawadee" panose="020B0502040204020203" pitchFamily="34" charset="-34"/>
                  <a:cs typeface="Leelawadee" panose="020B0502040204020203" pitchFamily="34" charset="-34"/>
                </a:rPr>
              </a:br>
              <a:r>
                <a:rPr lang="en-GB" sz="840" b="1">
                  <a:solidFill>
                    <a:schemeClr val="bg1"/>
                  </a:solidFill>
                  <a:latin typeface="Leelawadee" panose="020B0502040204020203" pitchFamily="34" charset="-34"/>
                  <a:cs typeface="Leelawadee" panose="020B0502040204020203" pitchFamily="34" charset="-34"/>
                </a:rPr>
                <a:t>and objectives</a:t>
              </a:r>
            </a:p>
          </p:txBody>
        </p:sp>
        <p:sp>
          <p:nvSpPr>
            <p:cNvPr id="43" name="Rectangle: Single Corner Rounded 42">
              <a:hlinkClick r:id="" action="ppaction://noaction"/>
              <a:extLst>
                <a:ext uri="{FF2B5EF4-FFF2-40B4-BE49-F238E27FC236}">
                  <a16:creationId xmlns:a16="http://schemas.microsoft.com/office/drawing/2014/main" id="{C4A535A5-A09D-45DE-A08F-A45EFD9BFD9C}"/>
                </a:ext>
              </a:extLst>
            </p:cNvPr>
            <p:cNvSpPr/>
            <p:nvPr/>
          </p:nvSpPr>
          <p:spPr>
            <a:xfrm>
              <a:off x="300042" y="2110907"/>
              <a:ext cx="1493990" cy="378001"/>
            </a:xfrm>
            <a:prstGeom prst="round1Rect">
              <a:avLst>
                <a:gd name="adj" fmla="val 36667"/>
              </a:avLst>
            </a:prstGeom>
            <a:solidFill>
              <a:schemeClr val="accent5">
                <a:lumMod val="75000"/>
              </a:schemeClr>
            </a:solidFill>
            <a:ln w="2222">
              <a:solidFill>
                <a:schemeClr val="accent5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840" b="1">
                  <a:solidFill>
                    <a:schemeClr val="bg1"/>
                  </a:solidFill>
                  <a:latin typeface="Leelawadee" panose="020B0502040204020203" pitchFamily="34" charset="-34"/>
                  <a:cs typeface="Leelawadee" panose="020B0502040204020203" pitchFamily="34" charset="-34"/>
                </a:rPr>
                <a:t>pep+ Introduction</a:t>
              </a:r>
            </a:p>
          </p:txBody>
        </p:sp>
        <p:sp>
          <p:nvSpPr>
            <p:cNvPr id="44" name="Rectangle: Single Corner Rounded 43">
              <a:hlinkClick r:id="" action="ppaction://noaction"/>
              <a:extLst>
                <a:ext uri="{FF2B5EF4-FFF2-40B4-BE49-F238E27FC236}">
                  <a16:creationId xmlns:a16="http://schemas.microsoft.com/office/drawing/2014/main" id="{99F68594-26B2-4B73-A8E1-8C8CA5353E66}"/>
                </a:ext>
              </a:extLst>
            </p:cNvPr>
            <p:cNvSpPr/>
            <p:nvPr/>
          </p:nvSpPr>
          <p:spPr>
            <a:xfrm>
              <a:off x="304954" y="2634679"/>
              <a:ext cx="1493989" cy="377995"/>
            </a:xfrm>
            <a:prstGeom prst="round1Rect">
              <a:avLst>
                <a:gd name="adj" fmla="val 36667"/>
              </a:avLst>
            </a:prstGeom>
            <a:solidFill>
              <a:schemeClr val="accent2">
                <a:lumMod val="75000"/>
              </a:schemeClr>
            </a:solidFill>
            <a:ln w="2222"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840" b="1">
                  <a:solidFill>
                    <a:schemeClr val="bg1"/>
                  </a:solidFill>
                  <a:latin typeface="Leelawadee" panose="020B0502040204020203" pitchFamily="34" charset="-34"/>
                  <a:cs typeface="Leelawadee" panose="020B0502040204020203" pitchFamily="34" charset="-34"/>
                </a:rPr>
                <a:t>Exploring pep+ collaboration areas</a:t>
              </a:r>
            </a:p>
          </p:txBody>
        </p:sp>
        <p:sp>
          <p:nvSpPr>
            <p:cNvPr id="45" name="Rectangle: Single Corner Rounded 44">
              <a:hlinkClick r:id="" action="ppaction://noaction"/>
              <a:extLst>
                <a:ext uri="{FF2B5EF4-FFF2-40B4-BE49-F238E27FC236}">
                  <a16:creationId xmlns:a16="http://schemas.microsoft.com/office/drawing/2014/main" id="{6EF1887F-3F94-4AE7-8B7F-F5329ECA036A}"/>
                </a:ext>
              </a:extLst>
            </p:cNvPr>
            <p:cNvSpPr/>
            <p:nvPr/>
          </p:nvSpPr>
          <p:spPr>
            <a:xfrm>
              <a:off x="300038" y="3355896"/>
              <a:ext cx="1493993" cy="377988"/>
            </a:xfrm>
            <a:prstGeom prst="round1Rect">
              <a:avLst>
                <a:gd name="adj" fmla="val 36667"/>
              </a:avLst>
            </a:prstGeom>
            <a:solidFill>
              <a:schemeClr val="accent6">
                <a:lumMod val="75000"/>
              </a:schemeClr>
            </a:solidFill>
            <a:ln w="2222"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840" b="1">
                  <a:solidFill>
                    <a:schemeClr val="bg1"/>
                  </a:solidFill>
                  <a:latin typeface="Leelawadee" panose="020B0502040204020203" pitchFamily="34" charset="-34"/>
                  <a:cs typeface="Leelawadee" panose="020B0502040204020203" pitchFamily="34" charset="-34"/>
                </a:rPr>
                <a:t>Developing pep+ collaborations</a:t>
              </a:r>
            </a:p>
          </p:txBody>
        </p:sp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46" name="Slide Zoom 45">
                  <a:extLst>
                    <a:ext uri="{FF2B5EF4-FFF2-40B4-BE49-F238E27FC236}">
                      <a16:creationId xmlns:a16="http://schemas.microsoft.com/office/drawing/2014/main" id="{9DC4EA64-CF44-4C3E-9BC3-EA4C665D60AE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458884455"/>
                    </p:ext>
                  </p:extLst>
                </p:nvPr>
              </p:nvGraphicFramePr>
              <p:xfrm>
                <a:off x="1941976" y="5106690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99" cId="1735737450">
                      <pslz:zmPr id="{628212E5-1268-4ECE-8CFC-BAE489F3FEAD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46" name="Slide Zoom 45">
                  <a:extLst>
                    <a:ext uri="{FF2B5EF4-FFF2-40B4-BE49-F238E27FC236}">
                      <a16:creationId xmlns:a16="http://schemas.microsoft.com/office/drawing/2014/main" id="{9DC4EA64-CF44-4C3E-9BC3-EA4C665D60AE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2457228" y="10816950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47" name="Slide Zoom 46">
                  <a:extLst>
                    <a:ext uri="{FF2B5EF4-FFF2-40B4-BE49-F238E27FC236}">
                      <a16:creationId xmlns:a16="http://schemas.microsoft.com/office/drawing/2014/main" id="{58C2315F-8EF6-4710-A36D-D4E30C511B30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1701766881"/>
                    </p:ext>
                  </p:extLst>
                </p:nvPr>
              </p:nvGraphicFramePr>
              <p:xfrm>
                <a:off x="2868759" y="5091349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92" cId="2670237118">
                      <pslz:zmPr id="{B044D797-2E0F-44D1-8DF3-53B23B5EE74D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  <a:ln w="2222">
                            <a:solidFill>
                              <a:prstClr val="ltGray"/>
                            </a:solidFill>
                          </a:ln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47" name="Slide Zoom 46">
                  <a:extLst>
                    <a:ext uri="{FF2B5EF4-FFF2-40B4-BE49-F238E27FC236}">
                      <a16:creationId xmlns:a16="http://schemas.microsoft.com/office/drawing/2014/main" id="{58C2315F-8EF6-4710-A36D-D4E30C511B30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3384011" y="10801609"/>
                  <a:ext cx="774344" cy="435569"/>
                </a:xfrm>
                <a:prstGeom prst="rect">
                  <a:avLst/>
                </a:prstGeom>
                <a:ln w="2222">
                  <a:solidFill>
                    <a:prstClr val="ltGray"/>
                  </a:solidFill>
                </a:ln>
              </p:spPr>
            </p:pic>
          </mc:Fallback>
        </mc:AlternateContent>
        <mc:AlternateContent xmlns:mc="http://schemas.openxmlformats.org/markup-compatibility/2006" xmlns:pslz="http://schemas.microsoft.com/office/powerpoint/2016/slidezoom">
          <mc:Choice Requires="pslz">
            <p:graphicFrame>
              <p:nvGraphicFramePr>
                <p:cNvPr id="48" name="Slide Zoom 47">
                  <a:extLst>
                    <a:ext uri="{FF2B5EF4-FFF2-40B4-BE49-F238E27FC236}">
                      <a16:creationId xmlns:a16="http://schemas.microsoft.com/office/drawing/2014/main" id="{8EB2A623-7E8C-495D-B027-4BCA217EBF32}"/>
                    </a:ext>
                  </a:extLst>
                </p:cNvPr>
                <p:cNvGraphicFramePr>
                  <a:graphicFrameLocks noChangeAspect="1"/>
                </p:cNvGraphicFramePr>
                <p:nvPr>
                  <p:extLst>
                    <p:ext uri="{D42A27DB-BD31-4B8C-83A1-F6EECF244321}">
                      <p14:modId xmlns:p14="http://schemas.microsoft.com/office/powerpoint/2010/main" val="2113642179"/>
                    </p:ext>
                  </p:extLst>
                </p:nvPr>
              </p:nvGraphicFramePr>
              <p:xfrm>
                <a:off x="3795542" y="5088446"/>
                <a:ext cx="774344" cy="435569"/>
              </p:xfrm>
              <a:graphic>
                <a:graphicData uri="http://schemas.microsoft.com/office/powerpoint/2016/slidezoom">
                  <pslz:sldZm>
                    <pslz:sldZmObj sldId="2147470586" cId="512482825">
                      <pslz:zmPr id="{0ADD2454-2617-44E1-A75D-B8F0FF337FA3}" returnToParent="0" transitionDur="1000">
                        <p166:blipFill xmlns:p166="http://schemas.microsoft.com/office/powerpoint/2016/6/main">
                          <a:blip r:embed="rId10"/>
                          <a:stretch>
                            <a:fillRect/>
                          </a:stretch>
                        </p166:blipFill>
                        <p166:spPr xmlns:p166="http://schemas.microsoft.com/office/powerpoint/2016/6/main">
                          <a:xfrm>
                            <a:off x="0" y="0"/>
                            <a:ext cx="774344" cy="435569"/>
                          </a:xfrm>
                          <a:prstGeom prst="rect">
                            <a:avLst/>
                          </a:prstGeom>
                        </p166:spPr>
                      </pslz:zmPr>
                    </pslz:sldZmObj>
                  </pslz:sldZm>
                </a:graphicData>
              </a:graphic>
            </p:graphicFrame>
          </mc:Choice>
          <mc:Fallback xmlns="">
            <p:pic>
              <p:nvPicPr>
                <p:cNvPr id="48" name="Slide Zoom 47">
                  <a:extLst>
                    <a:ext uri="{FF2B5EF4-FFF2-40B4-BE49-F238E27FC236}">
                      <a16:creationId xmlns:a16="http://schemas.microsoft.com/office/drawing/2014/main" id="{8EB2A623-7E8C-495D-B027-4BCA217EBF32}"/>
                    </a:ext>
                  </a:extLst>
                </p:cNvPr>
                <p:cNvPicPr>
                  <a:picLocks noGrp="1" noRot="1" noChangeAspect="1" noMove="1" noResize="1" noEditPoints="1" noAdjustHandles="1" noChangeArrowheads="1" noChangeShapeType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4310794" y="10798706"/>
                  <a:ext cx="774344" cy="435569"/>
                </a:xfrm>
                <a:prstGeom prst="rect">
                  <a:avLst/>
                </a:prstGeom>
              </p:spPr>
            </p:pic>
          </mc:Fallback>
        </mc:AlternateContent>
      </p:grpSp>
    </p:spTree>
    <p:extLst>
      <p:ext uri="{BB962C8B-B14F-4D97-AF65-F5344CB8AC3E}">
        <p14:creationId xmlns:p14="http://schemas.microsoft.com/office/powerpoint/2010/main" val="27870801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78">
          <p15:clr>
            <a:srgbClr val="FBAE40"/>
          </p15:clr>
        </p15:guide>
        <p15:guide id="3" orient="horz" pos="3997">
          <p15:clr>
            <a:srgbClr val="FBAE40"/>
          </p15:clr>
        </p15:guide>
        <p15:guide id="4" orient="horz" pos="323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heat) ">
    <p:bg>
      <p:bgPr>
        <a:solidFill>
          <a:srgbClr val="006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96249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 descr="A field of wheat&#10;&#10;Description automatically generated with low confidence">
            <a:extLst>
              <a:ext uri="{FF2B5EF4-FFF2-40B4-BE49-F238E27FC236}">
                <a16:creationId xmlns:a16="http://schemas.microsoft.com/office/drawing/2014/main" id="{03C8818F-625E-4EFA-A4D2-8EAD4F7375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7"/>
          <a:stretch/>
        </p:blipFill>
        <p:spPr>
          <a:xfrm>
            <a:off x="0" y="0"/>
            <a:ext cx="7478038" cy="6858000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ABA205B-9E12-44B1-A996-D8A93D84D6DC}"/>
              </a:ext>
            </a:extLst>
          </p:cNvPr>
          <p:cNvSpPr/>
          <p:nvPr userDrawn="1"/>
        </p:nvSpPr>
        <p:spPr>
          <a:xfrm rot="10800000">
            <a:off x="620038" y="0"/>
            <a:ext cx="6858000" cy="68580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C4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 rtl="0"/>
            <a:endParaRPr lang="en-US" noProof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279399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3997">
          <p15:clr>
            <a:srgbClr val="FBAE40"/>
          </p15:clr>
        </p15:guide>
        <p15:guide id="4" orient="horz" pos="323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33CA900-2A91-466F-9255-09CEF97904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8145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33CA900-2A91-466F-9255-09CEF97904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0994524A-769B-B742-80BC-F1C502F1E422}"/>
              </a:ext>
            </a:extLst>
          </p:cNvPr>
          <p:cNvSpPr/>
          <p:nvPr/>
        </p:nvSpPr>
        <p:spPr>
          <a:xfrm>
            <a:off x="8105402" y="3789181"/>
            <a:ext cx="598634" cy="237896"/>
          </a:xfrm>
          <a:custGeom>
            <a:avLst/>
            <a:gdLst/>
            <a:ahLst/>
            <a:cxnLst/>
            <a:rect l="l" t="t" r="r" b="b"/>
            <a:pathLst>
              <a:path w="594359">
                <a:moveTo>
                  <a:pt x="0" y="0"/>
                </a:moveTo>
                <a:lnTo>
                  <a:pt x="594004" y="0"/>
                </a:lnTo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4BF98B-D5FF-D640-8B08-3F30B1F11D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991165" y="3376933"/>
            <a:ext cx="3587051" cy="334962"/>
          </a:xfrm>
        </p:spPr>
        <p:txBody>
          <a:bodyPr/>
          <a:lstStyle>
            <a:lvl1pPr rtl="0"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Presenter’s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A7EC67-992E-7743-8D67-9E23F97205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991102" y="3882109"/>
            <a:ext cx="3345069" cy="334962"/>
          </a:xfrm>
        </p:spPr>
        <p:txBody>
          <a:bodyPr/>
          <a:lstStyle>
            <a:lvl1pPr rtl="0">
              <a:buFontTx/>
              <a:buNone/>
              <a:defRPr sz="1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5CF201F-2D28-5B49-A064-6A811F0B82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165" y="2156693"/>
            <a:ext cx="3811904" cy="932688"/>
          </a:xfrm>
        </p:spPr>
        <p:txBody>
          <a:bodyPr>
            <a:no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  <p:pic>
        <p:nvPicPr>
          <p:cNvPr id="10" name="Picture 9" descr="A picture containing tree, green, plant, broccoli&#10;&#10;Description automatically generated">
            <a:extLst>
              <a:ext uri="{FF2B5EF4-FFF2-40B4-BE49-F238E27FC236}">
                <a16:creationId xmlns:a16="http://schemas.microsoft.com/office/drawing/2014/main" id="{C0BBEF17-CCF4-44A9-8BE8-126ABA4890D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-34288" y="0"/>
            <a:ext cx="7526731" cy="6846212"/>
          </a:xfrm>
          <a:prstGeom prst="rect">
            <a:avLst/>
          </a:prstGeom>
        </p:spPr>
      </p:pic>
      <p:pic>
        <p:nvPicPr>
          <p:cNvPr id="11" name="Picture 10" descr="Logo&#10;&#10;Description automatically generated">
            <a:extLst>
              <a:ext uri="{FF2B5EF4-FFF2-40B4-BE49-F238E27FC236}">
                <a16:creationId xmlns:a16="http://schemas.microsoft.com/office/drawing/2014/main" id="{321D46E2-614D-CF4E-9C75-EC407239DA3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15073" y="4644994"/>
            <a:ext cx="3895609" cy="18252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90937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Custom picture) ">
    <p:bg>
      <p:bgPr>
        <a:solidFill>
          <a:srgbClr val="006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5751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FA8C6288-2571-4D28-9F32-FC8576185BAE}"/>
              </a:ext>
            </a:extLst>
          </p:cNvPr>
          <p:cNvSpPr/>
          <p:nvPr userDrawn="1"/>
        </p:nvSpPr>
        <p:spPr>
          <a:xfrm>
            <a:off x="0" y="0"/>
            <a:ext cx="7478038" cy="6858000"/>
          </a:xfrm>
          <a:prstGeom prst="rect">
            <a:avLst/>
          </a:prstGeom>
          <a:solidFill>
            <a:srgbClr val="00A6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B9A49B21-6320-4789-A738-B381ACA22C9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7477125" cy="6858000"/>
          </a:xfrm>
          <a:custGeom>
            <a:avLst/>
            <a:gdLst>
              <a:gd name="connsiteX0" fmla="*/ 0 w 7477125"/>
              <a:gd name="connsiteY0" fmla="*/ 0 h 6858000"/>
              <a:gd name="connsiteX1" fmla="*/ 1 w 7477125"/>
              <a:gd name="connsiteY1" fmla="*/ 0 h 6858000"/>
              <a:gd name="connsiteX2" fmla="*/ 1 w 7477125"/>
              <a:gd name="connsiteY2" fmla="*/ 6857999 h 6858000"/>
              <a:gd name="connsiteX3" fmla="*/ 6858001 w 7477125"/>
              <a:gd name="connsiteY3" fmla="*/ 6857999 h 6858000"/>
              <a:gd name="connsiteX4" fmla="*/ 8925 w 7477125"/>
              <a:gd name="connsiteY4" fmla="*/ 352911 h 6858000"/>
              <a:gd name="connsiteX5" fmla="*/ 1 w 7477125"/>
              <a:gd name="connsiteY5" fmla="*/ 0 h 6858000"/>
              <a:gd name="connsiteX6" fmla="*/ 7477125 w 7477125"/>
              <a:gd name="connsiteY6" fmla="*/ 0 h 6858000"/>
              <a:gd name="connsiteX7" fmla="*/ 7477125 w 7477125"/>
              <a:gd name="connsiteY7" fmla="*/ 6858000 h 6858000"/>
              <a:gd name="connsiteX8" fmla="*/ 0 w 7477125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477125" h="6858000">
                <a:moveTo>
                  <a:pt x="0" y="0"/>
                </a:moveTo>
                <a:lnTo>
                  <a:pt x="1" y="0"/>
                </a:lnTo>
                <a:lnTo>
                  <a:pt x="1" y="6857999"/>
                </a:lnTo>
                <a:lnTo>
                  <a:pt x="6858001" y="6857999"/>
                </a:lnTo>
                <a:cubicBezTo>
                  <a:pt x="3188794" y="6857999"/>
                  <a:pt x="192603" y="3976472"/>
                  <a:pt x="8925" y="352911"/>
                </a:cubicBezTo>
                <a:lnTo>
                  <a:pt x="1" y="0"/>
                </a:lnTo>
                <a:lnTo>
                  <a:pt x="7477125" y="0"/>
                </a:lnTo>
                <a:lnTo>
                  <a:pt x="7477125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 rtl="0">
              <a:buNone/>
              <a:defRPr sz="4800" b="1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r>
              <a:rPr lang="en-US" noProof="0"/>
              <a:t>Picture Holder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7A4204A-92E2-473A-979D-9E45248E7FD2}"/>
              </a:ext>
            </a:extLst>
          </p:cNvPr>
          <p:cNvSpPr/>
          <p:nvPr userDrawn="1"/>
        </p:nvSpPr>
        <p:spPr>
          <a:xfrm rot="10800000" flipH="1">
            <a:off x="1" y="-1"/>
            <a:ext cx="6858000" cy="68580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8EDB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057615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55">
          <p15:clr>
            <a:srgbClr val="FBAE40"/>
          </p15:clr>
        </p15:guide>
        <p15:guide id="2" pos="325">
          <p15:clr>
            <a:srgbClr val="FBAE40"/>
          </p15:clr>
        </p15:guide>
        <p15:guide id="3" orient="horz" pos="323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(pep+ patterns) 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5A58F2E-9DF4-4F6C-B580-317E75D8C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70201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5A58F2E-9DF4-4F6C-B580-317E75D8C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EB15D48-DF0F-4E4A-983E-6AB408C951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35595" y="838200"/>
            <a:ext cx="6240467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40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69118B71-9DE5-4BDE-A347-3F15E5EB661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07"/>
          <a:stretch/>
        </p:blipFill>
        <p:spPr>
          <a:xfrm>
            <a:off x="5431874" y="4337904"/>
            <a:ext cx="2823126" cy="1460117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F5127A5-8833-47AB-B6AD-A8F9C2891BF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431874" y="2297153"/>
            <a:ext cx="624439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7DEAF1F-EF5A-4E4F-8B4B-967ECBB8264E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prstGeom prst="rect">
            <a:avLst/>
          </a:prstGeom>
          <a:solidFill>
            <a:srgbClr val="93D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BF8343BB-684F-4510-9026-8C58B05C220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431874" y="3027218"/>
            <a:ext cx="6244392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Presenter’s nam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85768F3-71F1-4DF0-B686-E0F881C01912}"/>
              </a:ext>
            </a:extLst>
          </p:cNvPr>
          <p:cNvSpPr/>
          <p:nvPr userDrawn="1"/>
        </p:nvSpPr>
        <p:spPr>
          <a:xfrm>
            <a:off x="0" y="2298701"/>
            <a:ext cx="2298700" cy="2298700"/>
          </a:xfrm>
          <a:prstGeom prst="rect">
            <a:avLst/>
          </a:prstGeom>
          <a:solidFill>
            <a:srgbClr val="00C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9B8E4DE-97B8-4681-982E-ADB24A8444AC}"/>
              </a:ext>
            </a:extLst>
          </p:cNvPr>
          <p:cNvSpPr/>
          <p:nvPr userDrawn="1"/>
        </p:nvSpPr>
        <p:spPr>
          <a:xfrm>
            <a:off x="2298700" y="0"/>
            <a:ext cx="2298700" cy="2298700"/>
          </a:xfrm>
          <a:prstGeom prst="rect">
            <a:avLst/>
          </a:prstGeom>
          <a:solidFill>
            <a:srgbClr val="00C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D62C860-692A-4D90-9165-00938B731278}"/>
              </a:ext>
            </a:extLst>
          </p:cNvPr>
          <p:cNvSpPr/>
          <p:nvPr userDrawn="1"/>
        </p:nvSpPr>
        <p:spPr>
          <a:xfrm>
            <a:off x="2298700" y="2298701"/>
            <a:ext cx="2298700" cy="2298700"/>
          </a:xfrm>
          <a:prstGeom prst="rect">
            <a:avLst/>
          </a:prstGeom>
          <a:solidFill>
            <a:srgbClr val="133D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D778CD25-16D5-4545-AA64-C54B990296A7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360BD2DA-036B-4188-8971-A0E477C28632}"/>
              </a:ext>
            </a:extLst>
          </p:cNvPr>
          <p:cNvSpPr/>
          <p:nvPr userDrawn="1"/>
        </p:nvSpPr>
        <p:spPr>
          <a:xfrm rot="5400000">
            <a:off x="229870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rgbClr val="006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E4D2C27-C255-4E7C-958F-F974E6423A21}"/>
              </a:ext>
            </a:extLst>
          </p:cNvPr>
          <p:cNvSpPr/>
          <p:nvPr userDrawn="1"/>
        </p:nvSpPr>
        <p:spPr>
          <a:xfrm flipV="1">
            <a:off x="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rgbClr val="93D5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F21292C8-517F-449B-937E-CB52015C4AE9}"/>
              </a:ext>
            </a:extLst>
          </p:cNvPr>
          <p:cNvSpPr/>
          <p:nvPr userDrawn="1"/>
        </p:nvSpPr>
        <p:spPr>
          <a:xfrm rot="16200000" flipV="1">
            <a:off x="229870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rgbClr val="00C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B3C9DEEA-65E3-410D-B9D7-B7571D824B16}"/>
              </a:ext>
            </a:extLst>
          </p:cNvPr>
          <p:cNvSpPr/>
          <p:nvPr userDrawn="1"/>
        </p:nvSpPr>
        <p:spPr>
          <a:xfrm>
            <a:off x="2298698" y="2297153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133D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790B156-20E6-4219-92F6-B4EB13B49541}"/>
              </a:ext>
            </a:extLst>
          </p:cNvPr>
          <p:cNvSpPr/>
          <p:nvPr userDrawn="1"/>
        </p:nvSpPr>
        <p:spPr>
          <a:xfrm>
            <a:off x="0" y="4595853"/>
            <a:ext cx="2298700" cy="2260598"/>
          </a:xfrm>
          <a:prstGeom prst="rect">
            <a:avLst/>
          </a:prstGeom>
          <a:solidFill>
            <a:srgbClr val="006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270F2D2-C833-4056-B9C6-92CC2DF76DEE}"/>
              </a:ext>
            </a:extLst>
          </p:cNvPr>
          <p:cNvSpPr/>
          <p:nvPr userDrawn="1"/>
        </p:nvSpPr>
        <p:spPr>
          <a:xfrm>
            <a:off x="2298700" y="4595853"/>
            <a:ext cx="2298700" cy="2262147"/>
          </a:xfrm>
          <a:prstGeom prst="rect">
            <a:avLst/>
          </a:prstGeom>
          <a:solidFill>
            <a:srgbClr val="00A5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B020F72A-CDD9-48E6-9B5B-86F6D735E491}"/>
              </a:ext>
            </a:extLst>
          </p:cNvPr>
          <p:cNvSpPr/>
          <p:nvPr userDrawn="1"/>
        </p:nvSpPr>
        <p:spPr>
          <a:xfrm rot="10800000">
            <a:off x="2298696" y="4559299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C4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3D15B0BC-6A43-4216-AE94-804BD48B303B}"/>
              </a:ext>
            </a:extLst>
          </p:cNvPr>
          <p:cNvSpPr/>
          <p:nvPr userDrawn="1"/>
        </p:nvSpPr>
        <p:spPr>
          <a:xfrm>
            <a:off x="0" y="5462546"/>
            <a:ext cx="2298692" cy="1395454"/>
          </a:xfrm>
          <a:prstGeom prst="rtTriangle">
            <a:avLst/>
          </a:prstGeom>
          <a:solidFill>
            <a:srgbClr val="00A5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3489112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 with Content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FEDFB37-F16C-448D-8D8B-E57C4B1FF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0209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FEDFB37-F16C-448D-8D8B-E57C4B1FF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345D5DD2-2E19-CA4B-AA8E-4199EABE98B3}"/>
              </a:ext>
            </a:extLst>
          </p:cNvPr>
          <p:cNvSpPr/>
          <p:nvPr userDrawn="1"/>
        </p:nvSpPr>
        <p:spPr>
          <a:xfrm>
            <a:off x="4409440" y="0"/>
            <a:ext cx="7782560" cy="6608560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D29E553-7C78-5843-B13C-8A9A1E1B21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44513" y="703110"/>
            <a:ext cx="6276095" cy="5307398"/>
          </a:xfrm>
        </p:spPr>
        <p:txBody>
          <a:bodyPr>
            <a:noAutofit/>
          </a:bodyPr>
          <a:lstStyle>
            <a:lvl1pPr marL="519113" indent="-519113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6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46125" marR="0" indent="-4603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60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87438" indent="-447675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6000">
                <a:solidFill>
                  <a:schemeClr val="bg1"/>
                </a:solidFill>
              </a:defRPr>
            </a:lvl3pPr>
            <a:lvl4pPr marL="1493838" indent="-47148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6000">
                <a:solidFill>
                  <a:schemeClr val="bg1"/>
                </a:solidFill>
              </a:defRPr>
            </a:lvl4pPr>
            <a:lvl5pPr marL="1887538" indent="-468313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6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pic>
        <p:nvPicPr>
          <p:cNvPr id="14" name="Picture 13" descr="Shape, circle&#10;&#10;Description automatically generated">
            <a:extLst>
              <a:ext uri="{FF2B5EF4-FFF2-40B4-BE49-F238E27FC236}">
                <a16:creationId xmlns:a16="http://schemas.microsoft.com/office/drawing/2014/main" id="{C8D452A2-BF8C-B247-842C-3E70087B917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-22330" y="2207789"/>
            <a:ext cx="2215865" cy="2215865"/>
          </a:xfrm>
          <a:prstGeom prst="rect">
            <a:avLst/>
          </a:prstGeom>
        </p:spPr>
      </p:pic>
      <p:pic>
        <p:nvPicPr>
          <p:cNvPr id="18" name="Picture 17" descr="Shape, circle&#10;&#10;Description automatically generated">
            <a:extLst>
              <a:ext uri="{FF2B5EF4-FFF2-40B4-BE49-F238E27FC236}">
                <a16:creationId xmlns:a16="http://schemas.microsoft.com/office/drawing/2014/main" id="{00D050FC-9B85-9744-83A4-3956EA752C9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2122" y="2208606"/>
            <a:ext cx="2213814" cy="2215864"/>
          </a:xfrm>
          <a:prstGeom prst="rect">
            <a:avLst/>
          </a:prstGeom>
        </p:spPr>
      </p:pic>
      <p:pic>
        <p:nvPicPr>
          <p:cNvPr id="16" name="Picture 15" descr="A picture containing diagram&#10;&#10;Description automatically generated">
            <a:extLst>
              <a:ext uri="{FF2B5EF4-FFF2-40B4-BE49-F238E27FC236}">
                <a16:creationId xmlns:a16="http://schemas.microsoft.com/office/drawing/2014/main" id="{0EEA53EB-6594-A243-8953-40990CD868F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193148" y="-9101"/>
            <a:ext cx="2215864" cy="2217916"/>
          </a:xfrm>
          <a:prstGeom prst="rect">
            <a:avLst/>
          </a:prstGeom>
        </p:spPr>
      </p:pic>
      <p:pic>
        <p:nvPicPr>
          <p:cNvPr id="21" name="Picture 20" descr="Shape&#10;&#10;Description automatically generated">
            <a:extLst>
              <a:ext uri="{FF2B5EF4-FFF2-40B4-BE49-F238E27FC236}">
                <a16:creationId xmlns:a16="http://schemas.microsoft.com/office/drawing/2014/main" id="{43D7F4C2-9656-1E4B-B7B7-3AA0F46A332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2193146" y="4395557"/>
            <a:ext cx="2211766" cy="2213814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rtl="0"/>
            <a:r>
              <a:rPr lang="en-US" b="0" i="0" noProof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rtl="0"/>
            <a:r>
              <a:rPr lang="en-US" b="0" i="0" noProof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 noProof="0"/>
          </a:p>
        </p:txBody>
      </p:sp>
      <p:pic>
        <p:nvPicPr>
          <p:cNvPr id="5" name="Picture 4" descr="Shape, circle&#10;&#10;Description automatically generated">
            <a:extLst>
              <a:ext uri="{FF2B5EF4-FFF2-40B4-BE49-F238E27FC236}">
                <a16:creationId xmlns:a16="http://schemas.microsoft.com/office/drawing/2014/main" id="{CF8D6C01-B35A-3D46-894A-E4559F9A0010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0280" y="-3698"/>
            <a:ext cx="2213815" cy="2215866"/>
          </a:xfrm>
          <a:prstGeom prst="rect">
            <a:avLst/>
          </a:prstGeom>
        </p:spPr>
      </p:pic>
      <p:pic>
        <p:nvPicPr>
          <p:cNvPr id="19" name="Picture 18" descr="Shape&#10;&#10;Description automatically generated">
            <a:extLst>
              <a:ext uri="{FF2B5EF4-FFF2-40B4-BE49-F238E27FC236}">
                <a16:creationId xmlns:a16="http://schemas.microsoft.com/office/drawing/2014/main" id="{6718313F-641C-B144-B0ED-92C528E0379C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-20281" y="4394638"/>
            <a:ext cx="2213815" cy="2213815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EE71A5EF-8E99-4E11-9920-D10DFAD5BC9B}"/>
              </a:ext>
            </a:extLst>
          </p:cNvPr>
          <p:cNvGrpSpPr/>
          <p:nvPr userDrawn="1"/>
        </p:nvGrpSpPr>
        <p:grpSpPr>
          <a:xfrm>
            <a:off x="-185937" y="6570000"/>
            <a:ext cx="12377937" cy="288000"/>
            <a:chOff x="-185937" y="6570000"/>
            <a:chExt cx="12377937" cy="288000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8924BD9B-BCFE-4719-A0BD-E9446E73FB1D}"/>
                </a:ext>
              </a:extLst>
            </p:cNvPr>
            <p:cNvGrpSpPr/>
            <p:nvPr userDrawn="1"/>
          </p:nvGrpSpPr>
          <p:grpSpPr>
            <a:xfrm>
              <a:off x="-185937" y="6570000"/>
              <a:ext cx="12377937" cy="288000"/>
              <a:chOff x="-185937" y="6570000"/>
              <a:chExt cx="12377937" cy="288000"/>
            </a:xfrm>
          </p:grpSpPr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088ED7A6-CD2E-4A06-91F7-DC44A526175F}"/>
                  </a:ext>
                </a:extLst>
              </p:cNvPr>
              <p:cNvSpPr/>
              <p:nvPr userDrawn="1"/>
            </p:nvSpPr>
            <p:spPr>
              <a:xfrm>
                <a:off x="0" y="6570000"/>
                <a:ext cx="12192000" cy="288000"/>
              </a:xfrm>
              <a:prstGeom prst="rect">
                <a:avLst/>
              </a:prstGeom>
              <a:solidFill>
                <a:srgbClr val="0065E5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5E4A4541-D6A3-415C-AE4A-75619362C5A2}"/>
                  </a:ext>
                </a:extLst>
              </p:cNvPr>
              <p:cNvSpPr txBox="1"/>
              <p:nvPr userDrawn="1"/>
            </p:nvSpPr>
            <p:spPr>
              <a:xfrm>
                <a:off x="-185937" y="6659012"/>
                <a:ext cx="1212838" cy="12311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0" cap="none" spc="30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eelawadee" panose="020B0502040204020203" pitchFamily="34" charset="-34"/>
                    <a:cs typeface="Leelawadee" panose="020B0502040204020203" pitchFamily="34" charset="-34"/>
                  </a:rPr>
                  <a:t>PAGE </a:t>
                </a:r>
                <a:fld id="{A9E0B6D1-DDC5-4C92-958F-2E726AE580D7}" type="slidenum">
                  <a:rPr kumimoji="0" lang="en-US" sz="800" b="0" i="0" u="none" strike="noStrike" kern="0" cap="none" spc="30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eelawadee" panose="020B0502040204020203" pitchFamily="34" charset="-34"/>
                    <a:cs typeface="Leelawadee" panose="020B0502040204020203" pitchFamily="34" charset="-34"/>
                  </a:rPr>
                  <a:pPr marL="0" marR="0" lvl="0" indent="0" algn="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‹#›</a:t>
                </a:fld>
                <a:endParaRPr kumimoji="0" lang="en-US" sz="800" b="0" i="0" u="none" strike="noStrike" kern="0" cap="none" spc="3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eelawadee" panose="020B0502040204020203" pitchFamily="34" charset="-34"/>
                  <a:cs typeface="Leelawadee" panose="020B0502040204020203" pitchFamily="34" charset="-34"/>
                </a:endParaRPr>
              </a:p>
            </p:txBody>
          </p:sp>
          <p:cxnSp>
            <p:nvCxnSpPr>
              <p:cNvPr id="25" name="Straight Connector 24">
                <a:extLst>
                  <a:ext uri="{FF2B5EF4-FFF2-40B4-BE49-F238E27FC236}">
                    <a16:creationId xmlns:a16="http://schemas.microsoft.com/office/drawing/2014/main" id="{105CCE5D-719E-4512-845C-F265DBF53907}"/>
                  </a:ext>
                </a:extLst>
              </p:cNvPr>
              <p:cNvCxnSpPr/>
              <p:nvPr userDrawn="1"/>
            </p:nvCxnSpPr>
            <p:spPr>
              <a:xfrm>
                <a:off x="1122998" y="6570000"/>
                <a:ext cx="0" cy="288000"/>
              </a:xfrm>
              <a:prstGeom prst="line">
                <a:avLst/>
              </a:prstGeom>
              <a:noFill/>
              <a:ln w="6350" cap="flat" cmpd="sng" algn="ctr">
                <a:solidFill>
                  <a:sysClr val="window" lastClr="FFFFFF"/>
                </a:solidFill>
                <a:prstDash val="solid"/>
                <a:miter lim="800000"/>
              </a:ln>
              <a:effectLst/>
            </p:spPr>
          </p:cxnSp>
        </p:grp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5782CE5-349C-4ED7-85BD-40219E445496}"/>
                </a:ext>
              </a:extLst>
            </p:cNvPr>
            <p:cNvSpPr txBox="1"/>
            <p:nvPr userDrawn="1"/>
          </p:nvSpPr>
          <p:spPr>
            <a:xfrm>
              <a:off x="1294444" y="6658626"/>
              <a:ext cx="4669135" cy="12311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30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eelawadee" panose="020B0502040204020203" pitchFamily="34" charset="-34"/>
                  <a:cs typeface="Leelawadee" panose="020B0502040204020203" pitchFamily="34" charset="-34"/>
                </a:rPr>
                <a:t>CONFIDENTIAL &amp; PROPRIETARY</a:t>
              </a:r>
            </a:p>
          </p:txBody>
        </p:sp>
      </p:grpSp>
      <p:sp>
        <p:nvSpPr>
          <p:cNvPr id="26" name="Rectangle 25">
            <a:hlinkClick r:id="" action="ppaction://noaction"/>
            <a:extLst>
              <a:ext uri="{FF2B5EF4-FFF2-40B4-BE49-F238E27FC236}">
                <a16:creationId xmlns:a16="http://schemas.microsoft.com/office/drawing/2014/main" id="{D3122622-66E6-4165-ACE9-8F947210F885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27" name="Rectangle 26">
            <a:hlinkClick r:id="" action="ppaction://noaction"/>
            <a:extLst>
              <a:ext uri="{FF2B5EF4-FFF2-40B4-BE49-F238E27FC236}">
                <a16:creationId xmlns:a16="http://schemas.microsoft.com/office/drawing/2014/main" id="{81BA53E8-3A40-457E-8B91-AFC112B3CC23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Introducing pep+ </a:t>
            </a:r>
            <a:b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28" name="Rectangle 27">
            <a:hlinkClick r:id="" action="ppaction://noaction"/>
            <a:extLst>
              <a:ext uri="{FF2B5EF4-FFF2-40B4-BE49-F238E27FC236}">
                <a16:creationId xmlns:a16="http://schemas.microsoft.com/office/drawing/2014/main" id="{D6E2F5EB-23E4-41FE-917C-C8BDF236126B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Exploring </a:t>
            </a:r>
            <a:b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</a:br>
            <a:r>
              <a: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29" name="Rectangle 28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56A185DF-A9FA-4A92-AB5E-98A0820FCC3F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AA0C0EC-A614-4DFD-AF91-80136B10951D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5861345-FD5C-4C7E-AF74-B0E1AD944CC2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1BF7DC4-EA4B-4AB4-937D-D92B1AB4AC76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84CDCC8-BDBC-421A-A64A-8D84DDBB8329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50000"/>
              </a:sysClr>
            </a:solidFill>
            <a:prstDash val="solid"/>
            <a:miter lim="800000"/>
          </a:ln>
          <a:effectLst/>
        </p:spPr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13DA257A-086F-47E5-83CD-C82D4FBCAE6E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50000"/>
              </a:sysClr>
            </a:solidFill>
            <a:prstDash val="solid"/>
            <a:miter lim="800000"/>
          </a:ln>
          <a:effectLst/>
        </p:spPr>
      </p:cxnSp>
      <p:grpSp>
        <p:nvGrpSpPr>
          <p:cNvPr id="35" name="Group 34">
            <a:extLst>
              <a:ext uri="{FF2B5EF4-FFF2-40B4-BE49-F238E27FC236}">
                <a16:creationId xmlns:a16="http://schemas.microsoft.com/office/drawing/2014/main" id="{F99987E2-C7C1-4A06-BEC1-20CFC136DA12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431ED53A-FA57-4F39-BB90-7C0B2CCBF9CE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1607ADEC-DBE4-4204-8829-78EC717A0932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79FFB051-A9B8-4F1E-B67A-4DF537ED5B18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B3424277-ECB4-42F5-AEC2-7DFB36A6F7C2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370650C2-BE5F-43E2-85F4-3A556C07E818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90081ECE-20AF-482F-94CC-092445EC97B3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9B56E5A1-61A3-48CF-9DE1-F49E4DF1B9B3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FB0BDC7-59F7-40A2-B420-2323EB43F5D5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167AE447-3F51-403E-9F11-11E36ABC6BE7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62D3C175-41EC-4A85-A625-BC9A641CCDAF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4E989283-F4E6-4980-8409-61A4C68C2B20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45E2C4D-DBF8-4C18-8364-1676E8BEB4A1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04834A9-60E1-4CA2-836E-704D6BB60A56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65C10274-9775-4548-A62E-127268962D5A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EEA69B6C-DCB7-4215-BBF9-98C1EE048B05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22DFE3B7-6B7A-46E8-AF09-4BAF446AC53F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5AFABF04-FA6B-47FE-AD16-16640F8B7178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4F877290-4C07-4231-ACDB-4C5C456BECD8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C40792BE-D31D-4C0D-B849-3D43582D503B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8306BF80-26C0-47A7-B9A7-696B44CF3C6A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1579A2F6-EF12-4BF9-8C07-B7CAE5470526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6A9F7F76-CA75-4B8F-9ACB-69794F94519F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418DD7E6-F0C7-4BA1-8611-CAE1EA04530C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AE760D7A-E8F2-4C28-944A-43A4C79114EF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5F9C3EDD-C416-466F-B547-0F9C5C6D2D54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98E89F6-48A9-4D35-86CF-4423DB50139D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FB9E13BA-D632-451A-885E-206ED0AD9CC7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01A8C4B0-1A65-40A9-8AE6-F56359955E68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ABF555BB-8391-499E-BC9A-93D5819E4CF9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94A1EEAA-75D0-4329-9D56-09B0CE56E51F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E802361B-CDB8-452F-882C-8EA959968A23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1C73266B-BD23-43E5-A913-9AA7CD19EB74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325DCC85-0FEE-4871-B84E-8F3CE0B34882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568C0A5D-8F7A-453C-9272-D302814010F2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08FB834E-2847-4D99-B01B-6FC54DA416FA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93148A2-D46E-44D1-9B03-26C03A4492B4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A523A0B3-DE7C-4721-B8D8-DA5E3252757B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FD30EAE3-13A4-4360-A399-44A195FA33FD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FC9C7462-A15F-4FEB-B3DF-90815CD6B02C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39383576-4C21-4256-9FC4-9DB10AB5C5D6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5B328BCE-413E-4A97-8987-3F08B2AB5F71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77" name="Group 76">
            <a:extLst>
              <a:ext uri="{FF2B5EF4-FFF2-40B4-BE49-F238E27FC236}">
                <a16:creationId xmlns:a16="http://schemas.microsoft.com/office/drawing/2014/main" id="{829221E4-DE74-43E4-B722-8E1DBE1CAD0D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78" name="Rectangle: Rounded Corners 77">
              <a:hlinkClick r:id="" action="ppaction://noaction"/>
              <a:extLst>
                <a:ext uri="{FF2B5EF4-FFF2-40B4-BE49-F238E27FC236}">
                  <a16:creationId xmlns:a16="http://schemas.microsoft.com/office/drawing/2014/main" id="{B5BAF668-566A-410D-80F9-8D04903A6472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Rectangle: Rounded Corners 78">
              <a:hlinkClick r:id="" action="ppaction://noaction"/>
              <a:extLst>
                <a:ext uri="{FF2B5EF4-FFF2-40B4-BE49-F238E27FC236}">
                  <a16:creationId xmlns:a16="http://schemas.microsoft.com/office/drawing/2014/main" id="{8594E6B4-9A79-43EE-8420-06FA82E92F0E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Rectangle: Rounded Corners 79">
              <a:hlinkClick r:id="" action="ppaction://noaction"/>
              <a:extLst>
                <a:ext uri="{FF2B5EF4-FFF2-40B4-BE49-F238E27FC236}">
                  <a16:creationId xmlns:a16="http://schemas.microsoft.com/office/drawing/2014/main" id="{68A4191D-B3CC-4765-9BC7-FC5A13C779AF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pl-PL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81" name="Rectangle 80">
            <a:hlinkClick r:id="" action="ppaction://noaction"/>
            <a:extLst>
              <a:ext uri="{FF2B5EF4-FFF2-40B4-BE49-F238E27FC236}">
                <a16:creationId xmlns:a16="http://schemas.microsoft.com/office/drawing/2014/main" id="{0A163233-65A1-477E-B986-07B7D9DD5BE6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l-PL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7D7D31B3-465C-4ACA-8110-3073A91F2342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50000"/>
              </a:sysClr>
            </a:solidFill>
            <a:prstDash val="solid"/>
            <a:miter lim="800000"/>
          </a:ln>
          <a:effectLst/>
        </p:spPr>
      </p:cxnSp>
      <p:sp>
        <p:nvSpPr>
          <p:cNvPr id="83" name="Rectangle 82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44B0E746-DD7D-4FA1-9065-9457A8DCEFB5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Additional </a:t>
            </a:r>
            <a:b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</a:br>
            <a:r>
              <a:rPr kumimoji="0" lang="en-GB" sz="800" b="0" i="0" u="none" strike="noStrike" kern="0" cap="none" spc="0" normalizeH="0" baseline="0" noProof="0">
                <a:ln>
                  <a:noFill/>
                </a:ln>
                <a:solidFill>
                  <a:prstClr val="white">
                    <a:alpha val="50000"/>
                  </a:prstClr>
                </a:solidFill>
                <a:effectLst/>
                <a:uLnTx/>
                <a:uFillTx/>
                <a:latin typeface="Leelawadee" panose="020B0502040204020203" pitchFamily="34" charset="-34"/>
                <a:ea typeface="+mn-ea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A63664AC-5425-4DE6-AB7E-E4278845E166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noFill/>
          <a:ln w="6350" cap="flat" cmpd="sng" algn="ctr">
            <a:solidFill>
              <a:sysClr val="window" lastClr="FFFFFF">
                <a:alpha val="50000"/>
              </a:sysClr>
            </a:solidFill>
            <a:prstDash val="solid"/>
            <a:miter lim="800000"/>
          </a:ln>
          <a:effectLst/>
        </p:spPr>
      </p:cxnSp>
    </p:spTree>
    <p:extLst>
      <p:ext uri="{BB962C8B-B14F-4D97-AF65-F5344CB8AC3E}">
        <p14:creationId xmlns:p14="http://schemas.microsoft.com/office/powerpoint/2010/main" val="31603765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6D684D3-FEA7-4674-92EE-043A69C531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43962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6D684D3-FEA7-4674-92EE-043A69C531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pic>
        <p:nvPicPr>
          <p:cNvPr id="5" name="Picture 4" descr="Shape&#10;&#10;Description automatically generated">
            <a:extLst>
              <a:ext uri="{FF2B5EF4-FFF2-40B4-BE49-F238E27FC236}">
                <a16:creationId xmlns:a16="http://schemas.microsoft.com/office/drawing/2014/main" id="{4E7D94B0-F89E-124C-9342-F2D79E56E8F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 flipH="1">
            <a:off x="-34287" y="0"/>
            <a:ext cx="3425828" cy="3429000"/>
          </a:xfrm>
          <a:prstGeom prst="rect">
            <a:avLst/>
          </a:prstGeom>
        </p:spPr>
      </p:pic>
      <p:pic>
        <p:nvPicPr>
          <p:cNvPr id="9" name="Picture 8" descr="Diagram, venn diagram&#10;&#10;Description automatically generated">
            <a:extLst>
              <a:ext uri="{FF2B5EF4-FFF2-40B4-BE49-F238E27FC236}">
                <a16:creationId xmlns:a16="http://schemas.microsoft.com/office/drawing/2014/main" id="{1ED6D30F-6EB1-E940-972C-5C415573E12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1541" y="0"/>
            <a:ext cx="3425828" cy="3429000"/>
          </a:xfrm>
          <a:prstGeom prst="rect">
            <a:avLst/>
          </a:prstGeom>
        </p:spPr>
      </p:pic>
      <p:pic>
        <p:nvPicPr>
          <p:cNvPr id="11" name="Picture 10" descr="Chart, pie chart&#10;&#10;Description automatically generated">
            <a:extLst>
              <a:ext uri="{FF2B5EF4-FFF2-40B4-BE49-F238E27FC236}">
                <a16:creationId xmlns:a16="http://schemas.microsoft.com/office/drawing/2014/main" id="{3C584B47-FF61-1E42-880C-6325350EB38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288" y="3429000"/>
            <a:ext cx="3425827" cy="3428999"/>
          </a:xfrm>
          <a:prstGeom prst="rect">
            <a:avLst/>
          </a:prstGeom>
        </p:spPr>
      </p:pic>
      <p:pic>
        <p:nvPicPr>
          <p:cNvPr id="13" name="Picture 12" descr="Shape, circle&#10;&#10;Description automatically generated">
            <a:extLst>
              <a:ext uri="{FF2B5EF4-FFF2-40B4-BE49-F238E27FC236}">
                <a16:creationId xmlns:a16="http://schemas.microsoft.com/office/drawing/2014/main" id="{D472BBD1-1FDB-234E-AAC1-6FF28BCB9B6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91540" y="3428997"/>
            <a:ext cx="3425831" cy="3429003"/>
          </a:xfrm>
          <a:prstGeom prst="rect">
            <a:avLst/>
          </a:prstGeom>
        </p:spPr>
      </p:pic>
      <p:sp>
        <p:nvSpPr>
          <p:cNvPr id="24" name="object 10">
            <a:extLst>
              <a:ext uri="{FF2B5EF4-FFF2-40B4-BE49-F238E27FC236}">
                <a16:creationId xmlns:a16="http://schemas.microsoft.com/office/drawing/2014/main" id="{0994524A-769B-B742-80BC-F1C502F1E422}"/>
              </a:ext>
            </a:extLst>
          </p:cNvPr>
          <p:cNvSpPr/>
          <p:nvPr userDrawn="1"/>
        </p:nvSpPr>
        <p:spPr>
          <a:xfrm>
            <a:off x="7648609" y="3789181"/>
            <a:ext cx="598634" cy="237896"/>
          </a:xfrm>
          <a:custGeom>
            <a:avLst/>
            <a:gdLst/>
            <a:ahLst/>
            <a:cxnLst/>
            <a:rect l="l" t="t" r="r" b="b"/>
            <a:pathLst>
              <a:path w="594359">
                <a:moveTo>
                  <a:pt x="0" y="0"/>
                </a:moveTo>
                <a:lnTo>
                  <a:pt x="594004" y="0"/>
                </a:lnTo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4BF98B-D5FF-D640-8B08-3F30B1F11D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34372" y="3376933"/>
            <a:ext cx="3587051" cy="334962"/>
          </a:xfrm>
        </p:spPr>
        <p:txBody>
          <a:bodyPr/>
          <a:lstStyle>
            <a:lvl1pPr rtl="0"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Presenter’s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A7EC67-992E-7743-8D67-9E23F97205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34309" y="3882109"/>
            <a:ext cx="3345069" cy="334962"/>
          </a:xfrm>
        </p:spPr>
        <p:txBody>
          <a:bodyPr/>
          <a:lstStyle>
            <a:lvl1pPr rtl="0">
              <a:buFontTx/>
              <a:buNone/>
              <a:defRPr sz="1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5CF201F-2D28-5B49-A064-6A811F0B82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34372" y="2156693"/>
            <a:ext cx="3811904" cy="932688"/>
          </a:xfrm>
        </p:spPr>
        <p:txBody>
          <a:bodyPr>
            <a:no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16230568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6997525-20C6-DD0F-63EA-A64270E09E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2630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997525-20C6-DD0F-63EA-A64270E09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0CEF2B4A-8D8A-9921-8B20-101701BF012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20" name="Picture 19" descr="A picture containing text, electronics&#10;&#10;Description automatically generated">
            <a:extLst>
              <a:ext uri="{FF2B5EF4-FFF2-40B4-BE49-F238E27FC236}">
                <a16:creationId xmlns:a16="http://schemas.microsoft.com/office/drawing/2014/main" id="{7D525D62-6F88-4E1C-DDCA-3069A179E5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2"/>
          <a:stretch/>
        </p:blipFill>
        <p:spPr>
          <a:xfrm>
            <a:off x="0" y="0"/>
            <a:ext cx="6515154" cy="6858000"/>
          </a:xfrm>
          <a:prstGeom prst="rect">
            <a:avLst/>
          </a:prstGeom>
        </p:spPr>
      </p:pic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7EB40FB-1164-79CB-79D7-1524D4C3B2F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E522F61-7AB0-BC8C-4E13-8BECE93AC1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</a:t>
            </a:r>
          </a:p>
          <a:p>
            <a:pPr lvl="0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FBCD2ED-B4C5-B462-9A73-2116E09AD0F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5560"/>
            <a:ext cx="5214876" cy="4513432"/>
          </a:xfrm>
          <a:prstGeom prst="rect">
            <a:avLst/>
          </a:prstGeom>
        </p:spPr>
      </p:pic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374CB85-67B5-E257-BF4E-EC7A8FB663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EEFA0D-DF3D-CE89-FE60-598006CAECA8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5326ACE-97C8-16B8-2BB4-966A62E36AA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02EC330-8540-F574-3F43-B0CC5C51E73D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D0AC80-2A85-8389-7781-D2ACAE472C1A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59A9E27-A09A-E72B-112D-FCE664AE90F4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443FA9A-2B51-F1D1-159A-96558D3B7C86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02EAA39-754A-7E6F-CD96-E2887137756A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7F0E295-4B7D-6882-6B05-F68C467095F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2002B6F-79EE-3A7E-1C92-9D8366CE262A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446F5D-7AAF-99DF-6095-ED40913CF346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AD98835-C978-294E-BB3B-AC74182870BD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19" name="Picture 18" descr="Logo&#10;&#10;Description automatically generated">
            <a:extLst>
              <a:ext uri="{FF2B5EF4-FFF2-40B4-BE49-F238E27FC236}">
                <a16:creationId xmlns:a16="http://schemas.microsoft.com/office/drawing/2014/main" id="{97615AB6-5E78-D7B0-C7EF-37BED6F516A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031" y="5220255"/>
            <a:ext cx="3180246" cy="1304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56303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A420C90-0DEB-42EB-A2DC-AB17DB2466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1681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A420C90-0DEB-42EB-A2DC-AB17DB2466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rgbClr val="0065E5"/>
          </a:solidFill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sp>
        <p:nvSpPr>
          <p:cNvPr id="24" name="object 10">
            <a:extLst>
              <a:ext uri="{FF2B5EF4-FFF2-40B4-BE49-F238E27FC236}">
                <a16:creationId xmlns:a16="http://schemas.microsoft.com/office/drawing/2014/main" id="{0994524A-769B-B742-80BC-F1C502F1E422}"/>
              </a:ext>
            </a:extLst>
          </p:cNvPr>
          <p:cNvSpPr/>
          <p:nvPr/>
        </p:nvSpPr>
        <p:spPr>
          <a:xfrm>
            <a:off x="7648609" y="3789181"/>
            <a:ext cx="598634" cy="237896"/>
          </a:xfrm>
          <a:custGeom>
            <a:avLst/>
            <a:gdLst/>
            <a:ahLst/>
            <a:cxnLst/>
            <a:rect l="l" t="t" r="r" b="b"/>
            <a:pathLst>
              <a:path w="594359">
                <a:moveTo>
                  <a:pt x="0" y="0"/>
                </a:moveTo>
                <a:lnTo>
                  <a:pt x="594004" y="0"/>
                </a:lnTo>
              </a:path>
            </a:pathLst>
          </a:custGeom>
          <a:ln w="9525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4BF98B-D5FF-D640-8B08-3F30B1F11D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34372" y="3376933"/>
            <a:ext cx="3587051" cy="334962"/>
          </a:xfrm>
        </p:spPr>
        <p:txBody>
          <a:bodyPr/>
          <a:lstStyle>
            <a:lvl1pPr rtl="0">
              <a:buNone/>
              <a:defRPr sz="18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Presenter’s Nam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9A7EC67-992E-7743-8D67-9E23F97205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534309" y="3882109"/>
            <a:ext cx="3345069" cy="334962"/>
          </a:xfrm>
        </p:spPr>
        <p:txBody>
          <a:bodyPr/>
          <a:lstStyle>
            <a:lvl1pPr rtl="0">
              <a:buFontTx/>
              <a:buNone/>
              <a:defRPr sz="1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buFontTx/>
              <a:buNone/>
              <a:defRPr/>
            </a:lvl2pPr>
            <a:lvl3pPr>
              <a:buFontTx/>
              <a:buNone/>
              <a:defRPr/>
            </a:lvl3pPr>
            <a:lvl4pPr>
              <a:buFontTx/>
              <a:buNone/>
              <a:defRPr/>
            </a:lvl4pPr>
            <a:lvl5pPr>
              <a:buFontTx/>
              <a:buNone/>
              <a:defRPr/>
            </a:lvl5pPr>
          </a:lstStyle>
          <a:p>
            <a:pPr lvl="0"/>
            <a:r>
              <a:rPr lang="en-US" noProof="0"/>
              <a:t>Dat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5CF201F-2D28-5B49-A064-6A811F0B82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534372" y="2156693"/>
            <a:ext cx="3811904" cy="932688"/>
          </a:xfrm>
        </p:spPr>
        <p:txBody>
          <a:bodyPr>
            <a:no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  <p:pic>
        <p:nvPicPr>
          <p:cNvPr id="6" name="Picture 5" descr="A picture containing shape&#10;&#10;Description automatically generated">
            <a:extLst>
              <a:ext uri="{FF2B5EF4-FFF2-40B4-BE49-F238E27FC236}">
                <a16:creationId xmlns:a16="http://schemas.microsoft.com/office/drawing/2014/main" id="{6D296BF9-AF5E-AB4E-95DD-2CED32E414A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332925" y="3570"/>
            <a:ext cx="12192000" cy="6854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83095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e Masterslide (Blue footer) w/ PepsiC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BEE2250-657D-4F69-894E-9C87094AE8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1361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BEE2250-657D-4F69-894E-9C87094AE8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C5C2C756-4887-4DBC-9325-80D683CDBE5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0038" y="1323077"/>
            <a:ext cx="11591925" cy="498564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rtl="0">
              <a:buNone/>
              <a:defRPr sz="1200">
                <a:solidFill>
                  <a:schemeClr val="accent2">
                    <a:lumMod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9590B7C2-3288-42BD-AE48-EE22C309F12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0038" y="296863"/>
            <a:ext cx="11591925" cy="47246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3000" b="1" i="0">
                <a:solidFill>
                  <a:schemeClr val="accent2">
                    <a:lumMod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658413C-81E2-42E8-A860-42F45D7C1043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EDD0FA2-961B-4F54-A14B-BA64C23D197C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84FAAF54-6B54-482C-A7A4-709CFDFD1650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21" name="Rectangle 20">
            <a:hlinkClick r:id="" action="ppaction://noaction"/>
            <a:extLst>
              <a:ext uri="{FF2B5EF4-FFF2-40B4-BE49-F238E27FC236}">
                <a16:creationId xmlns:a16="http://schemas.microsoft.com/office/drawing/2014/main" id="{B8AC756B-AFB8-40A0-B830-C4E08A07C4EC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22" name="Rectangle 21">
            <a:hlinkClick r:id="" action="ppaction://noaction"/>
            <a:extLst>
              <a:ext uri="{FF2B5EF4-FFF2-40B4-BE49-F238E27FC236}">
                <a16:creationId xmlns:a16="http://schemas.microsoft.com/office/drawing/2014/main" id="{35DFDFD4-BA4C-4FEC-B5B7-61DEBACCE915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23" name="Rectangle 22">
            <a:hlinkClick r:id="" action="ppaction://noaction"/>
            <a:extLst>
              <a:ext uri="{FF2B5EF4-FFF2-40B4-BE49-F238E27FC236}">
                <a16:creationId xmlns:a16="http://schemas.microsoft.com/office/drawing/2014/main" id="{1FA7F46D-DEA1-464B-884B-AED639F3D093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24" name="Rectangle 23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0064BC68-A61F-4A98-8FF3-53CFBC76498D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39972055-E201-4445-9891-BC376D5923CE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0014273-2A42-4DE8-93AF-8BFC599320D6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71AE860-DCE6-4AF2-8EC7-F157ACB22394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8EFA227-0AFB-4544-8723-E1063B0BD589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A1C3194D-C437-4A08-8DA3-3AD217198B7A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7756E83F-6468-4E9F-AAD7-D3DCD7E9E6A1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D3AFB6FD-F9BF-42D3-8E2F-F1E922881850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E4115AE-22C8-4EC8-93E6-F3B48FDFA3A2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6033A954-3A22-43DF-99AC-E12FBD3207B5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CAEED6B0-43B6-41F0-B2E9-67BE1EAA6A80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6B7EC4E6-71F4-400C-A03C-8FD2B3FF4A51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206A50DF-5D98-407A-B3D3-BDB2CFD2FB80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5F10B24A-1392-456B-A508-EA0192A3E94C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4FB00F28-27EA-46FF-B8B4-ED75CD612BC9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DF17F175-B538-4C5F-BB95-C0FD825095CC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CAEA9710-6ABC-4724-A68F-2555E83AC1AF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FC843AF-BE1D-4F13-94C9-CAD4C1E2A166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A94532DB-46CC-413E-BD47-5BB6C601D373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5DB10F4A-C19F-4433-86E4-F48C78645815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58F6F34-4AC8-4E5C-A8D7-1383F5BB6EDC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1B66D66E-FFBD-4D11-9DFA-5F8AFF1557A6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133DD1B9-31C8-4292-97C3-D2495474BE1E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8633F5E6-DB68-4A59-841C-30295A548C34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55D947DD-B85E-4F9F-ACB1-0A7D5E67D7E8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9DD492D6-6086-43B5-B7F0-79E13D51A2CA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1E439839-E60D-45C7-8184-C2EB1106DBBE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9906A6DB-4D27-471C-9F2B-F7991038BA17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FB94503A-DBA0-4DF7-9E8D-AD556EF46AB4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5E7C6A3D-039F-40C1-92AA-9B3347DB1A11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072D5A43-74B2-4FE5-A7B5-2557AE74AD9F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E30E7CD8-31A2-4680-96BD-44DDCD3DC772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F9AC8DA7-2BB2-4BD4-9977-CF8F2BAF94EF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F7C757C5-19BA-4868-8474-BD5352F3CEBC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98D5D22E-FB08-44EA-B3B7-E066263D9FC0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8BBEA2C4-CD94-438E-8B8E-EF74F30D584E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1D44E4D9-67B4-4C6F-A549-2DE06DD2FEA5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787F559A-4661-4579-841C-23B8ADC1D172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A9E2E84E-A931-425F-B511-1AA528FC2D7E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821D0099-30B1-477B-80A5-BCAD4F46A93B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DE030D90-00B8-48E8-BD2E-BE70280A6586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A895BA4C-C91B-4CD6-901F-9D3248C8DA58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75981119-7473-4150-B287-7445ADB6402C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EA73052C-510A-44F7-8D87-ED77CF1606E1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C387827-AB6D-4594-985A-28B84AD09F4F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0DE93061-054C-4D35-98BC-D000FA5B621F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5D7C9B6E-A248-4BB6-8271-45B100FF7134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A6137979-B9FB-4AF8-8D89-6145CEEBBFB9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74" name="Group 73">
            <a:extLst>
              <a:ext uri="{FF2B5EF4-FFF2-40B4-BE49-F238E27FC236}">
                <a16:creationId xmlns:a16="http://schemas.microsoft.com/office/drawing/2014/main" id="{79209B9A-1560-4A1B-A6F9-986E50029011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75" name="Rectangle: Rounded Corners 74">
              <a:hlinkClick r:id="" action="ppaction://noaction"/>
              <a:extLst>
                <a:ext uri="{FF2B5EF4-FFF2-40B4-BE49-F238E27FC236}">
                  <a16:creationId xmlns:a16="http://schemas.microsoft.com/office/drawing/2014/main" id="{6CD670C2-3C6C-4D33-B53E-5AB0E6B1CF1D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76" name="Rectangle: Rounded Corners 75">
              <a:hlinkClick r:id="" action="ppaction://noaction"/>
              <a:extLst>
                <a:ext uri="{FF2B5EF4-FFF2-40B4-BE49-F238E27FC236}">
                  <a16:creationId xmlns:a16="http://schemas.microsoft.com/office/drawing/2014/main" id="{55902591-01EF-4BE1-8660-0BBD7E43C7A0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77" name="Rectangle: Rounded Corners 76">
              <a:hlinkClick r:id="" action="ppaction://noaction"/>
              <a:extLst>
                <a:ext uri="{FF2B5EF4-FFF2-40B4-BE49-F238E27FC236}">
                  <a16:creationId xmlns:a16="http://schemas.microsoft.com/office/drawing/2014/main" id="{09BB121C-8F2B-4B8C-88B2-03DAAC0A137F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78" name="Rectangle 77">
            <a:hlinkClick r:id="" action="ppaction://noaction"/>
            <a:extLst>
              <a:ext uri="{FF2B5EF4-FFF2-40B4-BE49-F238E27FC236}">
                <a16:creationId xmlns:a16="http://schemas.microsoft.com/office/drawing/2014/main" id="{E3AF8EAE-ADB4-404A-876D-86881ACC3A28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7146B05F-55B6-482D-ACCC-F66425B6254E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8FDB9D01-D92F-4A29-8967-485608054049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22C33DD2-91A0-4B84-9947-9AA41BA5763B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11A7BFDB-5B18-4865-9C62-47E2C26D8723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3721399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89">
          <p15:clr>
            <a:srgbClr val="FBAE40"/>
          </p15:clr>
        </p15:guide>
        <p15:guide id="4" pos="7491">
          <p15:clr>
            <a:srgbClr val="FBAE40"/>
          </p15:clr>
        </p15:guide>
        <p15:guide id="5" orient="horz" pos="187">
          <p15:clr>
            <a:srgbClr val="FBAE40"/>
          </p15:clr>
        </p15:guide>
        <p15:guide id="6" orient="horz" pos="3974">
          <p15:clr>
            <a:srgbClr val="FBAE40"/>
          </p15:clr>
        </p15:guide>
        <p15:guide id="7" orient="horz" pos="822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B381DE6-1B80-414D-AEE2-D1ACB69B5B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69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B381DE6-1B80-414D-AEE2-D1ACB69B5B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object 2"/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rgbClr val="0065E5"/>
          </a:solidFill>
        </p:spPr>
        <p:txBody>
          <a:bodyPr wrap="square" lIns="0" tIns="0" rIns="0" bIns="0" rtlCol="0"/>
          <a:lstStyle/>
          <a:p>
            <a:pPr rtl="0"/>
            <a:endParaRPr lang="en-US" noProof="0">
              <a:solidFill>
                <a:srgbClr val="0065E5"/>
              </a:solidFill>
            </a:endParaRPr>
          </a:p>
        </p:txBody>
      </p:sp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1" y="168381"/>
            <a:ext cx="10952147" cy="623222"/>
          </a:xfrm>
        </p:spPr>
        <p:txBody>
          <a:bodyPr vert="horz" anchor="ctr">
            <a:noAutofit/>
          </a:bodyPr>
          <a:lstStyle>
            <a:lvl1pPr rtl="0"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6D40EB1-E54E-3D43-82D2-2C0B316D02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231" y="1274778"/>
            <a:ext cx="10952148" cy="4810836"/>
          </a:xfrm>
        </p:spPr>
        <p:txBody>
          <a:bodyPr>
            <a:noAutofit/>
          </a:bodyPr>
          <a:lstStyle>
            <a:lvl1pPr marL="350838" indent="-350838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2800" b="0" i="0">
                <a:solidFill>
                  <a:srgbClr val="0065E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92150" marR="0" indent="-4064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2800" b="0" i="0">
                <a:solidFill>
                  <a:srgbClr val="0065E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35050" indent="-395288" rtl="0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2800">
                <a:solidFill>
                  <a:srgbClr val="0065E5"/>
                </a:solidFill>
              </a:defRPr>
            </a:lvl3pPr>
            <a:lvl4pPr marL="1428750" indent="-406400" rtl="0">
              <a:lnSpc>
                <a:spcPct val="100000"/>
              </a:lnSpc>
              <a:buClr>
                <a:srgbClr val="0065E5"/>
              </a:buClr>
              <a:buSzPct val="80000"/>
              <a:buFont typeface="Wingdings" pitchFamily="2" charset="2"/>
              <a:buChar char="§"/>
              <a:tabLst/>
              <a:defRPr sz="2800">
                <a:solidFill>
                  <a:srgbClr val="0065E5"/>
                </a:solidFill>
              </a:defRPr>
            </a:lvl4pPr>
            <a:lvl5pPr marL="1835150" indent="-415925" rtl="0">
              <a:lnSpc>
                <a:spcPct val="100000"/>
              </a:lnSpc>
              <a:buClr>
                <a:srgbClr val="0065E5"/>
              </a:buClr>
              <a:buSzPct val="80000"/>
              <a:buFont typeface="Wingdings" pitchFamily="2" charset="2"/>
              <a:buChar char="§"/>
              <a:tabLst/>
              <a:defRPr sz="2800">
                <a:solidFill>
                  <a:srgbClr val="0065E5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Click to edit Master text styles</a:t>
            </a:r>
          </a:p>
          <a:p>
            <a:pPr lvl="2"/>
            <a:r>
              <a:rPr lang="en-US" noProof="0"/>
              <a:t>Click to edit Master text styles</a:t>
            </a:r>
          </a:p>
          <a:p>
            <a:pPr lvl="3"/>
            <a:r>
              <a:rPr lang="en-US" noProof="0"/>
              <a:t>Click to edit Master text styles</a:t>
            </a:r>
          </a:p>
          <a:p>
            <a:pPr lvl="4"/>
            <a:r>
              <a:rPr lang="en-US" noProof="0"/>
              <a:t>Click to edit Master text styles</a:t>
            </a:r>
          </a:p>
        </p:txBody>
      </p:sp>
      <p:sp>
        <p:nvSpPr>
          <p:cNvPr id="8" name="object 3">
            <a:extLst>
              <a:ext uri="{FF2B5EF4-FFF2-40B4-BE49-F238E27FC236}">
                <a16:creationId xmlns:a16="http://schemas.microsoft.com/office/drawing/2014/main" id="{084A86BC-9CF0-402C-84A3-5B1C293C6D19}"/>
              </a:ext>
            </a:extLst>
          </p:cNvPr>
          <p:cNvSpPr/>
          <p:nvPr userDrawn="1"/>
        </p:nvSpPr>
        <p:spPr>
          <a:xfrm>
            <a:off x="0" y="949394"/>
            <a:ext cx="12192000" cy="90512"/>
          </a:xfrm>
          <a:custGeom>
            <a:avLst/>
            <a:gdLst/>
            <a:ahLst/>
            <a:cxnLst/>
            <a:rect l="l" t="t" r="r" b="b"/>
            <a:pathLst>
              <a:path w="14630400" h="132715">
                <a:moveTo>
                  <a:pt x="0" y="132575"/>
                </a:moveTo>
                <a:lnTo>
                  <a:pt x="14630400" y="132575"/>
                </a:lnTo>
                <a:lnTo>
                  <a:pt x="14630400" y="0"/>
                </a:lnTo>
                <a:lnTo>
                  <a:pt x="0" y="0"/>
                </a:lnTo>
                <a:lnTo>
                  <a:pt x="0" y="132575"/>
                </a:lnTo>
                <a:close/>
              </a:path>
            </a:pathLst>
          </a:custGeom>
          <a:solidFill>
            <a:srgbClr val="4FE2F3"/>
          </a:solidFill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3759C04E-2047-49F8-B6B8-6EE9EB39A6F0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024B2C5D-2374-4C6C-8D1A-AC2DD89E74A8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>
            <a:extLst>
              <a:ext uri="{FF2B5EF4-FFF2-40B4-BE49-F238E27FC236}">
                <a16:creationId xmlns:a16="http://schemas.microsoft.com/office/drawing/2014/main" id="{B6A20841-E79D-4973-B3B4-944D15C789EF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83" name="Rectangle 82">
            <a:hlinkClick r:id="" action="ppaction://noaction"/>
            <a:extLst>
              <a:ext uri="{FF2B5EF4-FFF2-40B4-BE49-F238E27FC236}">
                <a16:creationId xmlns:a16="http://schemas.microsoft.com/office/drawing/2014/main" id="{92562484-F1D1-43D0-9DEF-FCB8A907608C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84" name="Rectangle 83">
            <a:hlinkClick r:id="" action="ppaction://noaction"/>
            <a:extLst>
              <a:ext uri="{FF2B5EF4-FFF2-40B4-BE49-F238E27FC236}">
                <a16:creationId xmlns:a16="http://schemas.microsoft.com/office/drawing/2014/main" id="{E1B9BA34-8987-4BA8-8630-B28A49C3D080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85" name="Rectangle 84">
            <a:hlinkClick r:id="" action="ppaction://noaction"/>
            <a:extLst>
              <a:ext uri="{FF2B5EF4-FFF2-40B4-BE49-F238E27FC236}">
                <a16:creationId xmlns:a16="http://schemas.microsoft.com/office/drawing/2014/main" id="{4E598FEB-07B1-4727-B40A-BE9A8B62F862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86" name="Rectangle 85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F3ED1DAF-2330-4FE2-8C6A-73C96E569D53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C9D57413-37AC-4F87-AFFF-41BD53DA7793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ED228D56-7461-42E9-943E-7E886C14CB77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A6BD70F7-DEB5-4ACB-9D33-0EC0C4603087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EC055DE5-FB77-44FC-A08B-3C6B66B64BD6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C6D499F2-BBF6-43C6-B157-4BDFF7FBC58D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2" name="Group 91">
            <a:extLst>
              <a:ext uri="{FF2B5EF4-FFF2-40B4-BE49-F238E27FC236}">
                <a16:creationId xmlns:a16="http://schemas.microsoft.com/office/drawing/2014/main" id="{E92424F2-52FC-451B-B7DE-44BC56742B86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AAEDDAAA-F759-4672-8EC4-E9A26CC8D0F5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30480F4E-D07A-4962-A262-E15F1FFE1635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CE59FA8-6299-4250-8FFD-9DB33BCAC08C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4EAAAE1-07AA-46E2-AEB9-18A8F0E9F625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2237F84F-D4C1-4D37-B4E5-8CDC9C64DB0D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9372F53D-D574-43B1-A617-F1BFBBC7A9F5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3A0357CC-2EF6-4CF2-8E21-0FBA8818ABF4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4558A6D8-1AC0-4AAF-BE7A-5FDB738B5BD5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93821ADD-5EAF-490F-A60C-8A64043559F8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8A5D2FB7-137C-4C75-8596-9CD24132A5AF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E6B44359-DE1E-4E3D-A51D-2F43C5C4424B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04893DC3-E306-452D-8F2F-8DA1EE6FCF1A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F985FD16-927F-4AAA-8FA4-3421F4FDBEAA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02B404FA-CA78-4836-B350-1CADDDA6E023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E8D4E07B-A23A-48A9-AF67-E3F3CF9ABC7E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CD6E2FF6-AF2C-4F2A-9C35-3825A0F2BCD4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82132543-FB19-4A8F-BA46-F62B13130FE9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74BCFE9-B1F1-494A-8418-98792E7B5750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F0DAB02F-EB89-4E26-A111-0024A6C67DFE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D3BB3AC9-A186-439C-89B6-81A3DC6ACF28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227A27FB-5996-419C-AF0B-4141980F7EEF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367936D1-9B32-48AB-9155-1B298DF481C2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86979269-9187-49C9-A67D-3AC7FAFF2FA1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4CD421FB-D8D6-4B66-8CC4-D8648D1C7DF0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CEB77767-F0C8-420B-9966-D031E612F309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2CDE2C1D-0766-418A-B7E4-5752FDD58A10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18380B0B-D7C2-4A2F-993E-6F635B9326CB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6E8FD2FF-F991-43E5-9EA7-DEF10683A074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8852C37D-D0A8-425B-92B3-107ED00C1644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6AA3C3E1-7ABD-4DA9-9253-2794618CDE22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E91CDA46-47A5-465C-91C7-5578AEC8C345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9156027A-6D27-43DA-8005-DFF7648AC8EF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1ACBB335-0B34-4BE3-8D25-7BCC4C2FE2AA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C4E0D0DA-ED2B-492F-B16D-3D98F58A5080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8E2B4B93-4FD7-48C8-8D98-94D6363B25C7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77DF1EBB-F8DA-4C82-9758-7EE86EE8D188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CFF4F197-214B-486F-8282-586EE96281C7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C02C761C-C53C-4237-8595-F7B717D65201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514688B5-0D49-45A5-8497-6CB59375BE01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F5667239-ED4B-472C-A049-ED4A1CC934E4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BF2B4CB6-EDC8-4E09-919A-655CD3CEA1B3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CC05D079-A313-4430-BFAA-DED5F230EB4E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35" name="Rectangle: Rounded Corners 134">
              <a:hlinkClick r:id="" action="ppaction://noaction"/>
              <a:extLst>
                <a:ext uri="{FF2B5EF4-FFF2-40B4-BE49-F238E27FC236}">
                  <a16:creationId xmlns:a16="http://schemas.microsoft.com/office/drawing/2014/main" id="{57609B63-AC18-4AA8-8574-5D5115A363B9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6" name="Rectangle: Rounded Corners 135">
              <a:hlinkClick r:id="" action="ppaction://noaction"/>
              <a:extLst>
                <a:ext uri="{FF2B5EF4-FFF2-40B4-BE49-F238E27FC236}">
                  <a16:creationId xmlns:a16="http://schemas.microsoft.com/office/drawing/2014/main" id="{338948C8-67E5-49AC-8542-7597A72E185D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7" name="Rectangle: Rounded Corners 136">
              <a:hlinkClick r:id="" action="ppaction://noaction"/>
              <a:extLst>
                <a:ext uri="{FF2B5EF4-FFF2-40B4-BE49-F238E27FC236}">
                  <a16:creationId xmlns:a16="http://schemas.microsoft.com/office/drawing/2014/main" id="{814E2F4B-6C59-461A-A6A9-6060F7C44C1D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38" name="Rectangle 137">
            <a:hlinkClick r:id="" action="ppaction://noaction"/>
            <a:extLst>
              <a:ext uri="{FF2B5EF4-FFF2-40B4-BE49-F238E27FC236}">
                <a16:creationId xmlns:a16="http://schemas.microsoft.com/office/drawing/2014/main" id="{36F93FFF-3082-4A7F-AC2B-061FF8448E5C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39" name="Straight Connector 138">
            <a:extLst>
              <a:ext uri="{FF2B5EF4-FFF2-40B4-BE49-F238E27FC236}">
                <a16:creationId xmlns:a16="http://schemas.microsoft.com/office/drawing/2014/main" id="{97A56DE1-4383-41E8-9C17-0CC01339A534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0" name="Rectangle 139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9FE73455-ABAA-4E4B-A005-96568A93CE2E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769BAD0F-BFA3-431A-AFA0-2921F90D314A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extBox 141">
            <a:extLst>
              <a:ext uri="{FF2B5EF4-FFF2-40B4-BE49-F238E27FC236}">
                <a16:creationId xmlns:a16="http://schemas.microsoft.com/office/drawing/2014/main" id="{9698A923-D4AC-4055-BC3C-37668151C016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84434882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9653DDB-7827-4F40-9A08-6D07DBDB0D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96251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9653DDB-7827-4F40-9A08-6D07DBDB0D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B4B387AC-BC5C-4C42-B302-D15C0CB7E4A3}"/>
              </a:ext>
            </a:extLst>
          </p:cNvPr>
          <p:cNvSpPr/>
          <p:nvPr userDrawn="1"/>
        </p:nvSpPr>
        <p:spPr>
          <a:xfrm>
            <a:off x="0" y="-213"/>
            <a:ext cx="12192000" cy="6608560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9D9A7910-8039-6449-B024-BB8DAE55BEA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5013" y="620713"/>
            <a:ext cx="8809037" cy="4886325"/>
          </a:xfrm>
        </p:spPr>
        <p:txBody>
          <a:bodyPr>
            <a:noAutofit/>
          </a:bodyPr>
          <a:lstStyle>
            <a:lvl1pPr rtl="0">
              <a:defRPr sz="4000"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0"/>
            <a:endParaRPr lang="en-US" noProof="0"/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11FE3BDB-BF7A-416B-AC81-62A17B1B9880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D3AC5429-DA60-454B-AFBE-8226FC54EB31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TextBox 77">
            <a:extLst>
              <a:ext uri="{FF2B5EF4-FFF2-40B4-BE49-F238E27FC236}">
                <a16:creationId xmlns:a16="http://schemas.microsoft.com/office/drawing/2014/main" id="{87F74C54-C623-457E-B33A-73E0EFF2B781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79" name="Rectangle 78">
            <a:hlinkClick r:id="" action="ppaction://noaction"/>
            <a:extLst>
              <a:ext uri="{FF2B5EF4-FFF2-40B4-BE49-F238E27FC236}">
                <a16:creationId xmlns:a16="http://schemas.microsoft.com/office/drawing/2014/main" id="{64801AAA-1825-47AE-B843-A804F3844395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80" name="Rectangle 79">
            <a:hlinkClick r:id="" action="ppaction://noaction"/>
            <a:extLst>
              <a:ext uri="{FF2B5EF4-FFF2-40B4-BE49-F238E27FC236}">
                <a16:creationId xmlns:a16="http://schemas.microsoft.com/office/drawing/2014/main" id="{A63E843A-57E3-41DF-92FF-EE8F09391E11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81" name="Rectangle 80">
            <a:hlinkClick r:id="" action="ppaction://noaction"/>
            <a:extLst>
              <a:ext uri="{FF2B5EF4-FFF2-40B4-BE49-F238E27FC236}">
                <a16:creationId xmlns:a16="http://schemas.microsoft.com/office/drawing/2014/main" id="{8CD1FBBB-4635-45B2-BA82-E062606EEB3E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82" name="Rectangle 81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EB16F3B2-0B45-478C-9E76-F2C70BEAE802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25AF0418-5892-4A08-9380-31ADB9F8F0A4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D03C9938-D868-4959-BD8A-9F898DDC1CF3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2E637CDE-EE28-4742-9C6D-34654F5108B6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F60B339B-F211-4436-B09B-AB58C5F8A1CB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FAAEE5E6-FDDA-4F59-95CF-C0D44310431B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Group 87">
            <a:extLst>
              <a:ext uri="{FF2B5EF4-FFF2-40B4-BE49-F238E27FC236}">
                <a16:creationId xmlns:a16="http://schemas.microsoft.com/office/drawing/2014/main" id="{91D8491E-4B56-4D4F-9C3E-0EC6868519FB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3D7911A-ECB0-49DF-9C50-9FCFB7F67F30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BF9A7ED-D834-473E-9F8A-CDF7508CAF3C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4E31D11C-29C5-4174-BC08-4134660323C0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A40EBD2F-C83E-4619-A264-389E2E045B69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2D5F7BA-C27E-4B23-8426-19BEFD86D09C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70A8CDE4-530A-4B4E-BAAC-711F845176FA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B2F1951-6219-4D94-B371-0D5CA166D34A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38EAF87C-4D7E-4C64-9AB9-C82737DD0192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481B6D60-3288-49C9-BD33-ABB86C707123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E483B469-E080-43CF-BD2E-EBCD2AEB996C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8BB529BC-A60D-42EA-8C4B-BE812A1B0B17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237EBA6C-E2BD-4D6B-9AB3-FE5A47ACDB2B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3D57BAE8-BECA-45AA-8CA4-FC08FC334398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F750946A-CE1A-4520-B00D-CCAC7B5FFCDA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518BD4F5-48E2-4B2D-9C94-279E9B4072E4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B707EB44-ECA8-4844-9D78-AD546A0BC3EA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DED968D6-60C1-4169-BECC-AEF6DE217145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8FE93203-9CDC-44B6-8D04-DA5A894B541E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C3E02F5D-B7EC-4252-AD8D-DA53E025E2F2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C3248DD2-5ADF-4385-97C5-3F7E5A35ED49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835E8868-8080-4A3B-A07A-F8F88FA4805D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4192326D-FCF4-4AB2-80FD-E7324A20D20A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6293EB64-4747-40A2-8ED6-F4FB08FC8A46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042CB500-1A51-4242-B656-54417ACB65D6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541AD578-56B6-4E04-8348-C800F7F96064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D5E9AE0B-DA08-4BE4-94C7-6365319E757C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149912CA-FF0B-4FD2-AA8F-BC6B2D4EA04C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CBF10406-BB2B-4E75-AE61-54FAB62B8238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CF9B7C0-41BC-4709-8BE4-41E44B6993B4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5CAE3C2-E86F-4D25-8550-4DA349EBB515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5DB0B2F9-C7DC-40D4-A6A0-D391E0CBD5EE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D352B5CB-191A-4A7C-A46E-18D86E4C32EE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D5E1B9EF-2FAC-49FF-9A92-E17A36A530B9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2A425777-4F61-4C55-BAFD-D34C07BDC306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1A961FD6-92FF-4666-B507-C006D4C167B9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8147429B-1E42-4063-AF2B-BE3D1D10FDD0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B8E44F35-B46B-45AA-99A1-3DE05B1DB8C6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FD0AD04B-6D3F-436B-A87D-921F06084882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CA22CB27-915C-411B-B0B7-378A134221FD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4E270061-1A7B-487F-AF4C-DA4DDE31D161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61B25A73-AFEB-402A-AA76-A59F2404C508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id="{BA479B3E-4266-4744-B02F-DD6646CF762E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31" name="Rectangle: Rounded Corners 130">
              <a:hlinkClick r:id="" action="ppaction://noaction"/>
              <a:extLst>
                <a:ext uri="{FF2B5EF4-FFF2-40B4-BE49-F238E27FC236}">
                  <a16:creationId xmlns:a16="http://schemas.microsoft.com/office/drawing/2014/main" id="{93EA794C-9976-4667-9D3D-18BD551C8566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2" name="Rectangle: Rounded Corners 131">
              <a:hlinkClick r:id="" action="ppaction://noaction"/>
              <a:extLst>
                <a:ext uri="{FF2B5EF4-FFF2-40B4-BE49-F238E27FC236}">
                  <a16:creationId xmlns:a16="http://schemas.microsoft.com/office/drawing/2014/main" id="{06E49E52-BF3B-4BEC-8F3F-B2D2A16B9AF9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3" name="Rectangle: Rounded Corners 132">
              <a:hlinkClick r:id="" action="ppaction://noaction"/>
              <a:extLst>
                <a:ext uri="{FF2B5EF4-FFF2-40B4-BE49-F238E27FC236}">
                  <a16:creationId xmlns:a16="http://schemas.microsoft.com/office/drawing/2014/main" id="{115BCFEB-9890-47F5-BA68-F005BDD9C641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34" name="Rectangle 133">
            <a:hlinkClick r:id="" action="ppaction://noaction"/>
            <a:extLst>
              <a:ext uri="{FF2B5EF4-FFF2-40B4-BE49-F238E27FC236}">
                <a16:creationId xmlns:a16="http://schemas.microsoft.com/office/drawing/2014/main" id="{92B5D4E9-9932-46C1-9242-4C5F4BABE131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C46781DA-6501-4529-8CA5-E72220E03F50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Rectangle 135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26557599-AC28-4BDE-808E-B68E4460138E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37" name="Straight Connector 136">
            <a:extLst>
              <a:ext uri="{FF2B5EF4-FFF2-40B4-BE49-F238E27FC236}">
                <a16:creationId xmlns:a16="http://schemas.microsoft.com/office/drawing/2014/main" id="{51DB69FB-E258-48A3-8BF5-95FD7B8FF648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TextBox 137">
            <a:extLst>
              <a:ext uri="{FF2B5EF4-FFF2-40B4-BE49-F238E27FC236}">
                <a16:creationId xmlns:a16="http://schemas.microsoft.com/office/drawing/2014/main" id="{56BBD85F-F12B-4A0B-970E-070E34AAA0D2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21155851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8DFCE0-C8CA-44D4-B3A9-22A7EE47C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73664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8DFCE0-C8CA-44D4-B3A9-22A7EE47C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8E6CCAFD-2BDF-C149-ABEA-30E622D97F2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8995" y="1274778"/>
            <a:ext cx="10952148" cy="4810836"/>
          </a:xfrm>
        </p:spPr>
        <p:txBody>
          <a:bodyPr>
            <a:noAutofit/>
          </a:bodyPr>
          <a:lstStyle>
            <a:lvl1pPr marL="287338" indent="-287338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/>
              <a:defRPr sz="2000" b="0" i="0">
                <a:solidFill>
                  <a:srgbClr val="0065E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28650" marR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2000" b="0" i="0">
                <a:solidFill>
                  <a:srgbClr val="0065E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81075" indent="-341313" rtl="0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2000">
                <a:solidFill>
                  <a:srgbClr val="0065E5"/>
                </a:solidFill>
              </a:defRPr>
            </a:lvl3pPr>
            <a:lvl4pPr marL="1376363" indent="-354013" rtl="0">
              <a:lnSpc>
                <a:spcPct val="100000"/>
              </a:lnSpc>
              <a:buClr>
                <a:srgbClr val="0065E5"/>
              </a:buClr>
              <a:buSzPct val="80000"/>
              <a:buFont typeface="Wingdings" pitchFamily="2" charset="2"/>
              <a:buChar char="§"/>
              <a:tabLst/>
              <a:defRPr sz="2000">
                <a:solidFill>
                  <a:srgbClr val="0065E5"/>
                </a:solidFill>
              </a:defRPr>
            </a:lvl4pPr>
            <a:lvl5pPr marL="1781175" indent="-361950" rtl="0">
              <a:lnSpc>
                <a:spcPct val="100000"/>
              </a:lnSpc>
              <a:buClr>
                <a:srgbClr val="0065E5"/>
              </a:buClr>
              <a:buSzPct val="80000"/>
              <a:buFont typeface="Wingdings" pitchFamily="2" charset="2"/>
              <a:buChar char="§"/>
              <a:tabLst/>
              <a:defRPr sz="2000">
                <a:solidFill>
                  <a:srgbClr val="0065E5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Click to edit Master text styles</a:t>
            </a:r>
          </a:p>
          <a:p>
            <a:pPr lvl="2"/>
            <a:r>
              <a:rPr lang="en-US" noProof="0"/>
              <a:t>Click to edit Master text styles</a:t>
            </a:r>
          </a:p>
          <a:p>
            <a:pPr lvl="3"/>
            <a:r>
              <a:rPr lang="en-US" noProof="0"/>
              <a:t>Click to edit Master text styles</a:t>
            </a:r>
          </a:p>
          <a:p>
            <a:pPr lvl="4"/>
            <a:r>
              <a:rPr lang="en-US" noProof="0"/>
              <a:t>Click to edit Master text styles</a:t>
            </a: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0" y="1"/>
            <a:ext cx="12192000" cy="1039905"/>
            <a:chOff x="0" y="0"/>
            <a:chExt cx="14630400" cy="1524787"/>
          </a:xfrm>
        </p:grpSpPr>
        <p:sp>
          <p:nvSpPr>
            <p:cNvPr id="19" name="object 2"/>
            <p:cNvSpPr/>
            <p:nvPr userDrawn="1"/>
          </p:nvSpPr>
          <p:spPr>
            <a:xfrm>
              <a:off x="0" y="0"/>
              <a:ext cx="14630400" cy="1392555"/>
            </a:xfrm>
            <a:custGeom>
              <a:avLst/>
              <a:gdLst/>
              <a:ahLst/>
              <a:cxnLst/>
              <a:rect l="l" t="t" r="r" b="b"/>
              <a:pathLst>
                <a:path w="14630400" h="1392555">
                  <a:moveTo>
                    <a:pt x="0" y="1392072"/>
                  </a:moveTo>
                  <a:lnTo>
                    <a:pt x="14630400" y="1392072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92072"/>
                  </a:lnTo>
                  <a:close/>
                </a:path>
              </a:pathLst>
            </a:custGeom>
            <a:solidFill>
              <a:srgbClr val="00A651"/>
            </a:solidFill>
          </p:spPr>
          <p:txBody>
            <a:bodyPr wrap="square" lIns="0" tIns="0" rIns="0" bIns="0" rtlCol="0"/>
            <a:lstStyle/>
            <a:p>
              <a:pPr rtl="0"/>
              <a:endParaRPr lang="en-US" noProof="0"/>
            </a:p>
          </p:txBody>
        </p:sp>
        <p:sp>
          <p:nvSpPr>
            <p:cNvPr id="20" name="object 3"/>
            <p:cNvSpPr/>
            <p:nvPr userDrawn="1"/>
          </p:nvSpPr>
          <p:spPr>
            <a:xfrm>
              <a:off x="0" y="1392072"/>
              <a:ext cx="14630400" cy="132715"/>
            </a:xfrm>
            <a:custGeom>
              <a:avLst/>
              <a:gdLst/>
              <a:ahLst/>
              <a:cxnLst/>
              <a:rect l="l" t="t" r="r" b="b"/>
              <a:pathLst>
                <a:path w="14630400" h="132715">
                  <a:moveTo>
                    <a:pt x="0" y="132575"/>
                  </a:moveTo>
                  <a:lnTo>
                    <a:pt x="14630400" y="132575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2575"/>
                  </a:lnTo>
                  <a:close/>
                </a:path>
              </a:pathLst>
            </a:custGeom>
            <a:solidFill>
              <a:srgbClr val="8EDB43"/>
            </a:solidFill>
          </p:spPr>
          <p:txBody>
            <a:bodyPr wrap="square" lIns="0" tIns="0" rIns="0" bIns="0" rtlCol="0"/>
            <a:lstStyle/>
            <a:p>
              <a:pPr rtl="0"/>
              <a:endParaRPr lang="en-US" noProof="0"/>
            </a:p>
          </p:txBody>
        </p:sp>
      </p:grpSp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1" y="168381"/>
            <a:ext cx="10952147" cy="623222"/>
          </a:xfrm>
        </p:spPr>
        <p:txBody>
          <a:bodyPr vert="horz" anchor="ctr">
            <a:noAutofit/>
          </a:bodyPr>
          <a:lstStyle>
            <a:lvl1pPr rtl="0"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6AE7C059-651A-4F9A-AD92-86BE11B22658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EC2D924E-0B78-45DC-988F-D9A30326D037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:a16="http://schemas.microsoft.com/office/drawing/2014/main" id="{16CF3DEE-EBE1-452B-9E17-E8B375261A54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85" name="Rectangle 84">
            <a:hlinkClick r:id="" action="ppaction://noaction"/>
            <a:extLst>
              <a:ext uri="{FF2B5EF4-FFF2-40B4-BE49-F238E27FC236}">
                <a16:creationId xmlns:a16="http://schemas.microsoft.com/office/drawing/2014/main" id="{8D6FC318-9B06-4760-B18F-BEDA8D21C188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86" name="Rectangle 85">
            <a:hlinkClick r:id="" action="ppaction://noaction"/>
            <a:extLst>
              <a:ext uri="{FF2B5EF4-FFF2-40B4-BE49-F238E27FC236}">
                <a16:creationId xmlns:a16="http://schemas.microsoft.com/office/drawing/2014/main" id="{B835E26E-3FE7-4E70-AEA7-CCE097A408DF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87" name="Rectangle 86">
            <a:hlinkClick r:id="" action="ppaction://noaction"/>
            <a:extLst>
              <a:ext uri="{FF2B5EF4-FFF2-40B4-BE49-F238E27FC236}">
                <a16:creationId xmlns:a16="http://schemas.microsoft.com/office/drawing/2014/main" id="{566902A7-B875-40DD-808A-F54FC9DD1FB8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88" name="Rectangle 87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AA110ADE-3C16-46D9-A560-1579AA0964F8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107FDDBC-FAA6-40D1-97D8-2BE74B737329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D9D7D75B-6FC3-42C7-9687-FDAD491A464B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50A4771B-F9D3-493B-B6DD-5A2AE169C0D2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64042F56-68A1-4F23-8340-DC31C7EE8016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D5115AFF-26C6-484B-83AF-FDE838CFC798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4" name="Group 93">
            <a:extLst>
              <a:ext uri="{FF2B5EF4-FFF2-40B4-BE49-F238E27FC236}">
                <a16:creationId xmlns:a16="http://schemas.microsoft.com/office/drawing/2014/main" id="{895863B6-42DA-468A-91AD-918D189854DD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5FDD2268-E79C-40A8-981F-0728760C5723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6A83D0A0-BEB8-4AF9-A713-8E2183B2381C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58058360-049A-473E-B627-2625BF43CFBB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B22121FC-3655-429B-BA4A-D7C0BF079843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AE1E42D5-9637-414C-8EF4-BE1CDFE5668C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F84041BA-D2C8-4227-8D30-042CF04E1A02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1473E184-29D3-4DE3-9271-3840B6374E41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10B33167-4A10-461D-8D05-F9C02229A02A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3DE54AD6-3B2F-4B34-923E-2441EAE9213B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7D8F168D-6BFC-4952-9D7D-819D56B88FFF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5318A663-EFED-4D3D-87DB-78D83F33591B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2BFBA5D3-B202-4DAA-BD4A-3AA0C2140967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2AAA3EE-7915-4F2A-AC3B-82ABD2F5E44F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C1AA4845-5C15-4A9A-A4C8-19EAB417CA67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3BEF3E6A-76AE-4869-BDC9-D7E10A050957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01E9007A-D597-42CF-A973-8FC4F95EA615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C180259C-CAF9-4854-9E9A-4BCE5A8A8B3B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7F692448-313C-41ED-86BF-075D954EBD7F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727A6007-BFD6-48E5-91FF-7694D4EF823F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3B1E02D6-09FA-4E9B-9830-97BE419CAAD2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F1B3EA4E-CAC8-4314-8A77-58FA409698F2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AF00CFDC-AFCA-4E00-BB96-CB895851BFCD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3FA9E83F-5469-481F-8445-6A566305451A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83642B6E-AF90-41E4-9F27-DDD3D3E5AFE6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2428B100-C57F-4F1E-AF9E-83A00C5AF625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FE150865-5015-422C-956C-3A42C2D90056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CE7D74CD-CD44-4ED4-9AB8-CB71827A3810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B8022138-B4AE-4E9F-8A58-DD95325DDFD5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4892EF28-34EA-4032-9730-54B5FC4EAA9C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197DA4E3-B005-419D-A184-B7A738353530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CCA14373-23BE-4A03-A9A0-8374DAAF5487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98E0CD3E-D9E3-422F-B6C2-89FC438F95EB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8B9A125B-AC16-4297-AAE8-52DC7D23B813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20EB99BF-BAA0-43CF-82A3-C3CD0063AF92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4485EF15-31F6-4FB3-B149-93A5154B974C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C8005B94-E445-4269-8F47-FDF28BFB6343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D2A1709B-024F-4A08-AA11-BF8D188F3BE6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69453EFE-E2C9-4C20-AD11-2F9E93391A6B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89F870CA-B973-4D9D-8ADE-7508FA22A996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0CCDE1FF-DFA6-49C0-8A4B-39EBC11B7C77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D8F6BA9F-63A0-47FF-ACEB-57C8DD8ACD7E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36" name="Group 135">
            <a:extLst>
              <a:ext uri="{FF2B5EF4-FFF2-40B4-BE49-F238E27FC236}">
                <a16:creationId xmlns:a16="http://schemas.microsoft.com/office/drawing/2014/main" id="{503BED4D-3BD2-4C02-98C0-6D58963FBF75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37" name="Rectangle: Rounded Corners 136">
              <a:hlinkClick r:id="" action="ppaction://noaction"/>
              <a:extLst>
                <a:ext uri="{FF2B5EF4-FFF2-40B4-BE49-F238E27FC236}">
                  <a16:creationId xmlns:a16="http://schemas.microsoft.com/office/drawing/2014/main" id="{3C062AE2-53B9-4F9B-994F-02024B0D6798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8" name="Rectangle: Rounded Corners 137">
              <a:hlinkClick r:id="" action="ppaction://noaction"/>
              <a:extLst>
                <a:ext uri="{FF2B5EF4-FFF2-40B4-BE49-F238E27FC236}">
                  <a16:creationId xmlns:a16="http://schemas.microsoft.com/office/drawing/2014/main" id="{BDBD6CA0-5C81-463B-8650-6DE1F28ABF21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9" name="Rectangle: Rounded Corners 138">
              <a:hlinkClick r:id="" action="ppaction://noaction"/>
              <a:extLst>
                <a:ext uri="{FF2B5EF4-FFF2-40B4-BE49-F238E27FC236}">
                  <a16:creationId xmlns:a16="http://schemas.microsoft.com/office/drawing/2014/main" id="{A51D0850-92C1-4093-A453-85977F7F4B96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40" name="Rectangle 139">
            <a:hlinkClick r:id="" action="ppaction://noaction"/>
            <a:extLst>
              <a:ext uri="{FF2B5EF4-FFF2-40B4-BE49-F238E27FC236}">
                <a16:creationId xmlns:a16="http://schemas.microsoft.com/office/drawing/2014/main" id="{3487A5C9-EE02-480A-82CC-92D4A03A5782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5A5933C5-F37E-4F1A-BAFD-6B2FA5A92A1A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le 141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F99F187B-3FD9-4B49-90BE-AFBBE021BCAD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43" name="Straight Connector 142">
            <a:extLst>
              <a:ext uri="{FF2B5EF4-FFF2-40B4-BE49-F238E27FC236}">
                <a16:creationId xmlns:a16="http://schemas.microsoft.com/office/drawing/2014/main" id="{AC306341-0978-4C8B-B12F-441A3FCE2FAA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4" name="TextBox 143">
            <a:extLst>
              <a:ext uri="{FF2B5EF4-FFF2-40B4-BE49-F238E27FC236}">
                <a16:creationId xmlns:a16="http://schemas.microsoft.com/office/drawing/2014/main" id="{85B9E930-8DC3-4710-B411-20FD76116327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91730521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s + text Placeho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58B34489-7642-4205-873E-F3492F5620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04881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58B34489-7642-4205-873E-F3492F5620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object 5">
            <a:extLst>
              <a:ext uri="{FF2B5EF4-FFF2-40B4-BE49-F238E27FC236}">
                <a16:creationId xmlns:a16="http://schemas.microsoft.com/office/drawing/2014/main" id="{47086C8A-84DB-1940-BEA7-DBBB9D5AD42D}"/>
              </a:ext>
            </a:extLst>
          </p:cNvPr>
          <p:cNvSpPr/>
          <p:nvPr userDrawn="1"/>
        </p:nvSpPr>
        <p:spPr>
          <a:xfrm>
            <a:off x="-34288" y="0"/>
            <a:ext cx="12226288" cy="6858000"/>
          </a:xfrm>
          <a:custGeom>
            <a:avLst/>
            <a:gdLst/>
            <a:ahLst/>
            <a:cxnLst/>
            <a:rect l="l" t="t" r="r" b="b"/>
            <a:pathLst>
              <a:path w="4212590" h="6849109">
                <a:moveTo>
                  <a:pt x="4212005" y="0"/>
                </a:moveTo>
                <a:lnTo>
                  <a:pt x="0" y="0"/>
                </a:lnTo>
                <a:lnTo>
                  <a:pt x="0" y="6848995"/>
                </a:lnTo>
                <a:lnTo>
                  <a:pt x="4212005" y="6848995"/>
                </a:lnTo>
                <a:lnTo>
                  <a:pt x="4212005" y="0"/>
                </a:lnTo>
                <a:close/>
              </a:path>
            </a:pathLst>
          </a:custGeom>
          <a:solidFill>
            <a:srgbClr val="0052DB"/>
          </a:solidFill>
        </p:spPr>
        <p:txBody>
          <a:bodyPr wrap="square" lIns="0" tIns="0" rIns="0" bIns="0" rtlCol="0"/>
          <a:lstStyle/>
          <a:p>
            <a:pPr rtl="0"/>
            <a:endParaRPr lang="en-US" noProof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1ED43BA-A683-49EB-A471-CC2FF2517659}"/>
              </a:ext>
            </a:extLst>
          </p:cNvPr>
          <p:cNvSpPr/>
          <p:nvPr userDrawn="1"/>
        </p:nvSpPr>
        <p:spPr>
          <a:xfrm>
            <a:off x="3040802" y="3429000"/>
            <a:ext cx="3054096" cy="3429000"/>
          </a:xfrm>
          <a:prstGeom prst="rect">
            <a:avLst/>
          </a:prstGeom>
          <a:solidFill>
            <a:srgbClr val="8EDB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DC9FC4A4-D378-486E-8BC6-E816D5C4C606}"/>
              </a:ext>
            </a:extLst>
          </p:cNvPr>
          <p:cNvSpPr/>
          <p:nvPr userDrawn="1"/>
        </p:nvSpPr>
        <p:spPr>
          <a:xfrm>
            <a:off x="-1" y="2269894"/>
            <a:ext cx="6125865" cy="3826106"/>
          </a:xfrm>
          <a:custGeom>
            <a:avLst/>
            <a:gdLst>
              <a:gd name="connsiteX0" fmla="*/ 6257483 w 6322790"/>
              <a:gd name="connsiteY0" fmla="*/ 0 h 3826106"/>
              <a:gd name="connsiteX1" fmla="*/ 6258144 w 6322790"/>
              <a:gd name="connsiteY1" fmla="*/ 2864 h 3826106"/>
              <a:gd name="connsiteX2" fmla="*/ 6322790 w 6322790"/>
              <a:gd name="connsiteY2" fmla="*/ 644141 h 3826106"/>
              <a:gd name="connsiteX3" fmla="*/ 3140825 w 6322790"/>
              <a:gd name="connsiteY3" fmla="*/ 3826106 h 3826106"/>
              <a:gd name="connsiteX4" fmla="*/ 23506 w 6322790"/>
              <a:gd name="connsiteY4" fmla="*/ 1285418 h 3826106"/>
              <a:gd name="connsiteX5" fmla="*/ 0 w 6322790"/>
              <a:gd name="connsiteY5" fmla="*/ 1153790 h 3826106"/>
              <a:gd name="connsiteX6" fmla="*/ 6257483 w 6322790"/>
              <a:gd name="connsiteY6" fmla="*/ 1153790 h 3826106"/>
              <a:gd name="connsiteX7" fmla="*/ 6257483 w 6322790"/>
              <a:gd name="connsiteY7" fmla="*/ 0 h 38261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322790" h="3826106">
                <a:moveTo>
                  <a:pt x="6257483" y="0"/>
                </a:moveTo>
                <a:lnTo>
                  <a:pt x="6258144" y="2864"/>
                </a:lnTo>
                <a:cubicBezTo>
                  <a:pt x="6300531" y="210002"/>
                  <a:pt x="6322790" y="424472"/>
                  <a:pt x="6322790" y="644141"/>
                </a:cubicBezTo>
                <a:cubicBezTo>
                  <a:pt x="6322790" y="2401492"/>
                  <a:pt x="4898176" y="3826106"/>
                  <a:pt x="3140825" y="3826106"/>
                </a:cubicBezTo>
                <a:cubicBezTo>
                  <a:pt x="1603143" y="3826106"/>
                  <a:pt x="320213" y="2735386"/>
                  <a:pt x="23506" y="1285418"/>
                </a:cubicBezTo>
                <a:lnTo>
                  <a:pt x="0" y="1153790"/>
                </a:lnTo>
                <a:lnTo>
                  <a:pt x="6257483" y="1153790"/>
                </a:lnTo>
                <a:lnTo>
                  <a:pt x="6257483" y="0"/>
                </a:lnTo>
                <a:close/>
              </a:path>
            </a:pathLst>
          </a:custGeom>
          <a:solidFill>
            <a:srgbClr val="00C1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D5542DB-5259-466A-986A-299B630CA3C1}"/>
              </a:ext>
            </a:extLst>
          </p:cNvPr>
          <p:cNvSpPr/>
          <p:nvPr userDrawn="1"/>
        </p:nvSpPr>
        <p:spPr>
          <a:xfrm>
            <a:off x="3050634" y="0"/>
            <a:ext cx="3054096" cy="3429000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400" noProof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286ACBA-89A8-488A-A42B-E8D20FF88E31}"/>
              </a:ext>
            </a:extLst>
          </p:cNvPr>
          <p:cNvSpPr/>
          <p:nvPr userDrawn="1"/>
        </p:nvSpPr>
        <p:spPr>
          <a:xfrm>
            <a:off x="3044043" y="0"/>
            <a:ext cx="3074546" cy="3429000"/>
          </a:xfrm>
          <a:prstGeom prst="rect">
            <a:avLst/>
          </a:prstGeom>
          <a:solidFill>
            <a:srgbClr val="5B9BD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99ACC6E-E237-4D26-8B09-E50B73D4F9B0}"/>
              </a:ext>
            </a:extLst>
          </p:cNvPr>
          <p:cNvSpPr/>
          <p:nvPr userDrawn="1"/>
        </p:nvSpPr>
        <p:spPr>
          <a:xfrm>
            <a:off x="-35071" y="3429000"/>
            <a:ext cx="3084922" cy="3429000"/>
          </a:xfrm>
          <a:prstGeom prst="rect">
            <a:avLst/>
          </a:prstGeom>
          <a:solidFill>
            <a:srgbClr val="00A6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2CAAC235-0BD1-4DEA-BB4F-D52AFFFDF722}"/>
              </a:ext>
            </a:extLst>
          </p:cNvPr>
          <p:cNvSpPr/>
          <p:nvPr userDrawn="1"/>
        </p:nvSpPr>
        <p:spPr>
          <a:xfrm>
            <a:off x="9161291" y="-1"/>
            <a:ext cx="3030836" cy="3429000"/>
          </a:xfrm>
          <a:custGeom>
            <a:avLst/>
            <a:gdLst>
              <a:gd name="connsiteX0" fmla="*/ 0 w 3030836"/>
              <a:gd name="connsiteY0" fmla="*/ 0 h 3429000"/>
              <a:gd name="connsiteX1" fmla="*/ 3030836 w 3030836"/>
              <a:gd name="connsiteY1" fmla="*/ 0 h 3429000"/>
              <a:gd name="connsiteX2" fmla="*/ 3030836 w 3030836"/>
              <a:gd name="connsiteY2" fmla="*/ 717755 h 3429000"/>
              <a:gd name="connsiteX3" fmla="*/ 1236547 w 3030836"/>
              <a:gd name="connsiteY3" fmla="*/ 3429000 h 3429000"/>
              <a:gd name="connsiteX4" fmla="*/ 0 w 3030836"/>
              <a:gd name="connsiteY4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30836" h="3429000">
                <a:moveTo>
                  <a:pt x="0" y="0"/>
                </a:moveTo>
                <a:lnTo>
                  <a:pt x="3030836" y="0"/>
                </a:lnTo>
                <a:lnTo>
                  <a:pt x="3030836" y="717755"/>
                </a:lnTo>
                <a:lnTo>
                  <a:pt x="1236547" y="3429000"/>
                </a:lnTo>
                <a:lnTo>
                  <a:pt x="0" y="3429000"/>
                </a:lnTo>
                <a:close/>
              </a:path>
            </a:pathLst>
          </a:cu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315AD95-D09E-4F5B-91A6-B047CD1284E0}"/>
              </a:ext>
            </a:extLst>
          </p:cNvPr>
          <p:cNvSpPr/>
          <p:nvPr userDrawn="1"/>
        </p:nvSpPr>
        <p:spPr>
          <a:xfrm>
            <a:off x="6115348" y="0"/>
            <a:ext cx="3054096" cy="3429000"/>
          </a:xfrm>
          <a:prstGeom prst="rect">
            <a:avLst/>
          </a:prstGeom>
          <a:solidFill>
            <a:srgbClr val="00A6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8E4EBD94-2DEE-4D75-AA70-500C8702217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102605" y="3429001"/>
            <a:ext cx="6089395" cy="3200588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defRPr lang="pl-PL" sz="3600" b="1" dirty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marL="0" lvl="0" indent="0" algn="ctr">
              <a:buNone/>
            </a:pPr>
            <a:endParaRPr lang="en-US" noProof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548A6283-32F5-4567-A6FB-DE6F33C316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29468" y="0"/>
            <a:ext cx="3089275" cy="3429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defRPr lang="pl-PL" sz="3600" b="1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marL="0" lvl="0" indent="0" algn="ctr">
              <a:buNone/>
            </a:pPr>
            <a:endParaRPr lang="en-US" noProof="0"/>
          </a:p>
        </p:txBody>
      </p:sp>
      <p:sp>
        <p:nvSpPr>
          <p:cNvPr id="26" name="Picture Placeholder 18">
            <a:extLst>
              <a:ext uri="{FF2B5EF4-FFF2-40B4-BE49-F238E27FC236}">
                <a16:creationId xmlns:a16="http://schemas.microsoft.com/office/drawing/2014/main" id="{381105CD-8785-4369-8229-519A641A361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24576" y="3445042"/>
            <a:ext cx="3051838" cy="2900195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>
              <a:defRPr lang="pl-PL" sz="3600" b="1" dirty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marL="0" lvl="0" indent="0" algn="ctr">
              <a:buNone/>
            </a:pPr>
            <a:endParaRPr lang="en-US" noProof="0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73045945-5335-4618-B4A1-B3CA7FF04D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0350" y="297712"/>
            <a:ext cx="2414480" cy="282825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rtl="0">
              <a:defRPr lang="en-US" sz="2000" b="0" i="0" dirty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marL="7938" lvl="0" indent="-7938">
              <a:spcBef>
                <a:spcPts val="0"/>
              </a:spcBef>
              <a:buNone/>
              <a:tabLst/>
            </a:pPr>
            <a:r>
              <a:rPr lang="en-US" noProof="0"/>
              <a:t>Text Box 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1729CF7F-74B3-4B7F-B8AC-973C2B0EC7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37735" y="3726712"/>
            <a:ext cx="2414480" cy="2343413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ext Box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F723D81-38FB-44AC-9BC9-A06B6B2D2C2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436337" y="297712"/>
            <a:ext cx="2414480" cy="2828259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 rtl="0">
              <a:defRPr lang="en-US" sz="2000" b="0" i="0" dirty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marL="7938" lvl="0" indent="-7938">
              <a:spcBef>
                <a:spcPts val="0"/>
              </a:spcBef>
              <a:buNone/>
              <a:tabLst/>
            </a:pPr>
            <a:r>
              <a:rPr lang="en-US" noProof="0"/>
              <a:t>Text Box </a:t>
            </a:r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F68CA8D4-3DD4-471A-9312-0BC95DD7146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61291" y="-2"/>
            <a:ext cx="3030709" cy="3429000"/>
          </a:xfrm>
          <a:custGeom>
            <a:avLst/>
            <a:gdLst>
              <a:gd name="connsiteX0" fmla="*/ 0 w 3030836"/>
              <a:gd name="connsiteY0" fmla="*/ 0 h 3429000"/>
              <a:gd name="connsiteX1" fmla="*/ 3030836 w 3030836"/>
              <a:gd name="connsiteY1" fmla="*/ 0 h 3429000"/>
              <a:gd name="connsiteX2" fmla="*/ 3030836 w 3030836"/>
              <a:gd name="connsiteY2" fmla="*/ 717755 h 3429000"/>
              <a:gd name="connsiteX3" fmla="*/ 1236547 w 3030836"/>
              <a:gd name="connsiteY3" fmla="*/ 3429000 h 3429000"/>
              <a:gd name="connsiteX4" fmla="*/ 0 w 3030836"/>
              <a:gd name="connsiteY4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030836" h="3429000">
                <a:moveTo>
                  <a:pt x="0" y="0"/>
                </a:moveTo>
                <a:lnTo>
                  <a:pt x="3030836" y="0"/>
                </a:lnTo>
                <a:lnTo>
                  <a:pt x="3030836" y="717755"/>
                </a:lnTo>
                <a:lnTo>
                  <a:pt x="1236547" y="3429000"/>
                </a:lnTo>
                <a:lnTo>
                  <a:pt x="0" y="3429000"/>
                </a:lnTo>
                <a:close/>
              </a:path>
            </a:pathLst>
          </a:custGeom>
        </p:spPr>
        <p:txBody>
          <a:bodyPr wrap="square" lIns="0" tIns="0" rIns="576000" bIns="0" anchor="ctr">
            <a:noAutofit/>
          </a:bodyPr>
          <a:lstStyle>
            <a:lvl1pPr algn="l">
              <a:defRPr lang="pl-PL" sz="3600" b="1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marL="0" lvl="0" indent="0" algn="ctr">
              <a:buNone/>
            </a:pPr>
            <a:endParaRPr lang="en-US" noProof="0"/>
          </a:p>
        </p:txBody>
      </p:sp>
      <p:sp>
        <p:nvSpPr>
          <p:cNvPr id="100" name="Rectangle 99">
            <a:extLst>
              <a:ext uri="{FF2B5EF4-FFF2-40B4-BE49-F238E27FC236}">
                <a16:creationId xmlns:a16="http://schemas.microsoft.com/office/drawing/2014/main" id="{309D25A2-D53B-4F8E-8FA4-BC101E9DEA7A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236C9D1A-108F-4065-9BF4-2E9979837148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:a16="http://schemas.microsoft.com/office/drawing/2014/main" id="{49EE55BB-72F3-4A81-B416-04DC104D51D9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103" name="Rectangle 102">
            <a:hlinkClick r:id="" action="ppaction://noaction"/>
            <a:extLst>
              <a:ext uri="{FF2B5EF4-FFF2-40B4-BE49-F238E27FC236}">
                <a16:creationId xmlns:a16="http://schemas.microsoft.com/office/drawing/2014/main" id="{CBCBB06A-F8A4-42CF-80A0-83E6E63ED96C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104" name="Rectangle 103">
            <a:hlinkClick r:id="" action="ppaction://noaction"/>
            <a:extLst>
              <a:ext uri="{FF2B5EF4-FFF2-40B4-BE49-F238E27FC236}">
                <a16:creationId xmlns:a16="http://schemas.microsoft.com/office/drawing/2014/main" id="{33140AF5-5E21-47B3-8E91-45FA6B3E7D45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105" name="Rectangle 104">
            <a:hlinkClick r:id="" action="ppaction://noaction"/>
            <a:extLst>
              <a:ext uri="{FF2B5EF4-FFF2-40B4-BE49-F238E27FC236}">
                <a16:creationId xmlns:a16="http://schemas.microsoft.com/office/drawing/2014/main" id="{4874253F-6160-4C29-BA1F-61F8E902BF88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106" name="Rectangle 105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9B673533-CE9A-4EEA-98D8-D2F39BCBE5E7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F89BA0C5-E067-42C7-B12C-7EDC4F0D4D7C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91CC4B52-3E90-4615-B3C9-1946E41A5DD1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0547B556-BE0A-43B5-9A8C-3F12228970C7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8EE8BFCE-80EA-42CA-BB7F-593649D84A30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50E21FFB-B047-43B5-8ED5-C25520D32581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" name="Group 111">
            <a:extLst>
              <a:ext uri="{FF2B5EF4-FFF2-40B4-BE49-F238E27FC236}">
                <a16:creationId xmlns:a16="http://schemas.microsoft.com/office/drawing/2014/main" id="{47F269D9-BB7E-4EFC-BCB3-E709BE86FE27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24A88752-D14D-42E2-93D6-845A26BEE4DC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E74788ED-6403-4F3D-AC0B-1C101C67D3F8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98478670-3476-4EA9-B40D-33FEED49A00C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940F654C-DF8A-48AE-9A8B-80ABFC1ABDD9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100A3173-20B0-4AA4-95F6-85A01BDEFBBE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EC2C3ACC-D0CE-40C8-A581-F5FA363C52ED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B89F6D18-EF57-46EC-9994-6B9D874D8E65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CCD29FF9-A981-48FF-9186-A7005A6925B6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E554360F-FAC0-4316-A88F-F0A55DE4077F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757377D8-6C58-4474-A813-D2E4DF5FFFBD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6AA4F0BF-5988-4DA5-8EF2-BC0E7B286A1A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6A48CDBF-AC63-4921-B4F2-3DA8DB5CD5CB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5A1FAD4F-39D1-42FC-B518-C64C1617387D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CEB04C04-8296-47A7-92AC-CEDB2BA11D2E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B6C38A2C-E62B-4ECF-9D33-986A1BE26768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736CF6A0-CB57-4D6E-B7AA-F77765878177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D0531E55-59FE-47ED-A361-5B998BB5B521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B3055707-A37D-4089-A7CC-1A70F3A88B39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D9F4D7B3-C91C-458C-8AC5-E49D221A0120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E88B0628-BBAA-4546-AAEC-3F66F0C40C1D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45EEB53A-FA91-4B85-89EB-E9504086FF78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0AE953CD-B335-4906-9FFE-37EB6251FFF2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E66AE02F-DDC9-484E-BA58-5EB7BE934FFE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8056CDAD-0D59-4B87-BDBA-286E62F495CE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908BB381-F8AF-4C13-B98D-241AF924E82A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D5AC5AE0-0B0A-4E3D-8187-6AD320129C92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4AD49194-AC4F-496D-857C-55D7B896D01A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D332CC98-4EE3-4E36-9DB7-D9BBE94903A0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8F5FA4BB-02EE-4C59-B67F-84262EF275C0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CDA86978-B1CB-4A94-805F-614E9550A722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088DE02E-5586-49EF-92F4-31D582E76818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1874980C-940F-4251-9104-5C4FA1AE9A38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1AE90B68-1CA4-4C83-AF50-7FB0E8D5DAF8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8F9C9027-37EB-4126-950D-4874FDA2841E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44A80B17-9A73-46EA-A539-B0F35867C918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D847A09E-107F-4B48-88A1-E82D4539EC5A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F6B34504-272A-49B9-9774-7F41DE82085F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50" name="Freeform: Shape 149">
              <a:extLst>
                <a:ext uri="{FF2B5EF4-FFF2-40B4-BE49-F238E27FC236}">
                  <a16:creationId xmlns:a16="http://schemas.microsoft.com/office/drawing/2014/main" id="{7DAB1B58-03D1-418A-9481-8732C7119CAD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51" name="Freeform: Shape 150">
              <a:extLst>
                <a:ext uri="{FF2B5EF4-FFF2-40B4-BE49-F238E27FC236}">
                  <a16:creationId xmlns:a16="http://schemas.microsoft.com/office/drawing/2014/main" id="{2B95FE30-C1C0-49A4-970A-B90506753BEE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52" name="Freeform: Shape 151">
              <a:extLst>
                <a:ext uri="{FF2B5EF4-FFF2-40B4-BE49-F238E27FC236}">
                  <a16:creationId xmlns:a16="http://schemas.microsoft.com/office/drawing/2014/main" id="{07EA594F-2B9F-4761-8A20-ACFEB0A84041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53" name="Freeform: Shape 152">
              <a:extLst>
                <a:ext uri="{FF2B5EF4-FFF2-40B4-BE49-F238E27FC236}">
                  <a16:creationId xmlns:a16="http://schemas.microsoft.com/office/drawing/2014/main" id="{D71D7DED-FBE6-4A95-9476-899ABA9F95D6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A9972A30-E87E-405D-B3B6-7181637B47AA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55" name="Rectangle: Rounded Corners 154">
              <a:hlinkClick r:id="" action="ppaction://noaction"/>
              <a:extLst>
                <a:ext uri="{FF2B5EF4-FFF2-40B4-BE49-F238E27FC236}">
                  <a16:creationId xmlns:a16="http://schemas.microsoft.com/office/drawing/2014/main" id="{FFD124B8-F2BE-43C9-B797-F4C3AEF6EF7F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56" name="Rectangle: Rounded Corners 155">
              <a:hlinkClick r:id="" action="ppaction://noaction"/>
              <a:extLst>
                <a:ext uri="{FF2B5EF4-FFF2-40B4-BE49-F238E27FC236}">
                  <a16:creationId xmlns:a16="http://schemas.microsoft.com/office/drawing/2014/main" id="{01DE4D20-C0D0-45DD-8FC1-646FD2E9D1B2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57" name="Rectangle: Rounded Corners 156">
              <a:hlinkClick r:id="" action="ppaction://noaction"/>
              <a:extLst>
                <a:ext uri="{FF2B5EF4-FFF2-40B4-BE49-F238E27FC236}">
                  <a16:creationId xmlns:a16="http://schemas.microsoft.com/office/drawing/2014/main" id="{44D2956D-FDB9-4A9A-BCCF-FCD7230F44E3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58" name="Rectangle 157">
            <a:hlinkClick r:id="" action="ppaction://noaction"/>
            <a:extLst>
              <a:ext uri="{FF2B5EF4-FFF2-40B4-BE49-F238E27FC236}">
                <a16:creationId xmlns:a16="http://schemas.microsoft.com/office/drawing/2014/main" id="{EE436261-AE45-47D0-AC3E-42EF8018C7CF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D2D238A1-A1EF-4CD0-8ECD-6EB064F6B6B5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0" name="Rectangle 159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24A6E41D-CF52-4FC2-B670-31048C145FEB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5D67BD7A-26AE-4E35-8209-14C2F4CF6E97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TextBox 161">
            <a:extLst>
              <a:ext uri="{FF2B5EF4-FFF2-40B4-BE49-F238E27FC236}">
                <a16:creationId xmlns:a16="http://schemas.microsoft.com/office/drawing/2014/main" id="{311B1661-F675-4D88-80C3-68686E9FC926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90781280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13B5177-9A2E-416D-9807-DE5D658623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80114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13B5177-9A2E-416D-9807-DE5D658623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E89A75F-199B-D74E-9E7C-2B147373EE6E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290098" y="2308359"/>
            <a:ext cx="3416804" cy="37495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8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  <a:lvl2pPr marL="576263" marR="0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7575" indent="-2778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bg1"/>
                </a:solidFill>
              </a:defRPr>
            </a:lvl3pPr>
            <a:lvl4pPr marL="1322388" indent="-3000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4pPr>
            <a:lvl5pPr marL="1717675" indent="-29845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5pPr>
          </a:lstStyle>
          <a:p>
            <a:pPr lvl="0"/>
            <a:endParaRPr lang="en-US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80024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rtl="0"/>
            <a:r>
              <a:rPr lang="en-US" b="0" i="0" noProof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80024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rtl="0"/>
            <a:r>
              <a:rPr lang="en-US" b="0" i="0" noProof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 noProof="0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D21E6825-4ADB-4046-805F-23ADDDCA0E2B}"/>
              </a:ext>
            </a:extLst>
          </p:cNvPr>
          <p:cNvSpPr/>
          <p:nvPr userDrawn="1"/>
        </p:nvSpPr>
        <p:spPr>
          <a:xfrm>
            <a:off x="1718475" y="1124935"/>
            <a:ext cx="560051" cy="560051"/>
          </a:xfrm>
          <a:prstGeom prst="ellipse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r>
              <a:rPr lang="en-US" sz="2800" b="1" noProof="0">
                <a:latin typeface="Leelawadee" panose="020B0502040204020203" pitchFamily="34" charset="-34"/>
                <a:cs typeface="Leelawadee" panose="020B0502040204020203" pitchFamily="34" charset="-34"/>
              </a:rPr>
              <a:t>1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E787688-92FC-034B-9EE0-7D88C5556919}"/>
              </a:ext>
            </a:extLst>
          </p:cNvPr>
          <p:cNvCxnSpPr>
            <a:cxnSpLocks/>
          </p:cNvCxnSpPr>
          <p:nvPr userDrawn="1"/>
        </p:nvCxnSpPr>
        <p:spPr>
          <a:xfrm>
            <a:off x="1221260" y="1952283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0DEE947-0818-3245-A202-52BD0F5B8C08}"/>
              </a:ext>
            </a:extLst>
          </p:cNvPr>
          <p:cNvCxnSpPr>
            <a:cxnSpLocks/>
          </p:cNvCxnSpPr>
          <p:nvPr userDrawn="1"/>
        </p:nvCxnSpPr>
        <p:spPr>
          <a:xfrm>
            <a:off x="5323971" y="1952283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0E9C8AC-8AD7-3940-8EF1-2CA30256A3AE}"/>
              </a:ext>
            </a:extLst>
          </p:cNvPr>
          <p:cNvCxnSpPr>
            <a:cxnSpLocks/>
          </p:cNvCxnSpPr>
          <p:nvPr userDrawn="1"/>
        </p:nvCxnSpPr>
        <p:spPr>
          <a:xfrm>
            <a:off x="9379123" y="1957179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7" name="Oval 46">
            <a:extLst>
              <a:ext uri="{FF2B5EF4-FFF2-40B4-BE49-F238E27FC236}">
                <a16:creationId xmlns:a16="http://schemas.microsoft.com/office/drawing/2014/main" id="{3CEE7091-C6CC-7E4E-982C-70CAE3B3A885}"/>
              </a:ext>
            </a:extLst>
          </p:cNvPr>
          <p:cNvSpPr/>
          <p:nvPr userDrawn="1"/>
        </p:nvSpPr>
        <p:spPr>
          <a:xfrm>
            <a:off x="5821186" y="1124935"/>
            <a:ext cx="560051" cy="560051"/>
          </a:xfrm>
          <a:prstGeom prst="ellipse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r>
              <a:rPr lang="en-US" sz="2800" b="1" noProof="0">
                <a:latin typeface="Leelawadee" panose="020B0502040204020203" pitchFamily="34" charset="-34"/>
                <a:cs typeface="Leelawadee" panose="020B0502040204020203" pitchFamily="34" charset="-34"/>
              </a:rPr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06B24090-F46C-7846-857E-10992A03ED7E}"/>
              </a:ext>
            </a:extLst>
          </p:cNvPr>
          <p:cNvSpPr/>
          <p:nvPr userDrawn="1"/>
        </p:nvSpPr>
        <p:spPr>
          <a:xfrm>
            <a:off x="9876338" y="1124935"/>
            <a:ext cx="560051" cy="560051"/>
          </a:xfrm>
          <a:prstGeom prst="ellipse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r>
              <a:rPr lang="en-US" sz="2800" b="1" noProof="0">
                <a:latin typeface="Leelawadee" panose="020B0502040204020203" pitchFamily="34" charset="-34"/>
                <a:cs typeface="Leelawadee" panose="020B0502040204020203" pitchFamily="34" charset="-34"/>
              </a:rPr>
              <a:t>3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6E791674-06AF-9849-B5D3-C736E8F2C6F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392809" y="2308359"/>
            <a:ext cx="3416804" cy="37495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8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  <a:lvl2pPr marL="576263" marR="0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917575" indent="-2778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bg1"/>
                </a:solidFill>
              </a:defRPr>
            </a:lvl3pPr>
            <a:lvl4pPr marL="1322388" indent="-3000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4pPr>
            <a:lvl5pPr marL="1717675" indent="-29845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5pPr>
          </a:lstStyle>
          <a:p>
            <a:pPr lvl="0"/>
            <a:endParaRPr lang="en-US" noProof="0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1E65449-ABFF-EE4C-9268-A2EA0829DED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447961" y="2308359"/>
            <a:ext cx="3416804" cy="374954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rtl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tabLst/>
              <a:defRPr sz="18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  <a:lvl2pPr marL="576263" marR="0" indent="-2905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70000"/>
              <a:buFont typeface="Courier New" panose="02070309020205020404" pitchFamily="49" charset="0"/>
              <a:buChar char="o"/>
              <a:tabLst/>
              <a:defRPr sz="18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2pPr>
            <a:lvl3pPr marL="917575" indent="-277813">
              <a:lnSpc>
                <a:spcPct val="100000"/>
              </a:lnSpc>
              <a:buSzPct val="70000"/>
              <a:buFont typeface="Courier New" panose="02070309020205020404" pitchFamily="49" charset="0"/>
              <a:buChar char="o"/>
              <a:tabLst>
                <a:tab pos="1023938" algn="l"/>
              </a:tabLst>
              <a:defRPr sz="1800">
                <a:solidFill>
                  <a:schemeClr val="bg1"/>
                </a:solidFill>
              </a:defRPr>
            </a:lvl3pPr>
            <a:lvl4pPr marL="1322388" indent="-300038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4pPr>
            <a:lvl5pPr marL="1717675" indent="-298450">
              <a:lnSpc>
                <a:spcPct val="100000"/>
              </a:lnSpc>
              <a:buClr>
                <a:schemeClr val="bg1"/>
              </a:buClr>
              <a:buSzPct val="80000"/>
              <a:buFont typeface="Wingdings" pitchFamily="2" charset="2"/>
              <a:buChar char="§"/>
              <a:tabLst/>
              <a:defRPr sz="1800">
                <a:solidFill>
                  <a:schemeClr val="bg1"/>
                </a:solidFill>
              </a:defRPr>
            </a:lvl5pPr>
          </a:lstStyle>
          <a:p>
            <a:pPr lvl="0"/>
            <a:endParaRPr lang="en-US" noProof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210CF0DF-41D9-4CFE-806D-5118A5AA5A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00037" y="323075"/>
            <a:ext cx="11591925" cy="472463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40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E9A57D4F-D542-408E-9020-FEA5A9A47479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97" name="Straight Connector 96">
            <a:extLst>
              <a:ext uri="{FF2B5EF4-FFF2-40B4-BE49-F238E27FC236}">
                <a16:creationId xmlns:a16="http://schemas.microsoft.com/office/drawing/2014/main" id="{2DFE9976-F9DE-4F7A-9649-B685D22AE32B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extBox 97">
            <a:extLst>
              <a:ext uri="{FF2B5EF4-FFF2-40B4-BE49-F238E27FC236}">
                <a16:creationId xmlns:a16="http://schemas.microsoft.com/office/drawing/2014/main" id="{1D191BD1-5D8F-4391-8018-080A6C1C42ED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99" name="Rectangle 98">
            <a:hlinkClick r:id="" action="ppaction://noaction"/>
            <a:extLst>
              <a:ext uri="{FF2B5EF4-FFF2-40B4-BE49-F238E27FC236}">
                <a16:creationId xmlns:a16="http://schemas.microsoft.com/office/drawing/2014/main" id="{9BBDAF38-C2AF-42D1-90C0-4264D5695919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100" name="Rectangle 99">
            <a:hlinkClick r:id="" action="ppaction://noaction"/>
            <a:extLst>
              <a:ext uri="{FF2B5EF4-FFF2-40B4-BE49-F238E27FC236}">
                <a16:creationId xmlns:a16="http://schemas.microsoft.com/office/drawing/2014/main" id="{965EB8D4-D1CA-4636-8B67-472F1154BA4F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101" name="Rectangle 100">
            <a:hlinkClick r:id="" action="ppaction://noaction"/>
            <a:extLst>
              <a:ext uri="{FF2B5EF4-FFF2-40B4-BE49-F238E27FC236}">
                <a16:creationId xmlns:a16="http://schemas.microsoft.com/office/drawing/2014/main" id="{7A2C6D2A-AC49-4E01-B682-B0CF04382F9B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102" name="Rectangle 101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7220620B-973C-4D6D-9D1F-24B461D519F0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22AF86F3-F7F0-40FD-B6EB-64C05986E16C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3DCC6D9F-E724-4E73-88E4-F7DF9A44A6D8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92B7B578-8CDC-4E2E-8611-87B1ABB10410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05D4F216-8E22-400C-94D0-3C0FC29C1997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581B5862-C34F-4008-8D66-A7DE9F34EE12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8" name="Group 107">
            <a:extLst>
              <a:ext uri="{FF2B5EF4-FFF2-40B4-BE49-F238E27FC236}">
                <a16:creationId xmlns:a16="http://schemas.microsoft.com/office/drawing/2014/main" id="{7BCA756F-6A9D-4EBB-843C-E00E92621197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65D809B7-DB0B-43A7-8E52-A9B6F155B0D2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F91BFF9D-2658-4503-9379-2150C2A845DE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8350268B-C3C9-4173-BD26-DA2DC879E1D0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477F3D5B-06FE-47E5-8103-AE1F618D8F7D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108A08BB-BD33-4EFE-914F-DC06E47DFB76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109B9A8A-21BA-4C44-9995-0B1ADDA6FDB2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B5E920C3-804F-4CED-A138-F83C5402C9A4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2ABE67D5-0FD5-41EE-B69D-FEE2A8B2A738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C605B662-9888-4302-9CA0-D55D88DF22A8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C1706E08-D1E3-490A-8E25-6D6814805B4A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D6144834-38B3-41E6-8DEB-21FEA0CD0C26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E9999010-EC3F-4CA3-9409-88AF47832212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EEE43B68-B01B-4E87-B6AB-08A19AC9CCE2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2078D9F4-B8C2-4F66-9F70-28364BAD07ED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1C1DA8AB-9E4D-4C21-854E-C331E0CC0C88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0628A310-CA1E-4959-BEBC-4B24DD9702C9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47B2BB6A-9391-425E-8F17-C81E456408FB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02C1EEDE-701D-49BA-A672-62953D8C6CB5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1A2ED676-59D7-4A47-8C63-A11B63303E47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20BA8526-8D70-4072-963D-2C6C0ABCCE03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8AB01BDB-F0C5-4669-8A0A-3563B85439DD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AA3D0B7D-67B7-47FA-AB88-9086AE674CA0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BA56B90C-DF55-42AD-B3A6-CCFD903D4B2F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10124E26-2B9D-4E3C-9BED-41600964B203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5D5754C4-4EE5-4523-8301-735E65DB1D42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89F2F546-1727-490A-9C7A-7AC16FB5B620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7A81125D-888C-4A98-AB1E-A2AD8A76875F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A248CE41-5B7A-458F-B901-ED0A0AED3BB0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65A3B9B9-C486-4059-A2AE-424C6AA12FD2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ABB6A96-365A-46E0-958E-BCC7C12B11AF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6D085466-1989-4342-B43D-D9C9E50D26A8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E4B2AF0F-3630-49BF-A8B9-56DEA63E6A73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7139E0E1-89DA-45F9-8487-9D9887D2F4CE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353FE914-E27A-489A-B747-2FAD39779F55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D6362C4E-3555-4C98-BBC6-EC4C2955EB19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F7370420-2C8B-4289-A6F9-0B653CB54D2F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5" name="Freeform: Shape 144">
              <a:extLst>
                <a:ext uri="{FF2B5EF4-FFF2-40B4-BE49-F238E27FC236}">
                  <a16:creationId xmlns:a16="http://schemas.microsoft.com/office/drawing/2014/main" id="{8DD090B2-8BBB-4B0E-9F5E-8BFC9B0478D2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6" name="Freeform: Shape 145">
              <a:extLst>
                <a:ext uri="{FF2B5EF4-FFF2-40B4-BE49-F238E27FC236}">
                  <a16:creationId xmlns:a16="http://schemas.microsoft.com/office/drawing/2014/main" id="{BF523F32-CCFA-4106-AB57-01DA0482B24B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7" name="Freeform: Shape 146">
              <a:extLst>
                <a:ext uri="{FF2B5EF4-FFF2-40B4-BE49-F238E27FC236}">
                  <a16:creationId xmlns:a16="http://schemas.microsoft.com/office/drawing/2014/main" id="{1FC7168F-14E7-4366-B0D2-719CF6CBDB37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8" name="Freeform: Shape 147">
              <a:extLst>
                <a:ext uri="{FF2B5EF4-FFF2-40B4-BE49-F238E27FC236}">
                  <a16:creationId xmlns:a16="http://schemas.microsoft.com/office/drawing/2014/main" id="{6070B8DD-68FA-44C3-8A1B-3A4E36125925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9" name="Freeform: Shape 148">
              <a:extLst>
                <a:ext uri="{FF2B5EF4-FFF2-40B4-BE49-F238E27FC236}">
                  <a16:creationId xmlns:a16="http://schemas.microsoft.com/office/drawing/2014/main" id="{E66CA735-946D-4E22-ABD5-9CAF34243B36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A2F4A769-2C2C-4D9F-8CBC-1A9A3EDB2FD6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51" name="Rectangle: Rounded Corners 150">
              <a:hlinkClick r:id="" action="ppaction://noaction"/>
              <a:extLst>
                <a:ext uri="{FF2B5EF4-FFF2-40B4-BE49-F238E27FC236}">
                  <a16:creationId xmlns:a16="http://schemas.microsoft.com/office/drawing/2014/main" id="{51085169-9344-4DDB-B985-9E7F6E1F73C8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52" name="Rectangle: Rounded Corners 151">
              <a:hlinkClick r:id="" action="ppaction://noaction"/>
              <a:extLst>
                <a:ext uri="{FF2B5EF4-FFF2-40B4-BE49-F238E27FC236}">
                  <a16:creationId xmlns:a16="http://schemas.microsoft.com/office/drawing/2014/main" id="{886FD8AC-EF51-44D1-80D6-D8B28AF79579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53" name="Rectangle: Rounded Corners 152">
              <a:hlinkClick r:id="" action="ppaction://noaction"/>
              <a:extLst>
                <a:ext uri="{FF2B5EF4-FFF2-40B4-BE49-F238E27FC236}">
                  <a16:creationId xmlns:a16="http://schemas.microsoft.com/office/drawing/2014/main" id="{72289DEE-2D93-420C-97EF-E971B7988259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54" name="Rectangle 153">
            <a:hlinkClick r:id="" action="ppaction://noaction"/>
            <a:extLst>
              <a:ext uri="{FF2B5EF4-FFF2-40B4-BE49-F238E27FC236}">
                <a16:creationId xmlns:a16="http://schemas.microsoft.com/office/drawing/2014/main" id="{BE8B6BBE-B955-4AF6-B973-96DBB5AE661E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55" name="Straight Connector 154">
            <a:extLst>
              <a:ext uri="{FF2B5EF4-FFF2-40B4-BE49-F238E27FC236}">
                <a16:creationId xmlns:a16="http://schemas.microsoft.com/office/drawing/2014/main" id="{E6480CA9-6DB3-4F38-AE64-97970AD25B17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6" name="Rectangle 155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14CEB3B7-F1C2-4A70-A117-93F8760EC651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9351241E-2546-4FBD-909B-2AB2E3532937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TextBox 157">
            <a:extLst>
              <a:ext uri="{FF2B5EF4-FFF2-40B4-BE49-F238E27FC236}">
                <a16:creationId xmlns:a16="http://schemas.microsoft.com/office/drawing/2014/main" id="{9F29C9BC-8342-45C6-8BBE-7F6A7C94D4B6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9293538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7">
          <p15:clr>
            <a:srgbClr val="FBAE40"/>
          </p15:clr>
        </p15:guide>
        <p15:guide id="2" pos="189">
          <p15:clr>
            <a:srgbClr val="FBAE40"/>
          </p15:clr>
        </p15:guide>
        <p15:guide id="3" pos="7491">
          <p15:clr>
            <a:srgbClr val="FBAE40"/>
          </p15:clr>
        </p15:guide>
        <p15:guide id="4" orient="horz" pos="381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attern with Content 01">
    <p:bg>
      <p:bgPr>
        <a:solidFill>
          <a:srgbClr val="006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Times New Roman" panose="02020603050405020304" pitchFamily="18" charset="0"/>
              </a:rPr>
              <a:t> 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749566-D047-2B49-8DE5-DE967A0DAFB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7674" y="703110"/>
            <a:ext cx="7699014" cy="5307398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FontTx/>
              <a:buNone/>
              <a:tabLst/>
              <a:defRPr sz="4000" b="1" i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here to edit your text.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AA35B3EF-6E95-4979-A79E-D19669B18191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B54BFC13-D151-48CE-A204-41D14B529BF0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extBox 75">
            <a:extLst>
              <a:ext uri="{FF2B5EF4-FFF2-40B4-BE49-F238E27FC236}">
                <a16:creationId xmlns:a16="http://schemas.microsoft.com/office/drawing/2014/main" id="{985B2221-9486-42C3-A5B4-2FF9713E12FA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77" name="Rectangle 76">
            <a:hlinkClick r:id="" action="ppaction://noaction"/>
            <a:extLst>
              <a:ext uri="{FF2B5EF4-FFF2-40B4-BE49-F238E27FC236}">
                <a16:creationId xmlns:a16="http://schemas.microsoft.com/office/drawing/2014/main" id="{87546FE3-0D4D-4474-B752-3342EB5A256B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78" name="Rectangle 77">
            <a:hlinkClick r:id="" action="ppaction://noaction"/>
            <a:extLst>
              <a:ext uri="{FF2B5EF4-FFF2-40B4-BE49-F238E27FC236}">
                <a16:creationId xmlns:a16="http://schemas.microsoft.com/office/drawing/2014/main" id="{F4E4C4C3-9ADC-4FE1-9098-91D9D2D63075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79" name="Rectangle 78">
            <a:hlinkClick r:id="" action="ppaction://noaction"/>
            <a:extLst>
              <a:ext uri="{FF2B5EF4-FFF2-40B4-BE49-F238E27FC236}">
                <a16:creationId xmlns:a16="http://schemas.microsoft.com/office/drawing/2014/main" id="{F4001615-C0CF-497F-90DD-E4067CEB38C3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80" name="Rectangle 79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F50795E1-E097-471C-B01E-A2F5A623B25D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80E2A1B1-6757-4D6C-B03C-B5E08269E3DC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8EF01055-71C3-4AAB-9A1C-F830A47FC8BE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A2384A5A-3696-43A7-891A-C124C4895CC6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CA0AB99A-86D9-4CD0-9024-8F3EC2833AFE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5D9E2F43-0051-4508-96DA-B8F07C431629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" name="Group 85">
            <a:extLst>
              <a:ext uri="{FF2B5EF4-FFF2-40B4-BE49-F238E27FC236}">
                <a16:creationId xmlns:a16="http://schemas.microsoft.com/office/drawing/2014/main" id="{9FF2799C-55B7-4DC4-A75F-DB29CF63B5CD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E809BB5-5540-43B0-A5B0-4A5D0ECBAFE0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762C4EA0-F327-4E78-86DB-71D3A3B326C3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87EE7CFE-4556-472F-9C88-7719A6418AD3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3E3E94E1-7595-4439-9BF8-CCF8D4000CE4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AFA213AB-A72E-4B2B-AA93-1FEA47895330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83D602B8-D84D-40D1-806D-63BC24F61727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D63E77DF-379B-4102-BF90-0A19F6829272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DC861FE2-C62B-4161-B63A-858CF3A75C3C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F366777C-5594-4CD2-877A-DBEE0315BBFE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E688D390-5B66-4E6B-A4F8-8955B2EC157B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ACCEE81E-C667-4DF5-9F93-E8C7C38D3EEB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9201C7A3-67D0-4941-945B-C44396221C83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9160D767-E65E-4FB0-8FB9-E9E6455F18F4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83A1A5FE-94E5-4C2D-B4D5-1BBA34103F52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10E88644-4F52-4D05-B8EB-FE1AEB962756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AF43B7D8-8CBE-4C2A-9402-24A5E6020215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ACBDBE0C-B48A-49DD-AD33-E569668EE126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DE492A0B-AA05-42B7-BA3A-02E939EFA0DF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AB9DA7DA-2872-4172-82BF-03E5E181A091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232EDA18-9AB3-43C2-9A0B-531B95328B92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322A0713-BFD2-4A95-BF37-42BCF883E2EA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8D9B8D69-9C2F-45B4-B265-AC8403ED691B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5182DC49-6BBE-477F-A174-0065D8773B37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6ECF68EC-B1A2-4616-8AB2-EC5ED589A1C2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89B41B98-97B3-45E2-A267-7D31B632B1B6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A4754D20-3B4F-492E-BFC2-60A2F2638682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6EBE2611-C02F-4A02-9091-1E39667656A3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ABCE79E5-AE03-4A37-90FC-37F91965C875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18B0891D-4A68-475A-B3D8-3835A094085C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E7C390C0-46CC-4B06-BB49-9C5CD7570357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3273C96B-5B61-4CD7-ABF1-042766A4AEC9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53E47AAA-C742-4E0F-B23C-2A96D35C0F19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3A77EBE1-25C8-4842-A86D-1860DD88FE9F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11A45402-5E6C-4AFA-A0DA-536FA45EFB17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13E43CC5-F5AD-4EEB-B02D-E5DC3DC57D2C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50371354-707A-4E81-B293-335B098597B2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4135C00E-C2DD-49AA-90D0-C6118985BE63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81110520-1F1C-41CE-B0F7-A519190470F2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4953EE52-D3A9-4D5D-B167-CE712C78F761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E3CE9096-3F54-472F-A34A-FE00B12DDBEB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C1A9079-92E4-41D6-971F-228A09A50C5D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28" name="Group 127">
            <a:extLst>
              <a:ext uri="{FF2B5EF4-FFF2-40B4-BE49-F238E27FC236}">
                <a16:creationId xmlns:a16="http://schemas.microsoft.com/office/drawing/2014/main" id="{E3C96034-76B9-4B02-97E5-F4F24A19A41D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29" name="Rectangle: Rounded Corners 128">
              <a:hlinkClick r:id="" action="ppaction://noaction"/>
              <a:extLst>
                <a:ext uri="{FF2B5EF4-FFF2-40B4-BE49-F238E27FC236}">
                  <a16:creationId xmlns:a16="http://schemas.microsoft.com/office/drawing/2014/main" id="{15F9C03F-A561-4787-86BD-EB2145EE57D9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0" name="Rectangle: Rounded Corners 129">
              <a:hlinkClick r:id="" action="ppaction://noaction"/>
              <a:extLst>
                <a:ext uri="{FF2B5EF4-FFF2-40B4-BE49-F238E27FC236}">
                  <a16:creationId xmlns:a16="http://schemas.microsoft.com/office/drawing/2014/main" id="{82B795A2-5F76-4214-9F52-8C89AFA110ED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1" name="Rectangle: Rounded Corners 130">
              <a:hlinkClick r:id="" action="ppaction://noaction"/>
              <a:extLst>
                <a:ext uri="{FF2B5EF4-FFF2-40B4-BE49-F238E27FC236}">
                  <a16:creationId xmlns:a16="http://schemas.microsoft.com/office/drawing/2014/main" id="{EAC059E7-52DF-4DD2-843A-C129B72FFF9C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32" name="Rectangle 131">
            <a:hlinkClick r:id="" action="ppaction://noaction"/>
            <a:extLst>
              <a:ext uri="{FF2B5EF4-FFF2-40B4-BE49-F238E27FC236}">
                <a16:creationId xmlns:a16="http://schemas.microsoft.com/office/drawing/2014/main" id="{D19E258C-7C52-4DD4-8E7E-81141744D495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1E6AC391-FD41-4555-AE9A-AB5AE12A3E9E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4" name="Rectangle 133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5FD54C87-4A57-4C4B-8BD0-09BE667317F1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5442CDC0-BB38-4148-8AFA-AF609F4A9F27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Box 135">
            <a:extLst>
              <a:ext uri="{FF2B5EF4-FFF2-40B4-BE49-F238E27FC236}">
                <a16:creationId xmlns:a16="http://schemas.microsoft.com/office/drawing/2014/main" id="{13915862-3CD9-413D-B7CA-9E07EF47B4A9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66875766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2"/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1" y="168381"/>
            <a:ext cx="10952147" cy="623222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6D40EB1-E54E-3D43-82D2-2C0B316D02E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231" y="1274778"/>
            <a:ext cx="10952148" cy="4810836"/>
          </a:xfrm>
        </p:spPr>
        <p:txBody>
          <a:bodyPr>
            <a:noAutofit/>
          </a:bodyPr>
          <a:lstStyle>
            <a:lvl1pPr marL="228600" indent="-228600">
              <a:lnSpc>
                <a:spcPct val="100000"/>
              </a:lnSpc>
              <a:spcBef>
                <a:spcPts val="1800"/>
              </a:spcBef>
              <a:tabLst/>
              <a:defRPr sz="28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804863" indent="-347663">
              <a:lnSpc>
                <a:spcPct val="100000"/>
              </a:lnSpc>
              <a:spcBef>
                <a:spcPts val="1800"/>
              </a:spcBef>
              <a:buFont typeface="Courier New" panose="02070309020205020404" pitchFamily="49" charset="0"/>
              <a:buChar char="o"/>
              <a:tabLst/>
              <a:defRPr sz="2800" b="0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D3BB693A-037C-4786-AEDD-E6BE18F1390D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45601B59-FA67-4564-A3CA-CE624D18AAD5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80">
            <a:extLst>
              <a:ext uri="{FF2B5EF4-FFF2-40B4-BE49-F238E27FC236}">
                <a16:creationId xmlns:a16="http://schemas.microsoft.com/office/drawing/2014/main" id="{4AD636F4-7596-470F-BE98-B8259B654D0F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82" name="Rectangle 81">
            <a:hlinkClick r:id="" action="ppaction://noaction"/>
            <a:extLst>
              <a:ext uri="{FF2B5EF4-FFF2-40B4-BE49-F238E27FC236}">
                <a16:creationId xmlns:a16="http://schemas.microsoft.com/office/drawing/2014/main" id="{B895AAFA-3330-49CF-89E2-42612A01687F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83" name="Rectangle 82">
            <a:hlinkClick r:id="" action="ppaction://noaction"/>
            <a:extLst>
              <a:ext uri="{FF2B5EF4-FFF2-40B4-BE49-F238E27FC236}">
                <a16:creationId xmlns:a16="http://schemas.microsoft.com/office/drawing/2014/main" id="{763B9017-10FD-454B-B55F-8B9575F196E0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84" name="Rectangle 83">
            <a:hlinkClick r:id="" action="ppaction://noaction"/>
            <a:extLst>
              <a:ext uri="{FF2B5EF4-FFF2-40B4-BE49-F238E27FC236}">
                <a16:creationId xmlns:a16="http://schemas.microsoft.com/office/drawing/2014/main" id="{63E6A0C9-5168-46F7-AC83-F740E81D8C18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85" name="Rectangle 84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F5C9E19A-0E7F-4235-85ED-90F91FAE84DB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D73F6461-F104-43D3-8D50-62980E7D6B08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260487FC-A14F-4E67-A1CB-97FF4C09D601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>
            <a:extLst>
              <a:ext uri="{FF2B5EF4-FFF2-40B4-BE49-F238E27FC236}">
                <a16:creationId xmlns:a16="http://schemas.microsoft.com/office/drawing/2014/main" id="{0D68AB8D-ECBC-4A85-9BF4-7FF4BAE4C5D7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>
            <a:extLst>
              <a:ext uri="{FF2B5EF4-FFF2-40B4-BE49-F238E27FC236}">
                <a16:creationId xmlns:a16="http://schemas.microsoft.com/office/drawing/2014/main" id="{FC10A6A8-85EE-485D-B88C-ADAF07E68180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6782ADED-2332-40AE-A6B6-66B206B3633D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1" name="Group 90">
            <a:extLst>
              <a:ext uri="{FF2B5EF4-FFF2-40B4-BE49-F238E27FC236}">
                <a16:creationId xmlns:a16="http://schemas.microsoft.com/office/drawing/2014/main" id="{56757AF0-B449-41E9-8F3E-78DB39B0C484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3BB3B013-1673-4342-ACD8-50C0E62A7324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B371A0BD-C728-469A-A4E9-E10CC8A7D5B5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C4CEDCDE-0C27-4A88-9773-F8B28807DA00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9DFFB04A-BC03-4D87-9C37-068FE7AD39AD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00CE1082-E7C8-4624-AC8C-5792A4178253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E963DBFA-CD00-4959-AA37-F724A5BB0EEB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18DBF1A6-E87F-4DE1-B0FB-250C76A50016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16BF5E99-3B1C-4A50-8C64-8FCEE926B04A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8C967151-75F9-42AC-A890-3A23BC415681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E35A6A94-3516-4D52-BE97-3CF4ADE6BB00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40A3D1A6-D0A6-455D-A982-455CCA4D97A7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66A37408-FF55-418C-A7F1-B6DC7D89532D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92DA6AED-C999-4248-8F31-5D2B17612B1F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44F2DBD2-B65A-4E60-9D9E-EE9A09162169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500E94FD-5D0A-4ED8-8D5B-A9A0E4792F96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08B7380E-42F7-4A58-9ACF-0FA1B9C48AD8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E56E40D6-71C7-4699-B4EA-42451388A1F9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2E99F311-B54F-4C38-8562-F8A0412D5A05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2A06CA52-6C50-471B-8623-820E6A29FBA0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741042DA-6116-4840-9FAC-BF04130DD0C7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38DC6092-1698-4552-BBC6-FA49EB7ADF8A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B63C94D3-329C-479D-8D78-27EA5793CAC6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9F03DFE1-F1E9-42B5-BAEB-C3409F35943F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A0B4F0C8-3611-4333-B8C1-152559C3CE89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58CD382E-402D-40CA-BC81-AC717CE56762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BC6292F8-B3B1-4FAB-93EF-B0A8F712C9DE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3BBBCA80-3EBD-468D-84BB-A379DF1B17B0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D5AB0BE8-10F4-4FCB-BAF9-6F3D39A8446E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C758D3CD-3BAA-499A-BA1E-DCB5BA8EA8BB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7DB5E7B2-809E-4444-AF0F-ABA805F52A24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58524F90-94F7-4E48-B31A-E89809404DD7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7A05756F-26BF-465C-9779-10B19061A88C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F0192C2B-70B0-491B-9DA2-EC345D56E59C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D4D8A00E-175D-436E-A73A-90159574A592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49B79F97-24D2-4A87-A78F-93C71BFA1BEA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9BB73C1D-9CBE-48FF-8068-DB364CB354A2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A894D927-1668-42DE-81FC-367EF29ADA8F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9FFB79B4-B82D-4247-B709-C0401333E7F9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E7A812ED-680D-4DAF-ABB6-962EB5AE5E69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46B4AEC1-7DB4-4D7A-BBE1-C3BA4C192FD9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245F8D8E-E30A-42EE-81A0-1A5483505935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33" name="Group 132">
            <a:extLst>
              <a:ext uri="{FF2B5EF4-FFF2-40B4-BE49-F238E27FC236}">
                <a16:creationId xmlns:a16="http://schemas.microsoft.com/office/drawing/2014/main" id="{1879B72D-93A2-4F2D-A303-888876ADCEDA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34" name="Rectangle: Rounded Corners 133">
              <a:hlinkClick r:id="" action="ppaction://noaction"/>
              <a:extLst>
                <a:ext uri="{FF2B5EF4-FFF2-40B4-BE49-F238E27FC236}">
                  <a16:creationId xmlns:a16="http://schemas.microsoft.com/office/drawing/2014/main" id="{C7DA4AF6-B997-4980-B1EE-0A701612F912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5" name="Rectangle: Rounded Corners 134">
              <a:hlinkClick r:id="" action="ppaction://noaction"/>
              <a:extLst>
                <a:ext uri="{FF2B5EF4-FFF2-40B4-BE49-F238E27FC236}">
                  <a16:creationId xmlns:a16="http://schemas.microsoft.com/office/drawing/2014/main" id="{7B8829D5-3EFB-436D-ADEF-8B9020E83581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6" name="Rectangle: Rounded Corners 135">
              <a:hlinkClick r:id="" action="ppaction://noaction"/>
              <a:extLst>
                <a:ext uri="{FF2B5EF4-FFF2-40B4-BE49-F238E27FC236}">
                  <a16:creationId xmlns:a16="http://schemas.microsoft.com/office/drawing/2014/main" id="{E65B37C1-5349-4C65-81CF-4801FDAFCDC3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37" name="Rectangle 136">
            <a:hlinkClick r:id="" action="ppaction://noaction"/>
            <a:extLst>
              <a:ext uri="{FF2B5EF4-FFF2-40B4-BE49-F238E27FC236}">
                <a16:creationId xmlns:a16="http://schemas.microsoft.com/office/drawing/2014/main" id="{DE1F8632-5E6B-4C4C-8CCF-821F05736A3D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38" name="Straight Connector 137">
            <a:extLst>
              <a:ext uri="{FF2B5EF4-FFF2-40B4-BE49-F238E27FC236}">
                <a16:creationId xmlns:a16="http://schemas.microsoft.com/office/drawing/2014/main" id="{7C32447C-C5A0-477C-916F-4A44883EEEAE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9" name="Rectangle 138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290C167C-FFFF-46D8-A06E-FA938DAEE34D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EFE8474A-332B-431F-BE40-5BE220D8664A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TextBox 140">
            <a:extLst>
              <a:ext uri="{FF2B5EF4-FFF2-40B4-BE49-F238E27FC236}">
                <a16:creationId xmlns:a16="http://schemas.microsoft.com/office/drawing/2014/main" id="{8B8E3FB8-4F84-4987-B4DA-F41FEA2C364F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57721683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arison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C693F22-37CE-E440-A764-0E367717FDC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231" y="1999660"/>
            <a:ext cx="5259704" cy="4085953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8784723-4AFA-4742-ADCB-358652FF6F72}"/>
              </a:ext>
            </a:extLst>
          </p:cNvPr>
          <p:cNvGrpSpPr/>
          <p:nvPr userDrawn="1"/>
        </p:nvGrpSpPr>
        <p:grpSpPr>
          <a:xfrm>
            <a:off x="0" y="1"/>
            <a:ext cx="12192000" cy="1039905"/>
            <a:chOff x="0" y="0"/>
            <a:chExt cx="14630400" cy="1524787"/>
          </a:xfrm>
        </p:grpSpPr>
        <p:sp>
          <p:nvSpPr>
            <p:cNvPr id="22" name="object 2">
              <a:extLst>
                <a:ext uri="{FF2B5EF4-FFF2-40B4-BE49-F238E27FC236}">
                  <a16:creationId xmlns:a16="http://schemas.microsoft.com/office/drawing/2014/main" id="{4F62F695-717D-374C-802D-7FEBEAD6FE46}"/>
                </a:ext>
              </a:extLst>
            </p:cNvPr>
            <p:cNvSpPr/>
            <p:nvPr userDrawn="1"/>
          </p:nvSpPr>
          <p:spPr>
            <a:xfrm>
              <a:off x="0" y="0"/>
              <a:ext cx="14630400" cy="1392555"/>
            </a:xfrm>
            <a:custGeom>
              <a:avLst/>
              <a:gdLst/>
              <a:ahLst/>
              <a:cxnLst/>
              <a:rect l="l" t="t" r="r" b="b"/>
              <a:pathLst>
                <a:path w="14630400" h="1392555">
                  <a:moveTo>
                    <a:pt x="0" y="1392072"/>
                  </a:moveTo>
                  <a:lnTo>
                    <a:pt x="14630400" y="1392072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92072"/>
                  </a:lnTo>
                  <a:close/>
                </a:path>
              </a:pathLst>
            </a:custGeom>
            <a:solidFill>
              <a:schemeClr val="accent5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3">
              <a:extLst>
                <a:ext uri="{FF2B5EF4-FFF2-40B4-BE49-F238E27FC236}">
                  <a16:creationId xmlns:a16="http://schemas.microsoft.com/office/drawing/2014/main" id="{B392FAE7-9F0A-8D4D-94F3-8E024FD2710E}"/>
                </a:ext>
              </a:extLst>
            </p:cNvPr>
            <p:cNvSpPr/>
            <p:nvPr userDrawn="1"/>
          </p:nvSpPr>
          <p:spPr>
            <a:xfrm>
              <a:off x="0" y="1392072"/>
              <a:ext cx="14630400" cy="132715"/>
            </a:xfrm>
            <a:custGeom>
              <a:avLst/>
              <a:gdLst/>
              <a:ahLst/>
              <a:cxnLst/>
              <a:rect l="l" t="t" r="r" b="b"/>
              <a:pathLst>
                <a:path w="14630400" h="132715">
                  <a:moveTo>
                    <a:pt x="0" y="132575"/>
                  </a:moveTo>
                  <a:lnTo>
                    <a:pt x="14630400" y="132575"/>
                  </a:lnTo>
                  <a:lnTo>
                    <a:pt x="14630400" y="0"/>
                  </a:lnTo>
                  <a:lnTo>
                    <a:pt x="0" y="0"/>
                  </a:lnTo>
                  <a:lnTo>
                    <a:pt x="0" y="132575"/>
                  </a:lnTo>
                  <a:close/>
                </a:path>
              </a:pathLst>
            </a:custGeom>
            <a:solidFill>
              <a:schemeClr val="accent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6" name="Title 23">
            <a:extLst>
              <a:ext uri="{FF2B5EF4-FFF2-40B4-BE49-F238E27FC236}">
                <a16:creationId xmlns:a16="http://schemas.microsoft.com/office/drawing/2014/main" id="{4085826A-7691-1843-B06C-82034F1F5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1" y="159548"/>
            <a:ext cx="10937489" cy="62322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232" y="1287610"/>
            <a:ext cx="5259704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5259704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CF1B3AAF-D0DD-7744-AFEC-DBCE571A97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94924" y="1287609"/>
            <a:ext cx="5259704" cy="42159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CB330AF-1672-334C-B0B1-C1C9AD1B8438}"/>
              </a:ext>
            </a:extLst>
          </p:cNvPr>
          <p:cNvCxnSpPr>
            <a:cxnSpLocks/>
          </p:cNvCxnSpPr>
          <p:nvPr userDrawn="1"/>
        </p:nvCxnSpPr>
        <p:spPr>
          <a:xfrm>
            <a:off x="6294924" y="1854431"/>
            <a:ext cx="5259704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5814F731-5C23-3A4F-AFB0-7F1F2B08FA2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287017" y="1999660"/>
            <a:ext cx="5259704" cy="4085953"/>
          </a:xfrm>
        </p:spPr>
        <p:txBody>
          <a:bodyPr>
            <a:noAutofit/>
          </a:bodyPr>
          <a:lstStyle>
            <a:lvl1pPr marL="114300" indent="-114300">
              <a:tabLst/>
              <a:defRPr sz="1800">
                <a:solidFill>
                  <a:schemeClr val="accent5">
                    <a:lumMod val="75000"/>
                  </a:schemeClr>
                </a:solidFill>
              </a:defRPr>
            </a:lvl1pPr>
            <a:lvl2pPr marL="628650" indent="-171450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sz="1500">
                <a:solidFill>
                  <a:schemeClr val="accent5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Click to edit Master text styles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7F1145A5-C0AA-45F0-B54F-A1EFA2C3520C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120C65AE-BBD6-4F37-916D-3795DC1A0D54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TextBox 92">
            <a:extLst>
              <a:ext uri="{FF2B5EF4-FFF2-40B4-BE49-F238E27FC236}">
                <a16:creationId xmlns:a16="http://schemas.microsoft.com/office/drawing/2014/main" id="{F7B5C5AE-41D5-4C9A-B6E2-AB40595D023B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94" name="Rectangle 93">
            <a:hlinkClick r:id="" action="ppaction://noaction"/>
            <a:extLst>
              <a:ext uri="{FF2B5EF4-FFF2-40B4-BE49-F238E27FC236}">
                <a16:creationId xmlns:a16="http://schemas.microsoft.com/office/drawing/2014/main" id="{C3F59F52-BBF7-44DD-8015-720CC72D8EEE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95" name="Rectangle 94">
            <a:hlinkClick r:id="" action="ppaction://noaction"/>
            <a:extLst>
              <a:ext uri="{FF2B5EF4-FFF2-40B4-BE49-F238E27FC236}">
                <a16:creationId xmlns:a16="http://schemas.microsoft.com/office/drawing/2014/main" id="{4D284ED2-C6F1-49F3-8FCC-B23BDCCA40E4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96" name="Rectangle 95">
            <a:hlinkClick r:id="" action="ppaction://noaction"/>
            <a:extLst>
              <a:ext uri="{FF2B5EF4-FFF2-40B4-BE49-F238E27FC236}">
                <a16:creationId xmlns:a16="http://schemas.microsoft.com/office/drawing/2014/main" id="{B2D9AC1E-9480-4C2C-A387-2FE8FF247910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97" name="Rectangle 96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D2D688FF-88DA-4E4C-8D73-A10A7B98511C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3D16AE30-2F9F-4CAE-A4A0-7DE4D66E106D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>
            <a:extLst>
              <a:ext uri="{FF2B5EF4-FFF2-40B4-BE49-F238E27FC236}">
                <a16:creationId xmlns:a16="http://schemas.microsoft.com/office/drawing/2014/main" id="{A3906F2F-796D-4794-87C7-1E1B51CEDEE6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A7B59154-4729-404B-9992-09DFD6846872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BF6D093F-F0B8-4C0C-A30E-DC9A4056A1FA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E44D143C-137D-461B-85B3-6ABF1A0A924B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9C135204-71C8-4836-9846-FD86F6CB38E3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1D278B3C-FDF8-4BFE-B37A-0AD5889C3322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25D4B765-7C52-4E74-A3B3-8BE6C150650A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1477C8AC-F64B-411D-A66A-FE0AB17A558E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2B748BC6-8F19-4349-A07C-B98431661EEE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4B8D85AF-92AA-44C9-9601-9E9EB3588344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262C662B-6D42-4F7C-A910-B96C3D7A9725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9AA254F4-DA73-4B34-8BF1-AF94EAD5DEBE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0596576E-E4C6-4767-BC14-2453F86751E0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C9FD28F7-D786-4BE7-BE56-827E7C4F387D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1689ED2B-0F9E-48AB-856E-B4ECCFCF7C5F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ECFC1F8B-FAF8-4AD5-8478-4674F775E035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A60238C0-1631-4855-B56D-75F91EA8A2A8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57973709-3311-4531-BBEF-3E89E1FF602E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28FD53A0-5F12-44D9-81EC-C12F3954269D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0A971D8F-8CA3-439D-91BB-B0206B5CC01D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052290C6-306E-4CB5-AE97-D93240878FB6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0A90F3B0-E2B7-4467-BF62-EEE1DE27100E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0069DF9A-ACA1-413B-80A8-1229785AC116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E4D54DEF-F391-4FC6-8198-CA87A4DB6822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E9A913E9-B2EC-4DBA-B31B-996F4CBEA249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A66EDCEE-BFF5-4FE3-8C4A-97F5C80796F1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434F5EA5-9728-494A-B3FC-6C00B2EF457F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7033FBB1-AC24-4484-AB26-C8BFDDDEB074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960E4C65-07A0-426B-B5B8-414CC254B107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7CF4788E-5C64-4CCC-A40B-FC77A3B3331D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0F876CBA-8496-4A9B-994E-B71FD5192B31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E9162674-52CD-4619-9174-05FD5527CF27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27B4C002-FEC4-41C9-A0DC-26A979F5CD18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F458713A-97C8-4A62-B644-353222B06B8C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6D147EEF-D55E-4F33-B989-567523E3797A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251E0F54-E6DE-453E-8882-A6B748B629D6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E5DDCF61-5E21-444A-B536-891021B7D5E6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84A7B114-0687-482E-A7AB-7B781F0B78E1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6D2F3107-736D-43B4-8D6C-0733843CDC08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7CE53CB1-0AD7-4455-BF98-014B555ED1DB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4341C2E0-D16E-4EF8-85C8-DC3668B7D29A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C6F8DE2A-587B-4297-96E0-5901CE66FB8C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BB83355D-4465-41D6-B101-BD02F5FAD515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F44A9BB4-1E24-465F-9246-3009D67E5441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0CD51501-CD69-47B8-AAAA-CA6B07B9C13B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43E8F336-C3F1-4C7D-AD20-F2721FFC7CDD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45" name="Group 144">
            <a:extLst>
              <a:ext uri="{FF2B5EF4-FFF2-40B4-BE49-F238E27FC236}">
                <a16:creationId xmlns:a16="http://schemas.microsoft.com/office/drawing/2014/main" id="{A6791D7C-CC88-4764-ADEC-844FFF4CE56E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46" name="Rectangle: Rounded Corners 145">
              <a:hlinkClick r:id="" action="ppaction://noaction"/>
              <a:extLst>
                <a:ext uri="{FF2B5EF4-FFF2-40B4-BE49-F238E27FC236}">
                  <a16:creationId xmlns:a16="http://schemas.microsoft.com/office/drawing/2014/main" id="{5558D277-AA31-4670-B5C6-FB8AA8E3938F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47" name="Rectangle: Rounded Corners 146">
              <a:hlinkClick r:id="" action="ppaction://noaction"/>
              <a:extLst>
                <a:ext uri="{FF2B5EF4-FFF2-40B4-BE49-F238E27FC236}">
                  <a16:creationId xmlns:a16="http://schemas.microsoft.com/office/drawing/2014/main" id="{BF550DCF-95E7-4BB1-8B73-4BBAF60D706D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48" name="Rectangle: Rounded Corners 147">
              <a:hlinkClick r:id="" action="ppaction://noaction"/>
              <a:extLst>
                <a:ext uri="{FF2B5EF4-FFF2-40B4-BE49-F238E27FC236}">
                  <a16:creationId xmlns:a16="http://schemas.microsoft.com/office/drawing/2014/main" id="{FD66825E-3A6C-4520-9182-DE8BF19A1A0C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49" name="Rectangle 148">
            <a:hlinkClick r:id="" action="ppaction://noaction"/>
            <a:extLst>
              <a:ext uri="{FF2B5EF4-FFF2-40B4-BE49-F238E27FC236}">
                <a16:creationId xmlns:a16="http://schemas.microsoft.com/office/drawing/2014/main" id="{A59B5DA6-243C-4FCC-B967-EE20650B4175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50" name="Straight Connector 149">
            <a:extLst>
              <a:ext uri="{FF2B5EF4-FFF2-40B4-BE49-F238E27FC236}">
                <a16:creationId xmlns:a16="http://schemas.microsoft.com/office/drawing/2014/main" id="{4AAD1D0B-A9E3-4334-B49E-2E84C2986314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Rectangle 150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93091D29-CCB7-42E4-93F2-579206F8A542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A3511231-B339-46C7-A73C-E48A771F08C6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Box 152">
            <a:extLst>
              <a:ext uri="{FF2B5EF4-FFF2-40B4-BE49-F238E27FC236}">
                <a16:creationId xmlns:a16="http://schemas.microsoft.com/office/drawing/2014/main" id="{40108655-4493-4078-9BDF-D5C69E52F379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8037997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695AFD15-15E5-0276-29B5-48ED56D293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95896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5AFD15-15E5-0276-29B5-48ED56D293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3" name="Picture Placeholder 10">
            <a:extLst>
              <a:ext uri="{FF2B5EF4-FFF2-40B4-BE49-F238E27FC236}">
                <a16:creationId xmlns:a16="http://schemas.microsoft.com/office/drawing/2014/main" id="{419BF2AC-5B85-C3CE-EE00-152E94FDE2C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0313" y="-2780"/>
            <a:ext cx="6483963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780"/>
            <a:ext cx="5214876" cy="451343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CAB5392-5704-E04E-E747-29A8663275E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CBC5A7-1EC6-EB25-52D6-D1B99B6B0FEE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7A1CE9-4B2A-D4B3-92BC-789F541A4B6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A530835-A7B3-DA57-0B5D-08A7B65C967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64FF597-37A2-9012-9F5C-6E3608EFF9AD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C475DC4-DFE2-242E-070E-AD22EA26489C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292DA2D-652A-3FCC-1F7C-16919CA77FE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0E1A11F-7269-D682-6CDB-1D1CEDC3DF6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331122F-F80D-B9E9-845C-1CA786BA955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363F9FB-9A84-2F9D-4951-A7000F923CE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0A10105-6CE0-7743-DA10-E3A203AAC3B0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94F55446-AB3C-1BD6-D67F-3A7019358F4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A176BA80-2924-3690-AEF4-7AB56ACFC12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28DBF978-C9B6-8ADE-7C85-09150467A18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6" name="Picture 5" descr="Logo&#10;&#10;Description automatically generated">
            <a:extLst>
              <a:ext uri="{FF2B5EF4-FFF2-40B4-BE49-F238E27FC236}">
                <a16:creationId xmlns:a16="http://schemas.microsoft.com/office/drawing/2014/main" id="{8C4806D5-A3C2-679A-663D-5471859DBB4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031" y="5220255"/>
            <a:ext cx="3180246" cy="1304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57503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B387AC-BC5C-4C42-B302-D15C0CB7E4A3}"/>
              </a:ext>
            </a:extLst>
          </p:cNvPr>
          <p:cNvSpPr/>
          <p:nvPr userDrawn="1"/>
        </p:nvSpPr>
        <p:spPr>
          <a:xfrm>
            <a:off x="0" y="261228"/>
            <a:ext cx="12192000" cy="66085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C86B612-2846-D049-B19B-4570D6F3F50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35013" y="620713"/>
            <a:ext cx="8809037" cy="4886325"/>
          </a:xfrm>
        </p:spPr>
        <p:txBody>
          <a:bodyPr>
            <a:noAutofit/>
          </a:bodyPr>
          <a:lstStyle>
            <a:lvl1pPr>
              <a:defRPr sz="4000"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Font typeface="Courier New" panose="02070309020205020404" pitchFamily="49" charset="0"/>
              <a:buChar char="o"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090613" indent="-176213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552575" indent="-180975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03425" indent="-174625">
              <a:buFont typeface="Courier New" panose="02070309020205020404" pitchFamily="49" charset="0"/>
              <a:buChar char="o"/>
              <a:tabLst/>
              <a:defRPr b="1" i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endParaRPr lang="en-US"/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DBDD1138-53BE-4E80-8EAE-8A4EE10D0682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E6692E10-52EE-4FBE-AB7E-B7A02D83792A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>
            <a:extLst>
              <a:ext uri="{FF2B5EF4-FFF2-40B4-BE49-F238E27FC236}">
                <a16:creationId xmlns:a16="http://schemas.microsoft.com/office/drawing/2014/main" id="{CEAB4809-61A7-47AE-A88B-25FD4728AFD4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78" name="Rectangle 77">
            <a:hlinkClick r:id="" action="ppaction://noaction"/>
            <a:extLst>
              <a:ext uri="{FF2B5EF4-FFF2-40B4-BE49-F238E27FC236}">
                <a16:creationId xmlns:a16="http://schemas.microsoft.com/office/drawing/2014/main" id="{FCDFF3EA-5BF9-4184-99FE-6427C923C867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r>
              <a:rPr lang="en-GB" sz="800" b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 &amp; objectives</a:t>
            </a:r>
          </a:p>
        </p:txBody>
      </p:sp>
      <p:sp>
        <p:nvSpPr>
          <p:cNvPr id="79" name="Rectangle 78">
            <a:hlinkClick r:id="" action="ppaction://noaction"/>
            <a:extLst>
              <a:ext uri="{FF2B5EF4-FFF2-40B4-BE49-F238E27FC236}">
                <a16:creationId xmlns:a16="http://schemas.microsoft.com/office/drawing/2014/main" id="{6D721B42-6283-4868-A5D8-7082D3B726EB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Introducing pep+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to Customers</a:t>
            </a:r>
          </a:p>
        </p:txBody>
      </p:sp>
      <p:sp>
        <p:nvSpPr>
          <p:cNvPr id="80" name="Rectangle 79">
            <a:hlinkClick r:id="" action="ppaction://noaction"/>
            <a:extLst>
              <a:ext uri="{FF2B5EF4-FFF2-40B4-BE49-F238E27FC236}">
                <a16:creationId xmlns:a16="http://schemas.microsoft.com/office/drawing/2014/main" id="{C9461C2A-AE21-4B4C-B688-6F51E9C96E7B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Exploring </a:t>
            </a:r>
            <a:b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US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areas</a:t>
            </a:r>
          </a:p>
        </p:txBody>
      </p:sp>
      <p:sp>
        <p:nvSpPr>
          <p:cNvPr id="81" name="Rectangle 80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9493545F-5EB4-4E75-BCD5-DD7D3B66EB8D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pep+ Customer Engagement</a:t>
            </a: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FABA5B56-631C-44DF-A745-F0FA87CC8D75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2A6E1056-99A5-4F97-B8C5-251638DF9FC7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4DB11A0F-18C0-41A5-B111-8A00DF2DC7E7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>
            <a:extLst>
              <a:ext uri="{FF2B5EF4-FFF2-40B4-BE49-F238E27FC236}">
                <a16:creationId xmlns:a16="http://schemas.microsoft.com/office/drawing/2014/main" id="{1F00B1BF-2C96-455C-9AE8-6DCD81216CA8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804D8973-8015-4E43-A2EC-16448C6FB25A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Group 86">
            <a:extLst>
              <a:ext uri="{FF2B5EF4-FFF2-40B4-BE49-F238E27FC236}">
                <a16:creationId xmlns:a16="http://schemas.microsoft.com/office/drawing/2014/main" id="{A3763636-7970-4DC3-8064-567AF9B3F88E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E6F9E0ED-2786-4785-8EC2-231EC921B109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5765DA2E-0C03-4D6A-ACB8-E32850F99F6C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0C906AC7-555E-4CCB-AC17-98AA9CBA7E9F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BF09F350-FEC9-47FE-9A8B-B20A1CDBDA59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4130F4CC-0ECC-4D20-AB44-00EED461C1EE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B6DAA02E-9F75-462D-ADDA-71F227421AFD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A9184EA8-D731-4D5F-BC9B-A01020445FF2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00CCB302-B1C6-4601-897D-C54292C4FDBB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0CF88E30-1399-448D-8FA3-FAE621DD0D7C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403D1DC7-1311-4544-A6F2-02D883352936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7D8D2C45-7D36-49AD-9DAF-1674BC695C59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9C381F2E-704B-444C-83A3-467E4134CA61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DDE32B8A-7D93-4D1D-9968-191895D78E94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E3214BDC-7527-46F4-9B3C-6665127B3459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31DCF8EE-3182-4FCB-B589-E129D550E833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17EE2822-CF46-4A8F-AF3B-F0FCE8D2D320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C7247737-76A7-42A5-A362-D70A6F7217C6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B96D0E45-2D00-458F-88A1-96CB049591CD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3AF39D16-9813-4345-A52D-02D8744347C2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9CCA8D8E-1D15-4F48-A54A-BDA2FE5F4B97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5F3B117F-706C-4EC4-BF32-897D1A1767F9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531E02BB-382F-42CE-91DC-E53CBAF682CC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D84F7CC4-903E-4CFE-960F-7E5A63175969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235D8B8C-13DF-4A94-B8E3-F60FA7F3D81C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99EAFD5B-2C1C-49A8-BDF9-85742F949BE7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91CF6DD0-B17A-4FFE-A978-33E9083BC890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95CCA642-8811-41C6-968C-797966A9E480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0D4F1D24-696E-4D2E-9647-BBB2C5C154D2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2BE26080-C452-45BF-B22D-C3BE3F2761B0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27E209FF-07B2-468B-BBE7-BACBA65CB8CD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ED98EF04-5229-47FC-B788-0BC1873C8E7D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55B45665-4D39-45EC-BB7D-073C317D4437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4969C6C5-0FE6-4477-8E2A-50F89F804C34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F7AF5D51-B520-4E17-A007-77BDEE36E6C2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ACC4058D-B765-425D-A758-42D193236E49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3867BE86-047F-4264-AB1D-1BE37507FEDF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85868B32-FB89-40FF-88EA-3F3CE44C98E5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679E9F4C-F852-428D-A0B2-1240450D4814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E53C37AA-28E0-49A6-8891-D6279A8143AA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46005908-AC03-49EA-810A-D0C0C8623D89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A6439A4F-CC24-470E-8EF6-99D9275E5FE1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129" name="Group 128">
            <a:extLst>
              <a:ext uri="{FF2B5EF4-FFF2-40B4-BE49-F238E27FC236}">
                <a16:creationId xmlns:a16="http://schemas.microsoft.com/office/drawing/2014/main" id="{1489010B-0A43-4C54-8877-0A3914FC1DEB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30" name="Rectangle: Rounded Corners 129">
              <a:hlinkClick r:id="" action="ppaction://noaction"/>
              <a:extLst>
                <a:ext uri="{FF2B5EF4-FFF2-40B4-BE49-F238E27FC236}">
                  <a16:creationId xmlns:a16="http://schemas.microsoft.com/office/drawing/2014/main" id="{81538311-0F51-4462-B488-A0882A91EF1C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1" name="Rectangle: Rounded Corners 130">
              <a:hlinkClick r:id="" action="ppaction://noaction"/>
              <a:extLst>
                <a:ext uri="{FF2B5EF4-FFF2-40B4-BE49-F238E27FC236}">
                  <a16:creationId xmlns:a16="http://schemas.microsoft.com/office/drawing/2014/main" id="{3E2D37B7-E854-4AEE-AF72-723356DA3194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32" name="Rectangle: Rounded Corners 131">
              <a:hlinkClick r:id="" action="ppaction://noaction"/>
              <a:extLst>
                <a:ext uri="{FF2B5EF4-FFF2-40B4-BE49-F238E27FC236}">
                  <a16:creationId xmlns:a16="http://schemas.microsoft.com/office/drawing/2014/main" id="{F8758183-FF47-4B08-B7AD-79E5219C0267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133" name="Rectangle 132">
            <a:hlinkClick r:id="" action="ppaction://noaction"/>
            <a:extLst>
              <a:ext uri="{FF2B5EF4-FFF2-40B4-BE49-F238E27FC236}">
                <a16:creationId xmlns:a16="http://schemas.microsoft.com/office/drawing/2014/main" id="{F35ACCB3-D409-43A5-AA6C-AFDD3AD45DAB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3C3C60AF-8050-4B37-BD46-93CC9FE5C3E1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Rectangle 134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95AEFB09-291F-4CFA-8371-12DB0033D57A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Additional </a:t>
            </a:r>
            <a:b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</a:br>
            <a:r>
              <a:rPr lang="en-GB" sz="800" b="0" noProof="0">
                <a:solidFill>
                  <a:schemeClr val="bg1">
                    <a:alpha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Supporting content</a:t>
            </a:r>
          </a:p>
        </p:txBody>
      </p:sp>
      <p:cxnSp>
        <p:nvCxnSpPr>
          <p:cNvPr id="136" name="Straight Connector 135">
            <a:extLst>
              <a:ext uri="{FF2B5EF4-FFF2-40B4-BE49-F238E27FC236}">
                <a16:creationId xmlns:a16="http://schemas.microsoft.com/office/drawing/2014/main" id="{F7B0B6CC-3DB0-47FC-B76D-2EF67919F21A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TextBox 136">
            <a:extLst>
              <a:ext uri="{FF2B5EF4-FFF2-40B4-BE49-F238E27FC236}">
                <a16:creationId xmlns:a16="http://schemas.microsoft.com/office/drawing/2014/main" id="{5526780B-4BBB-4A9C-8C33-7A38D3FE8BB0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40500015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156DAB0-81BD-6D3F-3DDD-691C8DB29D1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57DA647-B83A-3C6D-D58D-6A6CFF2DA4F3}"/>
              </a:ext>
            </a:extLst>
          </p:cNvPr>
          <p:cNvSpPr txBox="1"/>
          <p:nvPr userDrawn="1"/>
        </p:nvSpPr>
        <p:spPr>
          <a:xfrm>
            <a:off x="9724401" y="6601220"/>
            <a:ext cx="25137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u="none" strike="noStrike" err="1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pepsico</a:t>
            </a:r>
            <a:r>
              <a:rPr lang="en-US" sz="800" b="0" i="0" u="none" strike="noStrike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 positive I confidential &amp; proprietary</a:t>
            </a:r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5406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EO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 Diagonal Corner Rectangle 1">
            <a:extLst>
              <a:ext uri="{FF2B5EF4-FFF2-40B4-BE49-F238E27FC236}">
                <a16:creationId xmlns:a16="http://schemas.microsoft.com/office/drawing/2014/main" id="{C33A297E-790C-3C79-81E2-E351C7442FA1}"/>
              </a:ext>
            </a:extLst>
          </p:cNvPr>
          <p:cNvSpPr/>
          <p:nvPr userDrawn="1"/>
        </p:nvSpPr>
        <p:spPr>
          <a:xfrm flipH="1">
            <a:off x="5909096" y="3979216"/>
            <a:ext cx="5711403" cy="2560320"/>
          </a:xfrm>
          <a:prstGeom prst="round2DiagRect">
            <a:avLst>
              <a:gd name="adj1" fmla="val 17030"/>
              <a:gd name="adj2" fmla="val 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 Single Corner Rectangle 2">
            <a:extLst>
              <a:ext uri="{FF2B5EF4-FFF2-40B4-BE49-F238E27FC236}">
                <a16:creationId xmlns:a16="http://schemas.microsoft.com/office/drawing/2014/main" id="{EF976616-8848-460B-D13F-B57173A0E6FD}"/>
              </a:ext>
            </a:extLst>
          </p:cNvPr>
          <p:cNvSpPr/>
          <p:nvPr userDrawn="1"/>
        </p:nvSpPr>
        <p:spPr>
          <a:xfrm rot="10800000" flipH="1" flipV="1">
            <a:off x="2" y="1295397"/>
            <a:ext cx="5711403" cy="5562599"/>
          </a:xfrm>
          <a:prstGeom prst="round1Rect">
            <a:avLst>
              <a:gd name="adj" fmla="val 13214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ound Diagonal Corner Rectangle 4">
            <a:extLst>
              <a:ext uri="{FF2B5EF4-FFF2-40B4-BE49-F238E27FC236}">
                <a16:creationId xmlns:a16="http://schemas.microsoft.com/office/drawing/2014/main" id="{48643D2C-27A3-F872-8057-EAA88E97219F}"/>
              </a:ext>
            </a:extLst>
          </p:cNvPr>
          <p:cNvSpPr/>
          <p:nvPr userDrawn="1"/>
        </p:nvSpPr>
        <p:spPr>
          <a:xfrm flipH="1">
            <a:off x="5909096" y="1295393"/>
            <a:ext cx="5711403" cy="2560320"/>
          </a:xfrm>
          <a:prstGeom prst="round2DiagRect">
            <a:avLst>
              <a:gd name="adj1" fmla="val 17030"/>
              <a:gd name="adj2" fmla="val 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B03BD9C4-2EAE-1B04-BDE5-5DC59CECF9D0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6127242" y="1509316"/>
            <a:ext cx="1411946" cy="508552"/>
            <a:chOff x="8214662" y="648755"/>
            <a:chExt cx="3558253" cy="1281606"/>
          </a:xfrm>
          <a:solidFill>
            <a:schemeClr val="bg1"/>
          </a:solidFill>
        </p:grpSpPr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id="{9A5CBB0B-C124-F5A3-F3D9-EE8E653D10F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225539" y="1306622"/>
              <a:ext cx="547362" cy="623739"/>
            </a:xfrm>
            <a:prstGeom prst="rect">
              <a:avLst/>
            </a:prstGeom>
          </p:spPr>
        </p:pic>
        <p:sp>
          <p:nvSpPr>
            <p:cNvPr id="8" name="Rounded Rectangle 7">
              <a:extLst>
                <a:ext uri="{FF2B5EF4-FFF2-40B4-BE49-F238E27FC236}">
                  <a16:creationId xmlns:a16="http://schemas.microsoft.com/office/drawing/2014/main" id="{42D67F17-44F9-5415-8939-4311AAE0CD51}"/>
                </a:ext>
              </a:extLst>
            </p:cNvPr>
            <p:cNvSpPr/>
            <p:nvPr/>
          </p:nvSpPr>
          <p:spPr>
            <a:xfrm>
              <a:off x="8214662" y="648755"/>
              <a:ext cx="3558253" cy="1047619"/>
            </a:xfrm>
            <a:prstGeom prst="roundRect">
              <a:avLst>
                <a:gd name="adj" fmla="val 2214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6C017C8E-F142-CD9A-8ED9-31240E244E29}"/>
              </a:ext>
            </a:extLst>
          </p:cNvPr>
          <p:cNvSpPr txBox="1"/>
          <p:nvPr userDrawn="1"/>
        </p:nvSpPr>
        <p:spPr>
          <a:xfrm>
            <a:off x="6092949" y="1624835"/>
            <a:ext cx="1411947" cy="184666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>
              <a:defRPr/>
            </a:pPr>
            <a:r>
              <a:rPr lang="en-US" sz="1200" b="1">
                <a:latin typeface="Fibra One SemiBold" pitchFamily="2" charset="77"/>
                <a:ea typeface="+mj-ea"/>
                <a:cs typeface="+mj-cs"/>
              </a:rPr>
              <a:t>CSO messag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740D185D-65E2-C7E0-F72C-0072D42CF194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6127242" y="4193139"/>
            <a:ext cx="1411946" cy="508552"/>
            <a:chOff x="8214662" y="648755"/>
            <a:chExt cx="3558253" cy="1281606"/>
          </a:xfrm>
          <a:solidFill>
            <a:schemeClr val="bg1"/>
          </a:solidFill>
        </p:grpSpPr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40D3B02B-31FD-047F-EF5D-40696B994B8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11225539" y="1306622"/>
              <a:ext cx="547362" cy="623739"/>
            </a:xfrm>
            <a:prstGeom prst="rect">
              <a:avLst/>
            </a:prstGeom>
          </p:spPr>
        </p:pic>
        <p:sp>
          <p:nvSpPr>
            <p:cNvPr id="12" name="Rounded Rectangle 11">
              <a:extLst>
                <a:ext uri="{FF2B5EF4-FFF2-40B4-BE49-F238E27FC236}">
                  <a16:creationId xmlns:a16="http://schemas.microsoft.com/office/drawing/2014/main" id="{C9F35401-C8D4-843B-F48B-7A6A5ADC42CF}"/>
                </a:ext>
              </a:extLst>
            </p:cNvPr>
            <p:cNvSpPr/>
            <p:nvPr/>
          </p:nvSpPr>
          <p:spPr>
            <a:xfrm>
              <a:off x="8214662" y="648755"/>
              <a:ext cx="3558253" cy="1047619"/>
            </a:xfrm>
            <a:prstGeom prst="roundRect">
              <a:avLst>
                <a:gd name="adj" fmla="val 22144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35A5C22F-AB27-26EC-F8DC-9DA97FCAA99D}"/>
              </a:ext>
            </a:extLst>
          </p:cNvPr>
          <p:cNvSpPr txBox="1"/>
          <p:nvPr userDrawn="1"/>
        </p:nvSpPr>
        <p:spPr>
          <a:xfrm>
            <a:off x="6127242" y="4308658"/>
            <a:ext cx="1411947" cy="184666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algn="ctr">
              <a:defRPr/>
            </a:pPr>
            <a:r>
              <a:rPr lang="en-US" sz="1200" b="1">
                <a:latin typeface="Fibra One SemiBold" pitchFamily="2" charset="77"/>
                <a:ea typeface="+mj-ea"/>
                <a:cs typeface="+mj-cs"/>
              </a:rPr>
              <a:t>CFO messag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8ED6EDD-1FE0-DA4E-BBAF-48D636384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689347"/>
            <a:ext cx="5905500" cy="3323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A69F7A8-29DF-84AB-E55A-CFB2483361E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127241" y="2102161"/>
            <a:ext cx="5279511" cy="1078992"/>
          </a:xfrm>
        </p:spPr>
        <p:txBody>
          <a:bodyPr/>
          <a:lstStyle>
            <a:lvl1pPr marL="0" algn="l" defTabSz="914400" rtl="0" eaLnBrk="1" latinLnBrk="0" hangingPunct="1">
              <a:lnSpc>
                <a:spcPct val="110000"/>
              </a:lnSpc>
              <a:spcAft>
                <a:spcPts val="0"/>
              </a:spcAft>
              <a:defRPr lang="en-US" sz="800" kern="1200" dirty="0" smtClean="0">
                <a:solidFill>
                  <a:schemeClr val="tx1"/>
                </a:solidFill>
                <a:latin typeface="Fibra One Light" pitchFamily="2" charset="77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202EF7B1-F126-E83D-2205-13916ADD785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127241" y="4787886"/>
            <a:ext cx="5279511" cy="1078992"/>
          </a:xfrm>
        </p:spPr>
        <p:txBody>
          <a:bodyPr/>
          <a:lstStyle>
            <a:lvl1pPr marL="0" algn="l" defTabSz="914400" rtl="0" eaLnBrk="1" latinLnBrk="0" hangingPunct="1">
              <a:lnSpc>
                <a:spcPct val="110000"/>
              </a:lnSpc>
              <a:spcAft>
                <a:spcPts val="0"/>
              </a:spcAft>
              <a:defRPr lang="en-US" sz="800" kern="1200" dirty="0" smtClean="0">
                <a:solidFill>
                  <a:schemeClr val="bg1"/>
                </a:solidFill>
                <a:latin typeface="Fibra One Light" pitchFamily="2" charset="77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6">
            <a:extLst>
              <a:ext uri="{FF2B5EF4-FFF2-40B4-BE49-F238E27FC236}">
                <a16:creationId xmlns:a16="http://schemas.microsoft.com/office/drawing/2014/main" id="{3E336196-DAC1-8E7B-B22F-D7D8540496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2900" y="2222547"/>
            <a:ext cx="4768116" cy="4316988"/>
          </a:xfrm>
        </p:spPr>
        <p:txBody>
          <a:bodyPr numCol="2" spcCol="228600"/>
          <a:lstStyle>
            <a:lvl1pPr marL="0" algn="l" defTabSz="914400" rtl="0" eaLnBrk="1" latinLnBrk="0" hangingPunct="1">
              <a:lnSpc>
                <a:spcPct val="110000"/>
              </a:lnSpc>
              <a:spcAft>
                <a:spcPts val="0"/>
              </a:spcAft>
              <a:defRPr lang="en-US" sz="800" kern="1200" dirty="0" smtClean="0">
                <a:solidFill>
                  <a:schemeClr val="tx1"/>
                </a:solidFill>
                <a:latin typeface="Fibra One Light" pitchFamily="2" charset="77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22F0AF28-16D6-4E23-49D4-DFAAE7EAE85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42901" y="1580081"/>
            <a:ext cx="4768116" cy="492443"/>
          </a:xfrm>
        </p:spPr>
        <p:txBody>
          <a:bodyPr vert="horz" wrap="square" lIns="0" tIns="0" rIns="0" bIns="0" rtlCol="0">
            <a:sp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US" sz="1600" b="1" spc="-10" dirty="0" smtClean="0">
                <a:solidFill>
                  <a:srgbClr val="0052DB"/>
                </a:solidFill>
                <a:latin typeface="Fibra One UltraBold" pitchFamily="2" charset="77"/>
                <a:cs typeface="Tahoma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Up to two lin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F5138778-5F56-491F-CAA5-E3F70BAC2845}"/>
              </a:ext>
            </a:extLst>
          </p:cNvPr>
          <p:cNvSpPr txBox="1">
            <a:spLocks/>
          </p:cNvSpPr>
          <p:nvPr userDrawn="1"/>
        </p:nvSpPr>
        <p:spPr>
          <a:xfrm>
            <a:off x="6127241" y="3358106"/>
            <a:ext cx="3156095" cy="29674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3000"/>
              </a:lnSpc>
              <a:spcAft>
                <a:spcPts val="200"/>
              </a:spcAft>
            </a:pPr>
            <a:r>
              <a:rPr lang="en-US" sz="800">
                <a:latin typeface="Fibra One Heavy" panose="00000A00000000000000" pitchFamily="50" charset="0"/>
              </a:rPr>
              <a:t>Jim Andrew</a:t>
            </a:r>
          </a:p>
          <a:p>
            <a:pPr>
              <a:lnSpc>
                <a:spcPct val="113000"/>
              </a:lnSpc>
              <a:spcAft>
                <a:spcPts val="0"/>
              </a:spcAft>
            </a:pPr>
            <a:r>
              <a:rPr lang="en-US" sz="800">
                <a:latin typeface="+mn-lt"/>
              </a:rPr>
              <a:t>Executive Vice President and Chief Sustainability Officer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9B523405-987C-822D-17D7-C2DA752BCE2C}"/>
              </a:ext>
            </a:extLst>
          </p:cNvPr>
          <p:cNvSpPr txBox="1">
            <a:spLocks/>
          </p:cNvSpPr>
          <p:nvPr userDrawn="1"/>
        </p:nvSpPr>
        <p:spPr>
          <a:xfrm>
            <a:off x="6127242" y="5770513"/>
            <a:ext cx="2838958" cy="296748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3000"/>
              </a:lnSpc>
              <a:spcAft>
                <a:spcPts val="200"/>
              </a:spcAft>
            </a:pPr>
            <a:r>
              <a:rPr lang="en-US" sz="800">
                <a:solidFill>
                  <a:schemeClr val="bg1"/>
                </a:solidFill>
                <a:latin typeface="Fibra One Heavy" panose="00000A00000000000000" pitchFamily="50" charset="0"/>
              </a:rPr>
              <a:t>Jamie Caulfield</a:t>
            </a:r>
          </a:p>
          <a:p>
            <a:pPr>
              <a:lnSpc>
                <a:spcPct val="113000"/>
              </a:lnSpc>
              <a:spcAft>
                <a:spcPts val="0"/>
              </a:spcAft>
            </a:pPr>
            <a:r>
              <a:rPr lang="en-US" sz="800">
                <a:solidFill>
                  <a:schemeClr val="bg1"/>
                </a:solidFill>
                <a:latin typeface="+mn-lt"/>
              </a:rPr>
              <a:t>Executive Vice President and Chief Financial Officer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F7F0ECD-E904-62EB-C097-3302E31C6D15}"/>
              </a:ext>
            </a:extLst>
          </p:cNvPr>
          <p:cNvSpPr txBox="1"/>
          <p:nvPr userDrawn="1"/>
        </p:nvSpPr>
        <p:spPr>
          <a:xfrm>
            <a:off x="-1" y="6676328"/>
            <a:ext cx="222781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u="none" strike="noStrike" err="1">
                <a:solidFill>
                  <a:srgbClr val="0065E5"/>
                </a:solidFill>
                <a:effectLst/>
                <a:latin typeface="Fibra One Light" panose="020B0604020202020204" charset="0"/>
              </a:rPr>
              <a:t>pepsico</a:t>
            </a:r>
            <a:r>
              <a:rPr lang="en-US" sz="700" b="0" i="0" u="none" strike="noStrike">
                <a:solidFill>
                  <a:srgbClr val="0065E5"/>
                </a:solidFill>
                <a:effectLst/>
                <a:latin typeface="Fibra One Light" panose="020B0604020202020204" charset="0"/>
              </a:rPr>
              <a:t> positive I </a:t>
            </a:r>
            <a:r>
              <a:rPr lang="en-US" sz="700" b="0" i="0" u="none" strike="noStrike">
                <a:solidFill>
                  <a:srgbClr val="8FDC42"/>
                </a:solidFill>
                <a:effectLst/>
                <a:latin typeface="Fibra One Light" panose="020B0604020202020204" charset="0"/>
              </a:rPr>
              <a:t>confidential &amp; proprietary</a:t>
            </a:r>
            <a:endParaRPr lang="en-US" sz="100">
              <a:solidFill>
                <a:srgbClr val="8FDC42"/>
              </a:solidFill>
              <a:latin typeface="Fibra One Light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18400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view">
    <p:bg>
      <p:bgPr>
        <a:solidFill>
          <a:srgbClr val="E1F3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E06AD8FF-C02A-ED02-A06A-4F9DCF48C3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V="1">
            <a:off x="7614100" y="0"/>
            <a:ext cx="4577900" cy="4577900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321031FC-A3EA-2F90-ED17-7BEFDE7E60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-1" y="2315853"/>
            <a:ext cx="4542147" cy="4542147"/>
          </a:xfrm>
          <a:prstGeom prst="rect">
            <a:avLst/>
          </a:prstGeom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72FE1210-88C4-76AC-1AA4-3D1562F5F8F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257994" y="537493"/>
            <a:ext cx="523031" cy="553457"/>
            <a:chOff x="7003429" y="4740892"/>
            <a:chExt cx="183319" cy="193984"/>
          </a:xfrm>
          <a:solidFill>
            <a:schemeClr val="bg1"/>
          </a:solidFill>
        </p:grpSpPr>
        <p:pic>
          <p:nvPicPr>
            <p:cNvPr id="9" name="Graphic 8">
              <a:extLst>
                <a:ext uri="{FF2B5EF4-FFF2-40B4-BE49-F238E27FC236}">
                  <a16:creationId xmlns:a16="http://schemas.microsoft.com/office/drawing/2014/main" id="{8C984334-EF1E-7827-F504-478C3C46BC2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003429" y="4800703"/>
              <a:ext cx="124813" cy="134173"/>
            </a:xfrm>
            <a:prstGeom prst="rect">
              <a:avLst/>
            </a:prstGeom>
          </p:spPr>
        </p:pic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56A3FCB2-87CF-9124-7E56-9FABE4B3AD7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7128522" y="4740892"/>
              <a:ext cx="58226" cy="62592"/>
            </a:xfrm>
            <a:prstGeom prst="rect">
              <a:avLst/>
            </a:prstGeom>
          </p:spPr>
        </p:pic>
      </p:grpSp>
      <p:sp>
        <p:nvSpPr>
          <p:cNvPr id="11" name="object 17">
            <a:extLst>
              <a:ext uri="{FF2B5EF4-FFF2-40B4-BE49-F238E27FC236}">
                <a16:creationId xmlns:a16="http://schemas.microsoft.com/office/drawing/2014/main" id="{DB373330-40BA-35E2-65EF-BA68D0D54D9B}"/>
              </a:ext>
            </a:extLst>
          </p:cNvPr>
          <p:cNvSpPr txBox="1">
            <a:spLocks/>
          </p:cNvSpPr>
          <p:nvPr userDrawn="1"/>
        </p:nvSpPr>
        <p:spPr>
          <a:xfrm>
            <a:off x="11649283" y="210332"/>
            <a:ext cx="425305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653A1D-CE81-1B46-9F19-36F2F8F55CD9}" type="slidenum">
              <a:rPr kumimoji="0" lang="en-IN" sz="700" b="1" i="0" u="none" strike="noStrike" kern="1200" cap="none" spc="0" normalizeH="0" baseline="0" noProof="0" smtClean="0">
                <a:ln>
                  <a:noFill/>
                </a:ln>
                <a:solidFill>
                  <a:srgbClr val="001D90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pPr marL="1270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srgbClr val="001D90"/>
              </a:solidFill>
              <a:effectLst/>
              <a:uLnTx/>
              <a:uFillTx/>
              <a:latin typeface="Fibra One" pitchFamily="2" charset="77"/>
              <a:ea typeface="+mj-ea"/>
              <a:cs typeface="+mj-cs"/>
            </a:endParaRPr>
          </a:p>
        </p:txBody>
      </p:sp>
      <p:sp>
        <p:nvSpPr>
          <p:cNvPr id="12" name="Round Same Side Corner Rectangle 11">
            <a:extLst>
              <a:ext uri="{FF2B5EF4-FFF2-40B4-BE49-F238E27FC236}">
                <a16:creationId xmlns:a16="http://schemas.microsoft.com/office/drawing/2014/main" id="{3FF65D72-85C3-656F-F1D9-B0064D77C3BA}"/>
              </a:ext>
            </a:extLst>
          </p:cNvPr>
          <p:cNvSpPr/>
          <p:nvPr userDrawn="1"/>
        </p:nvSpPr>
        <p:spPr>
          <a:xfrm>
            <a:off x="4689451" y="4465321"/>
            <a:ext cx="2813099" cy="2392680"/>
          </a:xfrm>
          <a:prstGeom prst="round2SameRect">
            <a:avLst>
              <a:gd name="adj1" fmla="val 11029"/>
              <a:gd name="adj2" fmla="val 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ound Same Side Corner Rectangle 12">
            <a:extLst>
              <a:ext uri="{FF2B5EF4-FFF2-40B4-BE49-F238E27FC236}">
                <a16:creationId xmlns:a16="http://schemas.microsoft.com/office/drawing/2014/main" id="{D20C1B47-D532-0228-0346-5F9F9CE06334}"/>
              </a:ext>
            </a:extLst>
          </p:cNvPr>
          <p:cNvSpPr/>
          <p:nvPr userDrawn="1"/>
        </p:nvSpPr>
        <p:spPr>
          <a:xfrm>
            <a:off x="7623475" y="4465321"/>
            <a:ext cx="2813099" cy="2392680"/>
          </a:xfrm>
          <a:prstGeom prst="round2SameRect">
            <a:avLst>
              <a:gd name="adj1" fmla="val 11029"/>
              <a:gd name="adj2" fmla="val 0"/>
            </a:avLst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6363D6F-504E-90BF-BBE6-B0E05DB489AA}"/>
              </a:ext>
            </a:extLst>
          </p:cNvPr>
          <p:cNvSpPr txBox="1"/>
          <p:nvPr userDrawn="1"/>
        </p:nvSpPr>
        <p:spPr>
          <a:xfrm>
            <a:off x="2128380" y="1612107"/>
            <a:ext cx="7935240" cy="138499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bra One" pitchFamily="2" charset="77"/>
                <a:ea typeface="+mn-ea"/>
                <a:cs typeface="+mn-cs"/>
              </a:rPr>
              <a:t>Our vision is to </a:t>
            </a:r>
            <a:r>
              <a:rPr kumimoji="0" lang="en-US" sz="1600" b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bra One Bold" pitchFamily="2" charset="77"/>
              </a:rPr>
              <a:t>Be the Global Leader in </a:t>
            </a:r>
            <a:r>
              <a:rPr kumimoji="0" lang="en-IN" sz="1600" b="1" u="none" strike="noStrike" kern="1200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bra One Bold" pitchFamily="2" charset="77"/>
                <a:ea typeface="+mn-ea"/>
                <a:cs typeface="+mn-cs"/>
              </a:rPr>
              <a:t>Convenient Foods and Drink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bra One Bold" pitchFamily="2" charset="77"/>
              </a:rPr>
              <a:t>by Winning with PepsiCo Positive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bra One" pitchFamily="2" charset="77"/>
                <a:ea typeface="+mn-ea"/>
                <a:cs typeface="+mn-cs"/>
              </a:rPr>
              <a:t> (pep+)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bra One" pitchFamily="2" charset="77"/>
                <a:ea typeface="+mn-ea"/>
                <a:cs typeface="+mn-cs"/>
              </a:rPr>
              <a:t>pep+ is our strategic end-to-end transformation that places sustainability at the center of how we will create growth and value by operating within planetary boundaries and inspiring positive change for the </a:t>
            </a:r>
            <a:r>
              <a:rPr lang="en-US" sz="1600" b="1">
                <a:solidFill>
                  <a:srgbClr val="000000"/>
                </a:solidFill>
                <a:latin typeface="Fibra One Bold" pitchFamily="2" charset="77"/>
              </a:rPr>
              <a:t>planet and people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bra One" pitchFamily="2" charset="77"/>
                <a:ea typeface="+mn-ea"/>
                <a:cs typeface="+mn-cs"/>
              </a:rPr>
              <a:t>.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17FD388-3538-AFC4-6E8E-25D244FE2C55}"/>
              </a:ext>
            </a:extLst>
          </p:cNvPr>
          <p:cNvGrpSpPr/>
          <p:nvPr userDrawn="1"/>
        </p:nvGrpSpPr>
        <p:grpSpPr>
          <a:xfrm>
            <a:off x="3890143" y="3240418"/>
            <a:ext cx="4411714" cy="776243"/>
            <a:chOff x="5148976" y="-719374"/>
            <a:chExt cx="4411714" cy="776243"/>
          </a:xfrm>
        </p:grpSpPr>
        <p:pic>
          <p:nvPicPr>
            <p:cNvPr id="16" name="Graphic 15">
              <a:extLst>
                <a:ext uri="{FF2B5EF4-FFF2-40B4-BE49-F238E27FC236}">
                  <a16:creationId xmlns:a16="http://schemas.microsoft.com/office/drawing/2014/main" id="{0A313D5B-A02A-C5F9-DE42-C1F5A9C4197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014590" y="-565431"/>
              <a:ext cx="546100" cy="622300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277C262F-42D6-AF4C-FF26-E5D7C3AB63AB}"/>
                </a:ext>
              </a:extLst>
            </p:cNvPr>
            <p:cNvSpPr txBox="1"/>
            <p:nvPr/>
          </p:nvSpPr>
          <p:spPr>
            <a:xfrm>
              <a:off x="5148976" y="-719374"/>
              <a:ext cx="4411714" cy="539794"/>
            </a:xfrm>
            <a:prstGeom prst="roundRect">
              <a:avLst>
                <a:gd name="adj" fmla="val 22124"/>
              </a:avLst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>
                  <a:ln>
                    <a:noFill/>
                  </a:ln>
                  <a:solidFill>
                    <a:srgbClr val="0052DB"/>
                  </a:solidFill>
                  <a:effectLst/>
                  <a:uLnTx/>
                  <a:uFillTx/>
                  <a:latin typeface="Fibra One SemiBold" pitchFamily="2" charset="77"/>
                  <a:ea typeface="+mn-ea"/>
                  <a:cs typeface="+mn-cs"/>
                </a:rPr>
                <a:t>pep+ has three interconnected pillars:</a:t>
              </a:r>
            </a:p>
          </p:txBody>
        </p:sp>
      </p:grpSp>
      <p:sp>
        <p:nvSpPr>
          <p:cNvPr id="18" name="Round Same Side Corner Rectangle 17">
            <a:extLst>
              <a:ext uri="{FF2B5EF4-FFF2-40B4-BE49-F238E27FC236}">
                <a16:creationId xmlns:a16="http://schemas.microsoft.com/office/drawing/2014/main" id="{CEE03FD6-92B7-1922-13B5-A8EB40F0DE19}"/>
              </a:ext>
            </a:extLst>
          </p:cNvPr>
          <p:cNvSpPr/>
          <p:nvPr userDrawn="1"/>
        </p:nvSpPr>
        <p:spPr>
          <a:xfrm>
            <a:off x="1755426" y="4465321"/>
            <a:ext cx="2813099" cy="2392680"/>
          </a:xfrm>
          <a:prstGeom prst="round2SameRect">
            <a:avLst>
              <a:gd name="adj1" fmla="val 11029"/>
              <a:gd name="adj2" fmla="val 0"/>
            </a:avLst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bject 7">
            <a:extLst>
              <a:ext uri="{FF2B5EF4-FFF2-40B4-BE49-F238E27FC236}">
                <a16:creationId xmlns:a16="http://schemas.microsoft.com/office/drawing/2014/main" id="{8A950B9C-2D2A-15B5-DBE7-150F78CCA311}"/>
              </a:ext>
            </a:extLst>
          </p:cNvPr>
          <p:cNvSpPr txBox="1"/>
          <p:nvPr userDrawn="1"/>
        </p:nvSpPr>
        <p:spPr>
          <a:xfrm>
            <a:off x="7941937" y="5728361"/>
            <a:ext cx="2176174" cy="790473"/>
          </a:xfrm>
          <a:prstGeom prst="rect">
            <a:avLst/>
          </a:prstGeom>
        </p:spPr>
        <p:txBody>
          <a:bodyPr vert="horz" wrap="square" lIns="0" tIns="3492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3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u="none" strike="noStrike" kern="1200" cap="none" spc="-3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bra One" pitchFamily="2" charset="77"/>
              </a:rPr>
              <a:t>We are inspiring people through our brands to make choices that create more smiles for them and the planet.</a:t>
            </a:r>
          </a:p>
        </p:txBody>
      </p:sp>
      <p:sp>
        <p:nvSpPr>
          <p:cNvPr id="20" name="object 7">
            <a:extLst>
              <a:ext uri="{FF2B5EF4-FFF2-40B4-BE49-F238E27FC236}">
                <a16:creationId xmlns:a16="http://schemas.microsoft.com/office/drawing/2014/main" id="{B990BD09-E2B7-C8F4-3EDE-F49038389C6F}"/>
              </a:ext>
            </a:extLst>
          </p:cNvPr>
          <p:cNvSpPr txBox="1"/>
          <p:nvPr userDrawn="1"/>
        </p:nvSpPr>
        <p:spPr>
          <a:xfrm>
            <a:off x="4938383" y="5728361"/>
            <a:ext cx="2315235" cy="407932"/>
          </a:xfrm>
          <a:prstGeom prst="rect">
            <a:avLst/>
          </a:prstGeom>
        </p:spPr>
        <p:txBody>
          <a:bodyPr vert="horz" wrap="square" lIns="0" tIns="3492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3000"/>
              </a:lnSpc>
              <a:spcBef>
                <a:spcPts val="3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u="none" strike="noStrike" kern="1200" cap="none" spc="-3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bra One" pitchFamily="2" charset="77"/>
              </a:rPr>
              <a:t>We are helping to build a circular and inclusive value chain.</a:t>
            </a:r>
          </a:p>
        </p:txBody>
      </p:sp>
      <p:sp>
        <p:nvSpPr>
          <p:cNvPr id="21" name="object 7">
            <a:extLst>
              <a:ext uri="{FF2B5EF4-FFF2-40B4-BE49-F238E27FC236}">
                <a16:creationId xmlns:a16="http://schemas.microsoft.com/office/drawing/2014/main" id="{D83791B2-B5B9-FB54-716C-37654345339D}"/>
              </a:ext>
            </a:extLst>
          </p:cNvPr>
          <p:cNvSpPr txBox="1"/>
          <p:nvPr userDrawn="1"/>
        </p:nvSpPr>
        <p:spPr>
          <a:xfrm>
            <a:off x="1991428" y="5728361"/>
            <a:ext cx="2341095" cy="790473"/>
          </a:xfrm>
          <a:prstGeom prst="rect">
            <a:avLst/>
          </a:prstGeom>
        </p:spPr>
        <p:txBody>
          <a:bodyPr vert="horz" wrap="square" lIns="0" tIns="34925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13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u="none" strike="noStrike" kern="1200" cap="none" spc="-30" normalizeH="0" baseline="0" noProof="0">
                <a:ln>
                  <a:noFill/>
                </a:ln>
                <a:effectLst/>
                <a:uLnTx/>
                <a:uFillTx/>
                <a:latin typeface="Fibra One" pitchFamily="2" charset="77"/>
              </a:rPr>
              <a:t>We are working to source our crops and ingredients in ways that restore the earth and strengthen farming communities.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F0E87EF3-C3F8-D647-6E8A-FB43A1B23478}"/>
              </a:ext>
            </a:extLst>
          </p:cNvPr>
          <p:cNvSpPr txBox="1">
            <a:spLocks/>
          </p:cNvSpPr>
          <p:nvPr userDrawn="1"/>
        </p:nvSpPr>
        <p:spPr>
          <a:xfrm>
            <a:off x="2259971" y="5221224"/>
            <a:ext cx="1804009" cy="443198"/>
          </a:xfrm>
          <a:prstGeom prst="rect">
            <a:avLst/>
          </a:prstGeom>
          <a:noFill/>
        </p:spPr>
        <p:txBody>
          <a:bodyPr vert="horz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1200" b="1">
                <a:latin typeface="Fibra One SemiBold" pitchFamily="2" charset="77"/>
              </a:rPr>
              <a:t>Positive </a:t>
            </a:r>
          </a:p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2000" b="1">
                <a:latin typeface="Fibra One SemiBold" pitchFamily="2" charset="77"/>
              </a:rPr>
              <a:t>Agricultur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1ED9174D-797F-BBD1-8EF2-0048CF1B3D4C}"/>
              </a:ext>
            </a:extLst>
          </p:cNvPr>
          <p:cNvSpPr txBox="1">
            <a:spLocks/>
          </p:cNvSpPr>
          <p:nvPr userDrawn="1"/>
        </p:nvSpPr>
        <p:spPr>
          <a:xfrm>
            <a:off x="5193996" y="5221224"/>
            <a:ext cx="1804009" cy="443198"/>
          </a:xfrm>
          <a:prstGeom prst="rect">
            <a:avLst/>
          </a:prstGeom>
          <a:noFill/>
        </p:spPr>
        <p:txBody>
          <a:bodyPr vert="horz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1200" b="1">
                <a:solidFill>
                  <a:schemeClr val="bg1"/>
                </a:solidFill>
                <a:latin typeface="Fibra One SemiBold" pitchFamily="2" charset="77"/>
              </a:rPr>
              <a:t>Positive </a:t>
            </a:r>
          </a:p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2000" b="1">
                <a:solidFill>
                  <a:schemeClr val="bg1"/>
                </a:solidFill>
                <a:latin typeface="Fibra One SemiBold" pitchFamily="2" charset="77"/>
              </a:rPr>
              <a:t>Value Chain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BACC5EFF-18FE-ED9C-7BC9-BFB423F2A6FE}"/>
              </a:ext>
            </a:extLst>
          </p:cNvPr>
          <p:cNvSpPr txBox="1">
            <a:spLocks/>
          </p:cNvSpPr>
          <p:nvPr userDrawn="1"/>
        </p:nvSpPr>
        <p:spPr>
          <a:xfrm>
            <a:off x="8128020" y="5221224"/>
            <a:ext cx="1804009" cy="443198"/>
          </a:xfrm>
          <a:prstGeom prst="rect">
            <a:avLst/>
          </a:prstGeom>
          <a:noFill/>
        </p:spPr>
        <p:txBody>
          <a:bodyPr vert="horz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1200" b="1">
                <a:solidFill>
                  <a:schemeClr val="bg1"/>
                </a:solidFill>
                <a:latin typeface="Fibra One SemiBold" pitchFamily="2" charset="77"/>
              </a:rPr>
              <a:t>Positive </a:t>
            </a:r>
          </a:p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2000" b="1">
                <a:solidFill>
                  <a:schemeClr val="bg1"/>
                </a:solidFill>
                <a:latin typeface="Fibra One SemiBold" pitchFamily="2" charset="77"/>
              </a:rPr>
              <a:t>Choic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4DAF4305-E010-B57F-DC18-D281AB698F1E}"/>
              </a:ext>
            </a:extLst>
          </p:cNvPr>
          <p:cNvSpPr txBox="1"/>
          <p:nvPr userDrawn="1"/>
        </p:nvSpPr>
        <p:spPr>
          <a:xfrm>
            <a:off x="5091306" y="713874"/>
            <a:ext cx="2009388" cy="19389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lvl="0" inden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0" spc="0" baseline="0">
                <a:solidFill>
                  <a:srgbClr val="0052DB"/>
                </a:solidFill>
                <a:ea typeface="+mj-ea"/>
                <a:cs typeface="+mj-cs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/>
            </a:lvl2pPr>
            <a:lvl3pPr marL="228600" indent="-2286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/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 algn="ctr"/>
            <a:r>
              <a:rPr lang="en-US"/>
              <a:t>pep+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51B489C-7B18-E6FF-1FB6-9A8769BF67D9}"/>
              </a:ext>
            </a:extLst>
          </p:cNvPr>
          <p:cNvSpPr txBox="1"/>
          <p:nvPr userDrawn="1"/>
        </p:nvSpPr>
        <p:spPr>
          <a:xfrm>
            <a:off x="3726984" y="994046"/>
            <a:ext cx="4738033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400" b="0" spc="0" baseline="0">
                <a:latin typeface="Fibra One UltraBold" panose="00000900000000000000" pitchFamily="50" charset="0"/>
                <a:ea typeface="+mj-ea"/>
                <a:cs typeface="+mj-cs"/>
              </a:defRPr>
            </a:lvl1pPr>
            <a:lvl2pPr marL="0" indent="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/>
            </a:lvl2pPr>
            <a:lvl3pPr marL="228600" indent="-2286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/>
            </a:lvl3pPr>
            <a:lvl4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/>
            </a:lvl4pPr>
            <a:lvl5pPr marL="0" indent="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 algn="ctr"/>
            <a:r>
              <a:rPr lang="en-US"/>
              <a:t>Overview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EF81DFE-E627-482A-63CA-97B6E8CCB908}"/>
              </a:ext>
            </a:extLst>
          </p:cNvPr>
          <p:cNvSpPr txBox="1"/>
          <p:nvPr userDrawn="1"/>
        </p:nvSpPr>
        <p:spPr>
          <a:xfrm>
            <a:off x="-1" y="6676328"/>
            <a:ext cx="222781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u="none" strike="noStrike" err="1">
                <a:solidFill>
                  <a:srgbClr val="0065E5"/>
                </a:solidFill>
                <a:effectLst/>
                <a:latin typeface="Fibra One Light" panose="020B0604020202020204" charset="0"/>
              </a:rPr>
              <a:t>pepsico</a:t>
            </a:r>
            <a:r>
              <a:rPr lang="en-US" sz="700" b="0" i="0" u="none" strike="noStrike">
                <a:solidFill>
                  <a:srgbClr val="0065E5"/>
                </a:solidFill>
                <a:effectLst/>
                <a:latin typeface="Fibra One Light" panose="020B0604020202020204" charset="0"/>
              </a:rPr>
              <a:t> positive I </a:t>
            </a:r>
            <a:r>
              <a:rPr lang="en-US" sz="700" b="0" i="0" u="none" strike="noStrike">
                <a:solidFill>
                  <a:srgbClr val="8FDC42"/>
                </a:solidFill>
                <a:effectLst/>
                <a:latin typeface="Fibra One Light" panose="020B0604020202020204" charset="0"/>
              </a:rPr>
              <a:t>confidential &amp; proprietary</a:t>
            </a:r>
            <a:endParaRPr lang="en-US" sz="100">
              <a:solidFill>
                <a:srgbClr val="8FDC42"/>
              </a:solidFill>
              <a:latin typeface="Fibra One Light" panose="020B060402020202020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FDCFFF-D303-19AE-1A1A-996191403E64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6" b="56"/>
          <a:stretch/>
        </p:blipFill>
        <p:spPr>
          <a:xfrm>
            <a:off x="8526540" y="3962400"/>
            <a:ext cx="1006968" cy="1005840"/>
          </a:xfrm>
          <a:prstGeom prst="ellipse">
            <a:avLst/>
          </a:prstGeom>
          <a:ln w="38100">
            <a:solidFill>
              <a:srgbClr val="E1F3FA"/>
            </a:solidFill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73C8A24-83FB-64F5-6A91-F0D8F0B8178B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56" b="56"/>
          <a:stretch/>
        </p:blipFill>
        <p:spPr>
          <a:xfrm>
            <a:off x="5592516" y="3962400"/>
            <a:ext cx="1006968" cy="1005840"/>
          </a:xfrm>
          <a:prstGeom prst="ellipse">
            <a:avLst/>
          </a:prstGeom>
          <a:ln w="38100">
            <a:solidFill>
              <a:srgbClr val="E1F3FA"/>
            </a:solidFill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E9968C0B-C1E9-F4E8-E14E-6C708C83B1DD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8491" y="3962400"/>
            <a:ext cx="1006968" cy="1005840"/>
          </a:xfrm>
          <a:prstGeom prst="ellipse">
            <a:avLst/>
          </a:prstGeom>
          <a:ln w="38100">
            <a:solidFill>
              <a:srgbClr val="E1F3FA"/>
            </a:solidFill>
          </a:ln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67BBF2F9-C0FF-8985-5C1C-73DC339CAB77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185357" y="4732140"/>
            <a:ext cx="565533" cy="662486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180DAA55-E803-09FC-FAA3-08CC753D80DE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366714" y="4097901"/>
            <a:ext cx="180660" cy="180660"/>
          </a:xfrm>
          <a:prstGeom prst="rect">
            <a:avLst/>
          </a:prstGeom>
        </p:spPr>
      </p:pic>
      <p:pic>
        <p:nvPicPr>
          <p:cNvPr id="35" name="Graphic 34">
            <a:extLst>
              <a:ext uri="{FF2B5EF4-FFF2-40B4-BE49-F238E27FC236}">
                <a16:creationId xmlns:a16="http://schemas.microsoft.com/office/drawing/2014/main" id="{B4687EB8-2F4D-6DF4-18F4-A6289E68DDE6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585648" y="4317675"/>
            <a:ext cx="408802" cy="503602"/>
          </a:xfrm>
          <a:prstGeom prst="rect">
            <a:avLst/>
          </a:prstGeom>
        </p:spPr>
      </p:pic>
      <p:sp>
        <p:nvSpPr>
          <p:cNvPr id="36" name="Oval 35">
            <a:extLst>
              <a:ext uri="{FF2B5EF4-FFF2-40B4-BE49-F238E27FC236}">
                <a16:creationId xmlns:a16="http://schemas.microsoft.com/office/drawing/2014/main" id="{FE7F3179-F413-7583-04EE-3F613EBBF39C}"/>
              </a:ext>
            </a:extLst>
          </p:cNvPr>
          <p:cNvSpPr/>
          <p:nvPr userDrawn="1"/>
        </p:nvSpPr>
        <p:spPr>
          <a:xfrm>
            <a:off x="5594350" y="3962400"/>
            <a:ext cx="1003300" cy="1003300"/>
          </a:xfrm>
          <a:prstGeom prst="ellipse">
            <a:avLst/>
          </a:prstGeom>
          <a:noFill/>
          <a:ln>
            <a:solidFill>
              <a:srgbClr val="F6E9C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Oval 36">
            <a:extLst>
              <a:ext uri="{FF2B5EF4-FFF2-40B4-BE49-F238E27FC236}">
                <a16:creationId xmlns:a16="http://schemas.microsoft.com/office/drawing/2014/main" id="{A9CFE5FA-F07E-EF07-9627-28B9EDF46901}"/>
              </a:ext>
            </a:extLst>
          </p:cNvPr>
          <p:cNvSpPr/>
          <p:nvPr userDrawn="1"/>
        </p:nvSpPr>
        <p:spPr>
          <a:xfrm>
            <a:off x="8528050" y="3962400"/>
            <a:ext cx="1003300" cy="1003300"/>
          </a:xfrm>
          <a:prstGeom prst="ellipse">
            <a:avLst/>
          </a:prstGeom>
          <a:noFill/>
          <a:ln>
            <a:solidFill>
              <a:srgbClr val="F6E9C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2FD9B1D4-EC42-7702-D086-F5726110873C}"/>
              </a:ext>
            </a:extLst>
          </p:cNvPr>
          <p:cNvSpPr/>
          <p:nvPr userDrawn="1"/>
        </p:nvSpPr>
        <p:spPr>
          <a:xfrm>
            <a:off x="2660650" y="3962400"/>
            <a:ext cx="1003300" cy="1003300"/>
          </a:xfrm>
          <a:prstGeom prst="ellipse">
            <a:avLst/>
          </a:prstGeom>
          <a:noFill/>
          <a:ln>
            <a:solidFill>
              <a:srgbClr val="F6E9C8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8046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alue Ch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ED6EDD-1FE0-DA4E-BBAF-48D636384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689347"/>
            <a:ext cx="3602736" cy="3323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Round Same Side Corner Rectangle 1">
            <a:extLst>
              <a:ext uri="{FF2B5EF4-FFF2-40B4-BE49-F238E27FC236}">
                <a16:creationId xmlns:a16="http://schemas.microsoft.com/office/drawing/2014/main" id="{D3F05D43-8F1E-0FB9-4E9A-93BDAC42F03F}"/>
              </a:ext>
            </a:extLst>
          </p:cNvPr>
          <p:cNvSpPr/>
          <p:nvPr userDrawn="1"/>
        </p:nvSpPr>
        <p:spPr>
          <a:xfrm>
            <a:off x="5848730" y="534572"/>
            <a:ext cx="1626559" cy="1067290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ound Same Side Corner Rectangle 2">
            <a:extLst>
              <a:ext uri="{FF2B5EF4-FFF2-40B4-BE49-F238E27FC236}">
                <a16:creationId xmlns:a16="http://schemas.microsoft.com/office/drawing/2014/main" id="{C00ADAFF-8EFF-C317-5A74-DDAAAF519A6C}"/>
              </a:ext>
            </a:extLst>
          </p:cNvPr>
          <p:cNvSpPr/>
          <p:nvPr userDrawn="1"/>
        </p:nvSpPr>
        <p:spPr>
          <a:xfrm>
            <a:off x="7530810" y="534572"/>
            <a:ext cx="1626559" cy="1067290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ound Same Side Corner Rectangle 4">
            <a:extLst>
              <a:ext uri="{FF2B5EF4-FFF2-40B4-BE49-F238E27FC236}">
                <a16:creationId xmlns:a16="http://schemas.microsoft.com/office/drawing/2014/main" id="{18F4598B-E19F-E62F-31F2-7191785707BD}"/>
              </a:ext>
            </a:extLst>
          </p:cNvPr>
          <p:cNvSpPr/>
          <p:nvPr userDrawn="1"/>
        </p:nvSpPr>
        <p:spPr>
          <a:xfrm>
            <a:off x="9212891" y="534572"/>
            <a:ext cx="1626559" cy="1067290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ound Same Side Corner Rectangle 5">
            <a:extLst>
              <a:ext uri="{FF2B5EF4-FFF2-40B4-BE49-F238E27FC236}">
                <a16:creationId xmlns:a16="http://schemas.microsoft.com/office/drawing/2014/main" id="{90ACC3B7-747B-ADB7-05A6-A1BB0F9F5C2A}"/>
              </a:ext>
            </a:extLst>
          </p:cNvPr>
          <p:cNvSpPr/>
          <p:nvPr userDrawn="1"/>
        </p:nvSpPr>
        <p:spPr>
          <a:xfrm>
            <a:off x="4166650" y="534572"/>
            <a:ext cx="1626559" cy="1067290"/>
          </a:xfrm>
          <a:prstGeom prst="round2Same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ound Single Corner Rectangle 6">
            <a:extLst>
              <a:ext uri="{FF2B5EF4-FFF2-40B4-BE49-F238E27FC236}">
                <a16:creationId xmlns:a16="http://schemas.microsoft.com/office/drawing/2014/main" id="{B09F65D2-44B9-219E-5687-69F7FB7D5ED4}"/>
              </a:ext>
            </a:extLst>
          </p:cNvPr>
          <p:cNvSpPr/>
          <p:nvPr userDrawn="1"/>
        </p:nvSpPr>
        <p:spPr>
          <a:xfrm>
            <a:off x="0" y="1601862"/>
            <a:ext cx="11620500" cy="5256137"/>
          </a:xfrm>
          <a:prstGeom prst="round1Rect">
            <a:avLst>
              <a:gd name="adj" fmla="val 158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A887D31-7834-6334-AA9C-BCB7C1ACB59B}"/>
              </a:ext>
            </a:extLst>
          </p:cNvPr>
          <p:cNvSpPr txBox="1"/>
          <p:nvPr userDrawn="1"/>
        </p:nvSpPr>
        <p:spPr>
          <a:xfrm>
            <a:off x="5957921" y="689347"/>
            <a:ext cx="1408176" cy="75405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R="0" lvl="0" indent="0" algn="ctr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>
                <a:solidFill>
                  <a:schemeClr val="bg1"/>
                </a:solidFill>
                <a:latin typeface="Fibra One UltraBold" panose="00000900000000000000" pitchFamily="50" charset="0"/>
              </a:rPr>
              <a:t>1B+</a:t>
            </a:r>
          </a:p>
          <a:p>
            <a:pPr algn="ctr"/>
            <a:r>
              <a:rPr lang="en-US" sz="900">
                <a:solidFill>
                  <a:schemeClr val="bg1"/>
                </a:solidFill>
                <a:latin typeface="Fibra One SemiBold" panose="00000700000000000000" pitchFamily="50" charset="0"/>
              </a:rPr>
              <a:t>times each day PepsiCo products are enjoyed around the world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FD290FC-F15F-40B1-9FC7-8F41007999D0}"/>
              </a:ext>
            </a:extLst>
          </p:cNvPr>
          <p:cNvSpPr txBox="1"/>
          <p:nvPr userDrawn="1"/>
        </p:nvSpPr>
        <p:spPr>
          <a:xfrm>
            <a:off x="7640001" y="689347"/>
            <a:ext cx="1408176" cy="477054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R="0" lvl="0" indent="0" algn="ctr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>
                <a:solidFill>
                  <a:schemeClr val="bg1"/>
                </a:solidFill>
                <a:latin typeface="Fibra One UltraBold" panose="00000900000000000000" pitchFamily="50" charset="0"/>
              </a:rPr>
              <a:t>$91B+</a:t>
            </a:r>
          </a:p>
          <a:p>
            <a:pPr algn="ctr"/>
            <a:r>
              <a:rPr lang="en-US" sz="900">
                <a:solidFill>
                  <a:schemeClr val="bg1"/>
                </a:solidFill>
                <a:latin typeface="Fibra One SemiBold" panose="00000700000000000000" pitchFamily="50" charset="0"/>
              </a:rPr>
              <a:t>net revenue in 2023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83CFD03-10C1-A9BB-95FD-416F2FFA3D1B}"/>
              </a:ext>
            </a:extLst>
          </p:cNvPr>
          <p:cNvSpPr txBox="1"/>
          <p:nvPr userDrawn="1"/>
        </p:nvSpPr>
        <p:spPr>
          <a:xfrm>
            <a:off x="9322082" y="689347"/>
            <a:ext cx="1408176" cy="754053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marR="0" lvl="0" indent="0" algn="ctr" fontAlgn="auto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>
                <a:solidFill>
                  <a:schemeClr val="bg1"/>
                </a:solidFill>
                <a:latin typeface="Fibra One UltraBold" panose="00000900000000000000" pitchFamily="50" charset="0"/>
              </a:rPr>
              <a:t>200+</a:t>
            </a:r>
          </a:p>
          <a:p>
            <a:pPr algn="ctr"/>
            <a:r>
              <a:rPr lang="en-US" sz="900">
                <a:solidFill>
                  <a:schemeClr val="bg1"/>
                </a:solidFill>
                <a:latin typeface="Fibra One SemiBold" panose="00000700000000000000" pitchFamily="50" charset="0"/>
              </a:rPr>
              <a:t>countries and territories where our products are sold</a:t>
            </a:r>
          </a:p>
        </p:txBody>
      </p:sp>
      <p:pic>
        <p:nvPicPr>
          <p:cNvPr id="22" name="Picture 21" descr="A picture containing animated cartoon, clipart, cartoon&#10;&#10;Description automatically generated">
            <a:extLst>
              <a:ext uri="{FF2B5EF4-FFF2-40B4-BE49-F238E27FC236}">
                <a16:creationId xmlns:a16="http://schemas.microsoft.com/office/drawing/2014/main" id="{4E3262C6-1C55-8A46-15CB-4AB1AA5B431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3407" r="2007" b="4472"/>
          <a:stretch/>
        </p:blipFill>
        <p:spPr>
          <a:xfrm>
            <a:off x="4188069" y="1865623"/>
            <a:ext cx="7183315" cy="488513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0290D08-5FE5-1811-84D9-124311F30370}"/>
              </a:ext>
            </a:extLst>
          </p:cNvPr>
          <p:cNvSpPr txBox="1"/>
          <p:nvPr userDrawn="1"/>
        </p:nvSpPr>
        <p:spPr>
          <a:xfrm>
            <a:off x="-1" y="6676328"/>
            <a:ext cx="222781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u="none" strike="noStrike" err="1">
                <a:solidFill>
                  <a:srgbClr val="0065E5"/>
                </a:solidFill>
                <a:effectLst/>
                <a:latin typeface="Fibra One Light" panose="020B0604020202020204" charset="0"/>
              </a:rPr>
              <a:t>pepsico</a:t>
            </a:r>
            <a:r>
              <a:rPr lang="en-US" sz="700" b="0" i="0" u="none" strike="noStrike">
                <a:solidFill>
                  <a:srgbClr val="0065E5"/>
                </a:solidFill>
                <a:effectLst/>
                <a:latin typeface="Fibra One Light" panose="020B0604020202020204" charset="0"/>
              </a:rPr>
              <a:t> positive I </a:t>
            </a:r>
            <a:r>
              <a:rPr lang="en-US" sz="700" b="0" i="0" u="none" strike="noStrike">
                <a:solidFill>
                  <a:srgbClr val="8FDC42"/>
                </a:solidFill>
                <a:effectLst/>
                <a:latin typeface="Fibra One Light" panose="020B0604020202020204" charset="0"/>
              </a:rPr>
              <a:t>confidential &amp; proprietary</a:t>
            </a:r>
            <a:endParaRPr lang="en-US" sz="100">
              <a:solidFill>
                <a:srgbClr val="8FDC42"/>
              </a:solidFill>
              <a:latin typeface="Fibra One Light" panose="020B060402020202020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D05B1E9-7B84-7A6D-6D60-52384FD0FB6D}"/>
              </a:ext>
            </a:extLst>
          </p:cNvPr>
          <p:cNvSpPr txBox="1"/>
          <p:nvPr userDrawn="1"/>
        </p:nvSpPr>
        <p:spPr>
          <a:xfrm>
            <a:off x="4275841" y="689347"/>
            <a:ext cx="1408176" cy="846386"/>
          </a:xfrm>
          <a:prstGeom prst="rect">
            <a:avLst/>
          </a:prstGeom>
          <a:noFill/>
        </p:spPr>
        <p:txBody>
          <a:bodyPr wrap="square" lIns="0" tIns="0" rIns="0" bIns="0" anchor="t">
            <a:spAutoFit/>
          </a:bodyPr>
          <a:lstStyle/>
          <a:p>
            <a:pPr algn="ctr"/>
            <a:r>
              <a:rPr lang="en-IN" sz="2200">
                <a:solidFill>
                  <a:schemeClr val="bg1"/>
                </a:solidFill>
                <a:latin typeface="Fibra One UltraBold" panose="00000900000000000000" pitchFamily="50" charset="0"/>
              </a:rPr>
              <a:t>~318K</a:t>
            </a:r>
          </a:p>
          <a:p>
            <a:pPr algn="ctr"/>
            <a:r>
              <a:rPr lang="en-US" sz="900">
                <a:solidFill>
                  <a:schemeClr val="bg1"/>
                </a:solidFill>
                <a:latin typeface="Fibra One SemiBold" panose="00000700000000000000" pitchFamily="50" charset="0"/>
              </a:rPr>
              <a:t>employees globally</a:t>
            </a:r>
          </a:p>
          <a:p>
            <a:pPr algn="ctr"/>
            <a:endParaRPr lang="en-US" sz="600">
              <a:solidFill>
                <a:schemeClr val="bg1"/>
              </a:solidFill>
              <a:latin typeface="Fibra One SemiBold" panose="00000700000000000000" pitchFamily="50" charset="0"/>
            </a:endParaRPr>
          </a:p>
          <a:p>
            <a:pPr algn="ctr"/>
            <a:endParaRPr lang="en-US" sz="600">
              <a:solidFill>
                <a:schemeClr val="bg1"/>
              </a:solidFill>
              <a:latin typeface="Fibra One SemiBold" panose="00000700000000000000" pitchFamily="50" charset="0"/>
            </a:endParaRPr>
          </a:p>
          <a:p>
            <a:pPr algn="ctr"/>
            <a:endParaRPr lang="en-US" sz="600">
              <a:solidFill>
                <a:schemeClr val="bg1"/>
              </a:solidFill>
              <a:latin typeface="Fibra One SemiBold" panose="00000700000000000000" pitchFamily="50" charset="0"/>
            </a:endParaRPr>
          </a:p>
          <a:p>
            <a:pPr algn="r"/>
            <a:r>
              <a:rPr lang="en-US" sz="600">
                <a:solidFill>
                  <a:schemeClr val="bg1"/>
                </a:solidFill>
                <a:latin typeface="Fibra One SemiBold" panose="00000700000000000000" pitchFamily="50" charset="0"/>
              </a:rPr>
              <a:t>as of December 30, 2023</a:t>
            </a:r>
          </a:p>
        </p:txBody>
      </p:sp>
    </p:spTree>
    <p:extLst>
      <p:ext uri="{BB962C8B-B14F-4D97-AF65-F5344CB8AC3E}">
        <p14:creationId xmlns:p14="http://schemas.microsoft.com/office/powerpoint/2010/main" val="389669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">
    <p:bg>
      <p:bgPr>
        <a:solidFill>
          <a:srgbClr val="005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4" name="Picture Placeholder 93">
            <a:extLst>
              <a:ext uri="{FF2B5EF4-FFF2-40B4-BE49-F238E27FC236}">
                <a16:creationId xmlns:a16="http://schemas.microsoft.com/office/drawing/2014/main" id="{D2CFE779-4B19-ABA9-F599-71F885ECB41E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5338124" y="3458428"/>
            <a:ext cx="3264664" cy="783018"/>
          </a:xfrm>
          <a:custGeom>
            <a:avLst/>
            <a:gdLst>
              <a:gd name="connsiteX0" fmla="*/ 74449 w 3264664"/>
              <a:gd name="connsiteY0" fmla="*/ 0 h 783018"/>
              <a:gd name="connsiteX1" fmla="*/ 3190215 w 3264664"/>
              <a:gd name="connsiteY1" fmla="*/ 0 h 783018"/>
              <a:gd name="connsiteX2" fmla="*/ 3264664 w 3264664"/>
              <a:gd name="connsiteY2" fmla="*/ 74449 h 783018"/>
              <a:gd name="connsiteX3" fmla="*/ 3264664 w 3264664"/>
              <a:gd name="connsiteY3" fmla="*/ 783018 h 783018"/>
              <a:gd name="connsiteX4" fmla="*/ 467659 w 3264664"/>
              <a:gd name="connsiteY4" fmla="*/ 783018 h 783018"/>
              <a:gd name="connsiteX5" fmla="*/ 467659 w 3264664"/>
              <a:gd name="connsiteY5" fmla="*/ 626004 h 783018"/>
              <a:gd name="connsiteX6" fmla="*/ 433383 w 3264664"/>
              <a:gd name="connsiteY6" fmla="*/ 591728 h 783018"/>
              <a:gd name="connsiteX7" fmla="*/ 0 w 3264664"/>
              <a:gd name="connsiteY7" fmla="*/ 591728 h 783018"/>
              <a:gd name="connsiteX8" fmla="*/ 0 w 3264664"/>
              <a:gd name="connsiteY8" fmla="*/ 74449 h 783018"/>
              <a:gd name="connsiteX9" fmla="*/ 74449 w 3264664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4664" h="783018">
                <a:moveTo>
                  <a:pt x="74449" y="0"/>
                </a:moveTo>
                <a:lnTo>
                  <a:pt x="3190215" y="0"/>
                </a:lnTo>
                <a:cubicBezTo>
                  <a:pt x="3231332" y="0"/>
                  <a:pt x="3264664" y="33332"/>
                  <a:pt x="3264664" y="74449"/>
                </a:cubicBezTo>
                <a:lnTo>
                  <a:pt x="3264664" y="783018"/>
                </a:lnTo>
                <a:lnTo>
                  <a:pt x="467659" y="783018"/>
                </a:lnTo>
                <a:lnTo>
                  <a:pt x="467659" y="626004"/>
                </a:lnTo>
                <a:cubicBezTo>
                  <a:pt x="467659" y="607074"/>
                  <a:pt x="452313" y="591728"/>
                  <a:pt x="433383" y="591728"/>
                </a:cubicBezTo>
                <a:lnTo>
                  <a:pt x="0" y="591728"/>
                </a:lnTo>
                <a:lnTo>
                  <a:pt x="0" y="74449"/>
                </a:lnTo>
                <a:cubicBezTo>
                  <a:pt x="0" y="33332"/>
                  <a:pt x="33332" y="0"/>
                  <a:pt x="7444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95" name="Picture Placeholder 94">
            <a:extLst>
              <a:ext uri="{FF2B5EF4-FFF2-40B4-BE49-F238E27FC236}">
                <a16:creationId xmlns:a16="http://schemas.microsoft.com/office/drawing/2014/main" id="{2DC2E1C7-06D8-490F-BD7C-EE46B6E6F96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8668273" y="3458428"/>
            <a:ext cx="3264664" cy="783018"/>
          </a:xfrm>
          <a:custGeom>
            <a:avLst/>
            <a:gdLst>
              <a:gd name="connsiteX0" fmla="*/ 74449 w 3264664"/>
              <a:gd name="connsiteY0" fmla="*/ 0 h 783018"/>
              <a:gd name="connsiteX1" fmla="*/ 3190215 w 3264664"/>
              <a:gd name="connsiteY1" fmla="*/ 0 h 783018"/>
              <a:gd name="connsiteX2" fmla="*/ 3264664 w 3264664"/>
              <a:gd name="connsiteY2" fmla="*/ 74449 h 783018"/>
              <a:gd name="connsiteX3" fmla="*/ 3264664 w 3264664"/>
              <a:gd name="connsiteY3" fmla="*/ 783018 h 783018"/>
              <a:gd name="connsiteX4" fmla="*/ 467659 w 3264664"/>
              <a:gd name="connsiteY4" fmla="*/ 783018 h 783018"/>
              <a:gd name="connsiteX5" fmla="*/ 467659 w 3264664"/>
              <a:gd name="connsiteY5" fmla="*/ 626004 h 783018"/>
              <a:gd name="connsiteX6" fmla="*/ 433383 w 3264664"/>
              <a:gd name="connsiteY6" fmla="*/ 591728 h 783018"/>
              <a:gd name="connsiteX7" fmla="*/ 0 w 3264664"/>
              <a:gd name="connsiteY7" fmla="*/ 591728 h 783018"/>
              <a:gd name="connsiteX8" fmla="*/ 0 w 3264664"/>
              <a:gd name="connsiteY8" fmla="*/ 74449 h 783018"/>
              <a:gd name="connsiteX9" fmla="*/ 74449 w 3264664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4664" h="783018">
                <a:moveTo>
                  <a:pt x="74449" y="0"/>
                </a:moveTo>
                <a:lnTo>
                  <a:pt x="3190215" y="0"/>
                </a:lnTo>
                <a:cubicBezTo>
                  <a:pt x="3231332" y="0"/>
                  <a:pt x="3264664" y="33332"/>
                  <a:pt x="3264664" y="74449"/>
                </a:cubicBezTo>
                <a:lnTo>
                  <a:pt x="3264664" y="783018"/>
                </a:lnTo>
                <a:lnTo>
                  <a:pt x="467659" y="783018"/>
                </a:lnTo>
                <a:lnTo>
                  <a:pt x="467659" y="626004"/>
                </a:lnTo>
                <a:cubicBezTo>
                  <a:pt x="467659" y="607074"/>
                  <a:pt x="452313" y="591728"/>
                  <a:pt x="433383" y="591728"/>
                </a:cubicBezTo>
                <a:lnTo>
                  <a:pt x="0" y="591728"/>
                </a:lnTo>
                <a:lnTo>
                  <a:pt x="0" y="74449"/>
                </a:lnTo>
                <a:cubicBezTo>
                  <a:pt x="0" y="33332"/>
                  <a:pt x="33332" y="0"/>
                  <a:pt x="7444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93" name="Picture Placeholder 92">
            <a:extLst>
              <a:ext uri="{FF2B5EF4-FFF2-40B4-BE49-F238E27FC236}">
                <a16:creationId xmlns:a16="http://schemas.microsoft.com/office/drawing/2014/main" id="{B1A44C03-B942-37F6-BA4F-11AAA6163B5D}"/>
              </a:ext>
            </a:extLst>
          </p:cNvPr>
          <p:cNvSpPr>
            <a:spLocks noGrp="1"/>
          </p:cNvSpPr>
          <p:nvPr>
            <p:ph type="pic" sz="quarter" idx="33"/>
          </p:nvPr>
        </p:nvSpPr>
        <p:spPr>
          <a:xfrm>
            <a:off x="2007974" y="3458428"/>
            <a:ext cx="3264664" cy="783018"/>
          </a:xfrm>
          <a:custGeom>
            <a:avLst/>
            <a:gdLst>
              <a:gd name="connsiteX0" fmla="*/ 74449 w 3264664"/>
              <a:gd name="connsiteY0" fmla="*/ 0 h 783018"/>
              <a:gd name="connsiteX1" fmla="*/ 3190215 w 3264664"/>
              <a:gd name="connsiteY1" fmla="*/ 0 h 783018"/>
              <a:gd name="connsiteX2" fmla="*/ 3264664 w 3264664"/>
              <a:gd name="connsiteY2" fmla="*/ 74449 h 783018"/>
              <a:gd name="connsiteX3" fmla="*/ 3264664 w 3264664"/>
              <a:gd name="connsiteY3" fmla="*/ 783018 h 783018"/>
              <a:gd name="connsiteX4" fmla="*/ 467658 w 3264664"/>
              <a:gd name="connsiteY4" fmla="*/ 783018 h 783018"/>
              <a:gd name="connsiteX5" fmla="*/ 467658 w 3264664"/>
              <a:gd name="connsiteY5" fmla="*/ 626004 h 783018"/>
              <a:gd name="connsiteX6" fmla="*/ 433382 w 3264664"/>
              <a:gd name="connsiteY6" fmla="*/ 591728 h 783018"/>
              <a:gd name="connsiteX7" fmla="*/ 0 w 3264664"/>
              <a:gd name="connsiteY7" fmla="*/ 591728 h 783018"/>
              <a:gd name="connsiteX8" fmla="*/ 0 w 3264664"/>
              <a:gd name="connsiteY8" fmla="*/ 74449 h 783018"/>
              <a:gd name="connsiteX9" fmla="*/ 74449 w 3264664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4664" h="783018">
                <a:moveTo>
                  <a:pt x="74449" y="0"/>
                </a:moveTo>
                <a:lnTo>
                  <a:pt x="3190215" y="0"/>
                </a:lnTo>
                <a:cubicBezTo>
                  <a:pt x="3231332" y="0"/>
                  <a:pt x="3264664" y="33332"/>
                  <a:pt x="3264664" y="74449"/>
                </a:cubicBezTo>
                <a:lnTo>
                  <a:pt x="3264664" y="783018"/>
                </a:lnTo>
                <a:lnTo>
                  <a:pt x="467658" y="783018"/>
                </a:lnTo>
                <a:lnTo>
                  <a:pt x="467658" y="626004"/>
                </a:lnTo>
                <a:cubicBezTo>
                  <a:pt x="467658" y="607074"/>
                  <a:pt x="452312" y="591728"/>
                  <a:pt x="433382" y="591728"/>
                </a:cubicBezTo>
                <a:lnTo>
                  <a:pt x="0" y="591728"/>
                </a:lnTo>
                <a:lnTo>
                  <a:pt x="0" y="74449"/>
                </a:lnTo>
                <a:cubicBezTo>
                  <a:pt x="0" y="33332"/>
                  <a:pt x="33332" y="0"/>
                  <a:pt x="74449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92" name="Picture Placeholder 91">
            <a:extLst>
              <a:ext uri="{FF2B5EF4-FFF2-40B4-BE49-F238E27FC236}">
                <a16:creationId xmlns:a16="http://schemas.microsoft.com/office/drawing/2014/main" id="{F10F9E71-7DF9-FA32-99A0-64E8C672CC7C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342899" y="3455065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9367 h 783018"/>
              <a:gd name="connsiteX6" fmla="*/ 433383 w 1600200"/>
              <a:gd name="connsiteY6" fmla="*/ 595091 h 783018"/>
              <a:gd name="connsiteX7" fmla="*/ 0 w 1600200"/>
              <a:gd name="connsiteY7" fmla="*/ 595091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9367"/>
                </a:lnTo>
                <a:cubicBezTo>
                  <a:pt x="467659" y="610437"/>
                  <a:pt x="452313" y="595091"/>
                  <a:pt x="433383" y="595091"/>
                </a:cubicBezTo>
                <a:lnTo>
                  <a:pt x="0" y="595091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80" name="Picture Placeholder 79">
            <a:extLst>
              <a:ext uri="{FF2B5EF4-FFF2-40B4-BE49-F238E27FC236}">
                <a16:creationId xmlns:a16="http://schemas.microsoft.com/office/drawing/2014/main" id="{47F94CE4-6901-AC58-70F7-5E6F0E9352CF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42899" y="1722832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2830 h 783018"/>
              <a:gd name="connsiteX6" fmla="*/ 433383 w 1600200"/>
              <a:gd name="connsiteY6" fmla="*/ 588554 h 783018"/>
              <a:gd name="connsiteX7" fmla="*/ 0 w 1600200"/>
              <a:gd name="connsiteY7" fmla="*/ 588554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2830"/>
                </a:lnTo>
                <a:cubicBezTo>
                  <a:pt x="467659" y="603900"/>
                  <a:pt x="452313" y="588554"/>
                  <a:pt x="433383" y="588554"/>
                </a:cubicBezTo>
                <a:lnTo>
                  <a:pt x="0" y="588554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81" name="Picture Placeholder 80">
            <a:extLst>
              <a:ext uri="{FF2B5EF4-FFF2-40B4-BE49-F238E27FC236}">
                <a16:creationId xmlns:a16="http://schemas.microsoft.com/office/drawing/2014/main" id="{D919CAE2-E7D8-9865-F3C2-60F50708B43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007974" y="1722832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2830 h 783018"/>
              <a:gd name="connsiteX6" fmla="*/ 433383 w 1600200"/>
              <a:gd name="connsiteY6" fmla="*/ 588554 h 783018"/>
              <a:gd name="connsiteX7" fmla="*/ 0 w 1600200"/>
              <a:gd name="connsiteY7" fmla="*/ 588554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2830"/>
                </a:lnTo>
                <a:cubicBezTo>
                  <a:pt x="467659" y="603900"/>
                  <a:pt x="452313" y="588554"/>
                  <a:pt x="433383" y="588554"/>
                </a:cubicBezTo>
                <a:lnTo>
                  <a:pt x="0" y="588554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82" name="Picture Placeholder 81">
            <a:extLst>
              <a:ext uri="{FF2B5EF4-FFF2-40B4-BE49-F238E27FC236}">
                <a16:creationId xmlns:a16="http://schemas.microsoft.com/office/drawing/2014/main" id="{2297B5FA-6131-BB5E-E12D-B2B2F0B3CE30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3673048" y="1722832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2830 h 783018"/>
              <a:gd name="connsiteX6" fmla="*/ 433383 w 1600200"/>
              <a:gd name="connsiteY6" fmla="*/ 588554 h 783018"/>
              <a:gd name="connsiteX7" fmla="*/ 0 w 1600200"/>
              <a:gd name="connsiteY7" fmla="*/ 588554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2830"/>
                </a:lnTo>
                <a:cubicBezTo>
                  <a:pt x="467659" y="603900"/>
                  <a:pt x="452313" y="588554"/>
                  <a:pt x="433383" y="588554"/>
                </a:cubicBezTo>
                <a:lnTo>
                  <a:pt x="0" y="588554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83" name="Picture Placeholder 82">
            <a:extLst>
              <a:ext uri="{FF2B5EF4-FFF2-40B4-BE49-F238E27FC236}">
                <a16:creationId xmlns:a16="http://schemas.microsoft.com/office/drawing/2014/main" id="{A8D14D86-EF48-7329-B004-BAA076D26AEC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5338124" y="1722832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2830 h 783018"/>
              <a:gd name="connsiteX6" fmla="*/ 433383 w 1600200"/>
              <a:gd name="connsiteY6" fmla="*/ 588554 h 783018"/>
              <a:gd name="connsiteX7" fmla="*/ 0 w 1600200"/>
              <a:gd name="connsiteY7" fmla="*/ 588554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2830"/>
                </a:lnTo>
                <a:cubicBezTo>
                  <a:pt x="467659" y="603900"/>
                  <a:pt x="452313" y="588554"/>
                  <a:pt x="433383" y="588554"/>
                </a:cubicBezTo>
                <a:lnTo>
                  <a:pt x="0" y="588554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84" name="Picture Placeholder 83">
            <a:extLst>
              <a:ext uri="{FF2B5EF4-FFF2-40B4-BE49-F238E27FC236}">
                <a16:creationId xmlns:a16="http://schemas.microsoft.com/office/drawing/2014/main" id="{52122341-25AE-DAA3-A6D1-439DC79B82E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7003199" y="1722832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2830 h 783018"/>
              <a:gd name="connsiteX6" fmla="*/ 433383 w 1600200"/>
              <a:gd name="connsiteY6" fmla="*/ 588554 h 783018"/>
              <a:gd name="connsiteX7" fmla="*/ 0 w 1600200"/>
              <a:gd name="connsiteY7" fmla="*/ 588554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2830"/>
                </a:lnTo>
                <a:cubicBezTo>
                  <a:pt x="467659" y="603900"/>
                  <a:pt x="452313" y="588554"/>
                  <a:pt x="433383" y="588554"/>
                </a:cubicBezTo>
                <a:lnTo>
                  <a:pt x="0" y="588554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2516F144-8A1A-2245-BAE7-7D7C72DEEB1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668274" y="1722832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2830 h 783018"/>
              <a:gd name="connsiteX6" fmla="*/ 433383 w 1600200"/>
              <a:gd name="connsiteY6" fmla="*/ 588554 h 783018"/>
              <a:gd name="connsiteX7" fmla="*/ 0 w 1600200"/>
              <a:gd name="connsiteY7" fmla="*/ 588554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2830"/>
                </a:lnTo>
                <a:cubicBezTo>
                  <a:pt x="467659" y="603900"/>
                  <a:pt x="452313" y="588554"/>
                  <a:pt x="433383" y="588554"/>
                </a:cubicBezTo>
                <a:lnTo>
                  <a:pt x="0" y="588554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sp>
        <p:nvSpPr>
          <p:cNvPr id="88" name="Picture Placeholder 87">
            <a:extLst>
              <a:ext uri="{FF2B5EF4-FFF2-40B4-BE49-F238E27FC236}">
                <a16:creationId xmlns:a16="http://schemas.microsoft.com/office/drawing/2014/main" id="{8B5173AE-AE78-1486-FAB4-AE7533495CEF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10333347" y="1719657"/>
            <a:ext cx="1600200" cy="783018"/>
          </a:xfrm>
          <a:custGeom>
            <a:avLst/>
            <a:gdLst>
              <a:gd name="connsiteX0" fmla="*/ 73604 w 1600200"/>
              <a:gd name="connsiteY0" fmla="*/ 0 h 783018"/>
              <a:gd name="connsiteX1" fmla="*/ 1526596 w 1600200"/>
              <a:gd name="connsiteY1" fmla="*/ 0 h 783018"/>
              <a:gd name="connsiteX2" fmla="*/ 1600200 w 1600200"/>
              <a:gd name="connsiteY2" fmla="*/ 73604 h 783018"/>
              <a:gd name="connsiteX3" fmla="*/ 1600200 w 1600200"/>
              <a:gd name="connsiteY3" fmla="*/ 783018 h 783018"/>
              <a:gd name="connsiteX4" fmla="*/ 467659 w 1600200"/>
              <a:gd name="connsiteY4" fmla="*/ 783018 h 783018"/>
              <a:gd name="connsiteX5" fmla="*/ 467659 w 1600200"/>
              <a:gd name="connsiteY5" fmla="*/ 626005 h 783018"/>
              <a:gd name="connsiteX6" fmla="*/ 433383 w 1600200"/>
              <a:gd name="connsiteY6" fmla="*/ 591729 h 783018"/>
              <a:gd name="connsiteX7" fmla="*/ 0 w 1600200"/>
              <a:gd name="connsiteY7" fmla="*/ 591729 h 783018"/>
              <a:gd name="connsiteX8" fmla="*/ 0 w 1600200"/>
              <a:gd name="connsiteY8" fmla="*/ 73604 h 783018"/>
              <a:gd name="connsiteX9" fmla="*/ 73604 w 1600200"/>
              <a:gd name="connsiteY9" fmla="*/ 0 h 783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00200" h="783018">
                <a:moveTo>
                  <a:pt x="73604" y="0"/>
                </a:moveTo>
                <a:lnTo>
                  <a:pt x="1526596" y="0"/>
                </a:lnTo>
                <a:cubicBezTo>
                  <a:pt x="1567246" y="0"/>
                  <a:pt x="1600200" y="32954"/>
                  <a:pt x="1600200" y="73604"/>
                </a:cubicBezTo>
                <a:lnTo>
                  <a:pt x="1600200" y="783018"/>
                </a:lnTo>
                <a:lnTo>
                  <a:pt x="467659" y="783018"/>
                </a:lnTo>
                <a:lnTo>
                  <a:pt x="467659" y="626005"/>
                </a:lnTo>
                <a:cubicBezTo>
                  <a:pt x="467659" y="607075"/>
                  <a:pt x="452313" y="591729"/>
                  <a:pt x="433383" y="591729"/>
                </a:cubicBezTo>
                <a:lnTo>
                  <a:pt x="0" y="591729"/>
                </a:lnTo>
                <a:lnTo>
                  <a:pt x="0" y="73604"/>
                </a:lnTo>
                <a:cubicBezTo>
                  <a:pt x="0" y="32954"/>
                  <a:pt x="32954" y="0"/>
                  <a:pt x="7360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>
            <a:noAutofit/>
          </a:bodyPr>
          <a:lstStyle>
            <a:lvl1pPr algn="ctr">
              <a:defRPr sz="1000"/>
            </a:lvl1pPr>
          </a:lstStyle>
          <a:p>
            <a:endParaRPr lang="en-US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2D0D2E25-1A53-33EF-FCB0-743FD6EE20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2394" y="141214"/>
            <a:ext cx="780831" cy="187399"/>
          </a:xfrm>
          <a:prstGeom prst="rect">
            <a:avLst/>
          </a:prstGeom>
        </p:spPr>
      </p:pic>
      <p:sp>
        <p:nvSpPr>
          <p:cNvPr id="3" name="object 17">
            <a:extLst>
              <a:ext uri="{FF2B5EF4-FFF2-40B4-BE49-F238E27FC236}">
                <a16:creationId xmlns:a16="http://schemas.microsoft.com/office/drawing/2014/main" id="{77B9B0D0-474C-F0DE-4740-4A9296600D79}"/>
              </a:ext>
            </a:extLst>
          </p:cNvPr>
          <p:cNvSpPr txBox="1">
            <a:spLocks/>
          </p:cNvSpPr>
          <p:nvPr userDrawn="1"/>
        </p:nvSpPr>
        <p:spPr>
          <a:xfrm>
            <a:off x="11649283" y="210332"/>
            <a:ext cx="425305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653A1D-CE81-1B46-9F19-36F2F8F55CD9}" type="slidenum">
              <a:rPr kumimoji="0" lang="en-IN" sz="7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pPr marL="1270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bra One" pitchFamily="2" charset="77"/>
              <a:ea typeface="+mj-ea"/>
              <a:cs typeface="+mj-cs"/>
            </a:endParaRPr>
          </a:p>
        </p:txBody>
      </p:sp>
      <p:sp>
        <p:nvSpPr>
          <p:cNvPr id="5" name="object 17">
            <a:extLst>
              <a:ext uri="{FF2B5EF4-FFF2-40B4-BE49-F238E27FC236}">
                <a16:creationId xmlns:a16="http://schemas.microsoft.com/office/drawing/2014/main" id="{52E44225-A8BF-3248-13C7-92D805644958}"/>
              </a:ext>
            </a:extLst>
          </p:cNvPr>
          <p:cNvSpPr txBox="1">
            <a:spLocks/>
          </p:cNvSpPr>
          <p:nvPr userDrawn="1"/>
        </p:nvSpPr>
        <p:spPr>
          <a:xfrm rot="5400000">
            <a:off x="9824267" y="4472372"/>
            <a:ext cx="4116588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t>2023  PepsiCo ESG Summary Overview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EDC9058-100E-D0B5-56FF-17B8168C41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689347"/>
            <a:ext cx="6592824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F5E058D-A480-A001-3EAB-C6ACD7C1DE08}"/>
              </a:ext>
            </a:extLst>
          </p:cNvPr>
          <p:cNvSpPr/>
          <p:nvPr userDrawn="1"/>
        </p:nvSpPr>
        <p:spPr>
          <a:xfrm>
            <a:off x="11787598" y="4637728"/>
            <a:ext cx="224986" cy="1984917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3DDEB3C1-9A7D-D1C8-0141-68774150C68D}"/>
              </a:ext>
            </a:extLst>
          </p:cNvPr>
          <p:cNvCxnSpPr>
            <a:cxnSpLocks/>
          </p:cNvCxnSpPr>
          <p:nvPr userDrawn="1"/>
        </p:nvCxnSpPr>
        <p:spPr>
          <a:xfrm>
            <a:off x="342899" y="2517035"/>
            <a:ext cx="11756174" cy="0"/>
          </a:xfrm>
          <a:prstGeom prst="line">
            <a:avLst/>
          </a:prstGeom>
          <a:ln w="25400">
            <a:solidFill>
              <a:schemeClr val="accent4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E39AA07C-4E62-39D2-B3F4-131AC303CFBB}"/>
              </a:ext>
            </a:extLst>
          </p:cNvPr>
          <p:cNvCxnSpPr>
            <a:cxnSpLocks/>
          </p:cNvCxnSpPr>
          <p:nvPr userDrawn="1"/>
        </p:nvCxnSpPr>
        <p:spPr>
          <a:xfrm>
            <a:off x="342899" y="4255805"/>
            <a:ext cx="11756174" cy="0"/>
          </a:xfrm>
          <a:prstGeom prst="line">
            <a:avLst/>
          </a:prstGeom>
          <a:ln w="25400">
            <a:solidFill>
              <a:schemeClr val="accent4"/>
            </a:solidFill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E0491554-E74E-64A6-5454-D25BE5E8C246}"/>
              </a:ext>
            </a:extLst>
          </p:cNvPr>
          <p:cNvSpPr txBox="1">
            <a:spLocks/>
          </p:cNvSpPr>
          <p:nvPr userDrawn="1"/>
        </p:nvSpPr>
        <p:spPr>
          <a:xfrm>
            <a:off x="342899" y="231138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06</a:t>
            </a:r>
          </a:p>
        </p:txBody>
      </p:sp>
      <p:sp>
        <p:nvSpPr>
          <p:cNvPr id="36" name="Content Placeholder 2">
            <a:extLst>
              <a:ext uri="{FF2B5EF4-FFF2-40B4-BE49-F238E27FC236}">
                <a16:creationId xmlns:a16="http://schemas.microsoft.com/office/drawing/2014/main" id="{2D461E4C-6696-1825-B460-B913652452D6}"/>
              </a:ext>
            </a:extLst>
          </p:cNvPr>
          <p:cNvSpPr txBox="1">
            <a:spLocks/>
          </p:cNvSpPr>
          <p:nvPr userDrawn="1"/>
        </p:nvSpPr>
        <p:spPr>
          <a:xfrm>
            <a:off x="2007974" y="231138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10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6874C618-5CC9-04C0-B5E2-C1682D9315CE}"/>
              </a:ext>
            </a:extLst>
          </p:cNvPr>
          <p:cNvSpPr txBox="1">
            <a:spLocks/>
          </p:cNvSpPr>
          <p:nvPr userDrawn="1"/>
        </p:nvSpPr>
        <p:spPr>
          <a:xfrm>
            <a:off x="3673048" y="231138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12</a:t>
            </a:r>
          </a:p>
        </p:txBody>
      </p:sp>
      <p:sp>
        <p:nvSpPr>
          <p:cNvPr id="38" name="Content Placeholder 2">
            <a:extLst>
              <a:ext uri="{FF2B5EF4-FFF2-40B4-BE49-F238E27FC236}">
                <a16:creationId xmlns:a16="http://schemas.microsoft.com/office/drawing/2014/main" id="{BECC8A08-219D-12F5-3381-2EAA4579E162}"/>
              </a:ext>
            </a:extLst>
          </p:cNvPr>
          <p:cNvSpPr txBox="1">
            <a:spLocks/>
          </p:cNvSpPr>
          <p:nvPr userDrawn="1"/>
        </p:nvSpPr>
        <p:spPr>
          <a:xfrm>
            <a:off x="5338124" y="231138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13</a:t>
            </a:r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C4321018-6AA5-FB8E-3ED4-E41501E4E560}"/>
              </a:ext>
            </a:extLst>
          </p:cNvPr>
          <p:cNvSpPr txBox="1">
            <a:spLocks/>
          </p:cNvSpPr>
          <p:nvPr userDrawn="1"/>
        </p:nvSpPr>
        <p:spPr>
          <a:xfrm>
            <a:off x="7003199" y="231138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17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9DC8A3A3-C23D-74EB-65B1-479A2F735FBA}"/>
              </a:ext>
            </a:extLst>
          </p:cNvPr>
          <p:cNvSpPr txBox="1">
            <a:spLocks/>
          </p:cNvSpPr>
          <p:nvPr userDrawn="1"/>
        </p:nvSpPr>
        <p:spPr>
          <a:xfrm>
            <a:off x="8668274" y="231138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18</a:t>
            </a:r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97EAA17B-4391-E87B-CDD1-57E0B7CF997E}"/>
              </a:ext>
            </a:extLst>
          </p:cNvPr>
          <p:cNvSpPr txBox="1">
            <a:spLocks/>
          </p:cNvSpPr>
          <p:nvPr userDrawn="1"/>
        </p:nvSpPr>
        <p:spPr>
          <a:xfrm>
            <a:off x="10333347" y="231138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19</a:t>
            </a:r>
          </a:p>
        </p:txBody>
      </p:sp>
      <p:sp>
        <p:nvSpPr>
          <p:cNvPr id="42" name="Content Placeholder 2">
            <a:extLst>
              <a:ext uri="{FF2B5EF4-FFF2-40B4-BE49-F238E27FC236}">
                <a16:creationId xmlns:a16="http://schemas.microsoft.com/office/drawing/2014/main" id="{9EFD6BE4-DE66-A5D9-46CC-72F29CDE28DA}"/>
              </a:ext>
            </a:extLst>
          </p:cNvPr>
          <p:cNvSpPr txBox="1">
            <a:spLocks/>
          </p:cNvSpPr>
          <p:nvPr userDrawn="1"/>
        </p:nvSpPr>
        <p:spPr>
          <a:xfrm>
            <a:off x="2007973" y="405015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21</a:t>
            </a:r>
          </a:p>
        </p:txBody>
      </p:sp>
      <p:sp>
        <p:nvSpPr>
          <p:cNvPr id="43" name="Content Placeholder 2">
            <a:extLst>
              <a:ext uri="{FF2B5EF4-FFF2-40B4-BE49-F238E27FC236}">
                <a16:creationId xmlns:a16="http://schemas.microsoft.com/office/drawing/2014/main" id="{F9FE8F33-E4E9-1441-F96A-68BCEBC4C65A}"/>
              </a:ext>
            </a:extLst>
          </p:cNvPr>
          <p:cNvSpPr txBox="1">
            <a:spLocks/>
          </p:cNvSpPr>
          <p:nvPr userDrawn="1"/>
        </p:nvSpPr>
        <p:spPr>
          <a:xfrm>
            <a:off x="5338124" y="405015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22</a:t>
            </a:r>
          </a:p>
        </p:txBody>
      </p:sp>
      <p:sp>
        <p:nvSpPr>
          <p:cNvPr id="44" name="Content Placeholder 2">
            <a:extLst>
              <a:ext uri="{FF2B5EF4-FFF2-40B4-BE49-F238E27FC236}">
                <a16:creationId xmlns:a16="http://schemas.microsoft.com/office/drawing/2014/main" id="{66A06633-CB20-FC76-2FCD-F20CC5E7CB83}"/>
              </a:ext>
            </a:extLst>
          </p:cNvPr>
          <p:cNvSpPr txBox="1">
            <a:spLocks/>
          </p:cNvSpPr>
          <p:nvPr userDrawn="1"/>
        </p:nvSpPr>
        <p:spPr>
          <a:xfrm>
            <a:off x="8668273" y="405015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23</a:t>
            </a:r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3FB4279-C47D-4EE8-044C-5E5650637AA7}"/>
              </a:ext>
            </a:extLst>
          </p:cNvPr>
          <p:cNvSpPr txBox="1">
            <a:spLocks/>
          </p:cNvSpPr>
          <p:nvPr userDrawn="1"/>
        </p:nvSpPr>
        <p:spPr>
          <a:xfrm>
            <a:off x="342899" y="4050156"/>
            <a:ext cx="467659" cy="205649"/>
          </a:xfrm>
          <a:prstGeom prst="round1Rect">
            <a:avLst/>
          </a:prstGeom>
          <a:solidFill>
            <a:schemeClr val="accent4"/>
          </a:solidFill>
        </p:spPr>
        <p:txBody>
          <a:bodyPr vert="horz" wrap="square" lIns="0" tIns="0" rIns="0" bIns="0" rtlCol="0" anchor="ctr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/>
            <a:r>
              <a:rPr lang="en-IN" sz="900" b="1">
                <a:solidFill>
                  <a:schemeClr val="bg1"/>
                </a:solidFill>
                <a:latin typeface="Fibra One Heavy" pitchFamily="2" charset="77"/>
              </a:rPr>
              <a:t>2020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7D347BBC-307D-4475-1C1C-EE983EB315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0" y="1075325"/>
            <a:ext cx="6592824" cy="181396"/>
          </a:xfrm>
        </p:spPr>
        <p:txBody>
          <a:bodyPr vert="horz" lIns="0" tIns="0" rIns="0" bIns="0" rtlCol="0" anchor="t">
            <a:spAutoFit/>
          </a:bodyPr>
          <a:lstStyle>
            <a:lvl1pPr marL="0" marR="5080" indent="0" algn="l" defTabSz="914400" rtl="0" eaLnBrk="1" latinLnBrk="0" hangingPunct="1">
              <a:lnSpc>
                <a:spcPct val="113000"/>
              </a:lnSpc>
              <a:spcBef>
                <a:spcPts val="30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100" b="0" kern="1200" spc="-30" dirty="0">
                <a:solidFill>
                  <a:schemeClr val="bg1"/>
                </a:solidFill>
                <a:latin typeface="Fibra One" pitchFamily="2" charset="77"/>
                <a:ea typeface="+mn-ea"/>
                <a:cs typeface="+mn-cs"/>
              </a:defRPr>
            </a:lvl1pPr>
          </a:lstStyle>
          <a:p>
            <a:pPr marR="5080" lvl="0">
              <a:lnSpc>
                <a:spcPct val="113000"/>
              </a:lnSpc>
              <a:spcBef>
                <a:spcPts val="3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47">
            <a:extLst>
              <a:ext uri="{FF2B5EF4-FFF2-40B4-BE49-F238E27FC236}">
                <a16:creationId xmlns:a16="http://schemas.microsoft.com/office/drawing/2014/main" id="{1AE6B1F4-0664-C765-1501-CE8357D84A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42899" y="263822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47" name="Text Placeholder 47">
            <a:extLst>
              <a:ext uri="{FF2B5EF4-FFF2-40B4-BE49-F238E27FC236}">
                <a16:creationId xmlns:a16="http://schemas.microsoft.com/office/drawing/2014/main" id="{4484F743-CD94-D3BB-E336-604F5528D8A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007972" y="263822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49" name="Text Placeholder 47">
            <a:extLst>
              <a:ext uri="{FF2B5EF4-FFF2-40B4-BE49-F238E27FC236}">
                <a16:creationId xmlns:a16="http://schemas.microsoft.com/office/drawing/2014/main" id="{4005FE80-F5D0-BD85-2C26-03DD44D66F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73048" y="263822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0" name="Text Placeholder 47">
            <a:extLst>
              <a:ext uri="{FF2B5EF4-FFF2-40B4-BE49-F238E27FC236}">
                <a16:creationId xmlns:a16="http://schemas.microsoft.com/office/drawing/2014/main" id="{776776EB-90FB-2227-17AF-78A90C5A9E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338123" y="263822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1" name="Text Placeholder 47">
            <a:extLst>
              <a:ext uri="{FF2B5EF4-FFF2-40B4-BE49-F238E27FC236}">
                <a16:creationId xmlns:a16="http://schemas.microsoft.com/office/drawing/2014/main" id="{34B3A7BC-25FC-A849-F10F-8C52A78BBAC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03198" y="263822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2" name="Text Placeholder 47">
            <a:extLst>
              <a:ext uri="{FF2B5EF4-FFF2-40B4-BE49-F238E27FC236}">
                <a16:creationId xmlns:a16="http://schemas.microsoft.com/office/drawing/2014/main" id="{358FB6A4-04CB-344C-1E71-A9B45EB1453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68273" y="263822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3" name="Text Placeholder 47">
            <a:extLst>
              <a:ext uri="{FF2B5EF4-FFF2-40B4-BE49-F238E27FC236}">
                <a16:creationId xmlns:a16="http://schemas.microsoft.com/office/drawing/2014/main" id="{56E70E99-D60C-225E-27C9-4638A74D523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333346" y="263822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4" name="Text Placeholder 47">
            <a:extLst>
              <a:ext uri="{FF2B5EF4-FFF2-40B4-BE49-F238E27FC236}">
                <a16:creationId xmlns:a16="http://schemas.microsoft.com/office/drawing/2014/main" id="{2AECB742-354F-7D4C-2ED1-AE43A4FF0B5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42899" y="437699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47">
            <a:extLst>
              <a:ext uri="{FF2B5EF4-FFF2-40B4-BE49-F238E27FC236}">
                <a16:creationId xmlns:a16="http://schemas.microsoft.com/office/drawing/2014/main" id="{B0E4FDB2-F2D7-DF14-1D78-EEA1676ECB2D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673048" y="437699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6" name="Text Placeholder 47">
            <a:extLst>
              <a:ext uri="{FF2B5EF4-FFF2-40B4-BE49-F238E27FC236}">
                <a16:creationId xmlns:a16="http://schemas.microsoft.com/office/drawing/2014/main" id="{CC059AA4-6A78-7409-8D2C-837CFA5AD0A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007972" y="437699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7" name="Text Placeholder 47">
            <a:extLst>
              <a:ext uri="{FF2B5EF4-FFF2-40B4-BE49-F238E27FC236}">
                <a16:creationId xmlns:a16="http://schemas.microsoft.com/office/drawing/2014/main" id="{D4284660-8704-EB87-2011-15A2542FB35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338123" y="437699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8" name="Text Placeholder 47">
            <a:extLst>
              <a:ext uri="{FF2B5EF4-FFF2-40B4-BE49-F238E27FC236}">
                <a16:creationId xmlns:a16="http://schemas.microsoft.com/office/drawing/2014/main" id="{539BAD09-C214-ABF7-3C46-A82267CDDB6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003198" y="437699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59" name="Text Placeholder 47">
            <a:extLst>
              <a:ext uri="{FF2B5EF4-FFF2-40B4-BE49-F238E27FC236}">
                <a16:creationId xmlns:a16="http://schemas.microsoft.com/office/drawing/2014/main" id="{C765BBC5-CF65-6DCE-F2AE-4A3755DE5A8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668273" y="437699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60" name="Text Placeholder 47">
            <a:extLst>
              <a:ext uri="{FF2B5EF4-FFF2-40B4-BE49-F238E27FC236}">
                <a16:creationId xmlns:a16="http://schemas.microsoft.com/office/drawing/2014/main" id="{718E898A-D6D1-3994-279B-C61C10B7044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10333346" y="4376994"/>
            <a:ext cx="1600200" cy="118494"/>
          </a:xfrm>
        </p:spPr>
        <p:txBody>
          <a:bodyPr vert="horz" wrap="square" lIns="0" tIns="0" rIns="45720" bIns="0" rtlCol="0" anchor="t">
            <a:spAutoFit/>
          </a:bodyPr>
          <a:lstStyle>
            <a:lvl1pPr>
              <a:defRPr lang="en-US" sz="700" dirty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lvl="0" fontAlgn="t">
              <a:spcAft>
                <a:spcPts val="900"/>
              </a:spcAft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79034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sults Highligh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15F1FA1-A920-7513-E3EC-9B63B6A12C0E}"/>
              </a:ext>
            </a:extLst>
          </p:cNvPr>
          <p:cNvSpPr/>
          <p:nvPr userDrawn="1"/>
        </p:nvSpPr>
        <p:spPr>
          <a:xfrm>
            <a:off x="2549405" y="1186885"/>
            <a:ext cx="7104038" cy="850392"/>
          </a:xfrm>
          <a:prstGeom prst="rect">
            <a:avLst/>
          </a:prstGeom>
          <a:solidFill>
            <a:schemeClr val="accent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750F4C0-44C2-E982-A49C-72871353F13F}"/>
              </a:ext>
            </a:extLst>
          </p:cNvPr>
          <p:cNvSpPr/>
          <p:nvPr userDrawn="1"/>
        </p:nvSpPr>
        <p:spPr>
          <a:xfrm>
            <a:off x="9707880" y="1186885"/>
            <a:ext cx="2331720" cy="850392"/>
          </a:xfrm>
          <a:prstGeom prst="rect">
            <a:avLst/>
          </a:prstGeom>
          <a:solidFill>
            <a:schemeClr val="tx2">
              <a:alpha val="1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73C76FA-0AA4-BBCE-73D6-D46E2280FC2A}"/>
              </a:ext>
            </a:extLst>
          </p:cNvPr>
          <p:cNvSpPr/>
          <p:nvPr userDrawn="1"/>
        </p:nvSpPr>
        <p:spPr>
          <a:xfrm>
            <a:off x="163246" y="1186885"/>
            <a:ext cx="2331720" cy="850392"/>
          </a:xfrm>
          <a:prstGeom prst="rect">
            <a:avLst/>
          </a:prstGeom>
          <a:solidFill>
            <a:schemeClr val="accent6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BF4616D-5872-8F78-6512-EA3910A2F0C5}"/>
              </a:ext>
            </a:extLst>
          </p:cNvPr>
          <p:cNvSpPr txBox="1">
            <a:spLocks/>
          </p:cNvSpPr>
          <p:nvPr userDrawn="1"/>
        </p:nvSpPr>
        <p:spPr>
          <a:xfrm>
            <a:off x="427102" y="1432522"/>
            <a:ext cx="1804009" cy="443198"/>
          </a:xfrm>
          <a:prstGeom prst="rect">
            <a:avLst/>
          </a:prstGeom>
          <a:noFill/>
        </p:spPr>
        <p:txBody>
          <a:bodyPr vert="horz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1200" b="1">
                <a:latin typeface="Fibra One SemiBold" pitchFamily="2" charset="77"/>
              </a:rPr>
              <a:t>Positive </a:t>
            </a:r>
          </a:p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2000" b="1">
                <a:latin typeface="Fibra One SemiBold" pitchFamily="2" charset="77"/>
              </a:rPr>
              <a:t>Agricultur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74ADA92-96FB-857D-906A-D503DEBA5743}"/>
              </a:ext>
            </a:extLst>
          </p:cNvPr>
          <p:cNvSpPr txBox="1">
            <a:spLocks/>
          </p:cNvSpPr>
          <p:nvPr userDrawn="1"/>
        </p:nvSpPr>
        <p:spPr>
          <a:xfrm>
            <a:off x="5199420" y="1432522"/>
            <a:ext cx="1804009" cy="443198"/>
          </a:xfrm>
          <a:prstGeom prst="rect">
            <a:avLst/>
          </a:prstGeom>
          <a:noFill/>
        </p:spPr>
        <p:txBody>
          <a:bodyPr vert="horz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1200" b="1">
                <a:latin typeface="Fibra One SemiBold" pitchFamily="2" charset="77"/>
              </a:rPr>
              <a:t>Positive </a:t>
            </a:r>
          </a:p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2000" b="1">
                <a:latin typeface="Fibra One SemiBold" pitchFamily="2" charset="77"/>
              </a:rPr>
              <a:t>Value Chain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9532B06-8B1D-456E-74CA-C3DB0CADB092}"/>
              </a:ext>
            </a:extLst>
          </p:cNvPr>
          <p:cNvSpPr txBox="1">
            <a:spLocks/>
          </p:cNvSpPr>
          <p:nvPr userDrawn="1"/>
        </p:nvSpPr>
        <p:spPr>
          <a:xfrm>
            <a:off x="9971736" y="1432522"/>
            <a:ext cx="1804009" cy="443198"/>
          </a:xfrm>
          <a:prstGeom prst="rect">
            <a:avLst/>
          </a:prstGeom>
          <a:noFill/>
        </p:spPr>
        <p:txBody>
          <a:bodyPr vert="horz" lIns="0" tIns="0" rIns="0" bIns="0" rtlCol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1200" b="1">
                <a:latin typeface="Fibra One SemiBold" pitchFamily="2" charset="77"/>
              </a:rPr>
              <a:t>Positive </a:t>
            </a:r>
          </a:p>
          <a:p>
            <a:pPr marR="5080" algn="ctr">
              <a:lnSpc>
                <a:spcPct val="90000"/>
              </a:lnSpc>
              <a:spcAft>
                <a:spcPts val="0"/>
              </a:spcAft>
            </a:pPr>
            <a:r>
              <a:rPr lang="en-IN" sz="2000" b="1">
                <a:latin typeface="Fibra One SemiBold" pitchFamily="2" charset="77"/>
              </a:rPr>
              <a:t>Choices</a:t>
            </a:r>
          </a:p>
        </p:txBody>
      </p:sp>
      <p:sp>
        <p:nvSpPr>
          <p:cNvPr id="8" name="Title 3">
            <a:extLst>
              <a:ext uri="{FF2B5EF4-FFF2-40B4-BE49-F238E27FC236}">
                <a16:creationId xmlns:a16="http://schemas.microsoft.com/office/drawing/2014/main" id="{0FD2F776-90D4-4D29-2DE8-BC3A348C1937}"/>
              </a:ext>
            </a:extLst>
          </p:cNvPr>
          <p:cNvSpPr txBox="1">
            <a:spLocks/>
          </p:cNvSpPr>
          <p:nvPr userDrawn="1"/>
        </p:nvSpPr>
        <p:spPr>
          <a:xfrm>
            <a:off x="4429250" y="686625"/>
            <a:ext cx="3333501" cy="332399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kern="1200" spc="0" baseline="0">
                <a:solidFill>
                  <a:schemeClr val="tx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algn="ctr"/>
            <a:r>
              <a:rPr lang="en-US"/>
              <a:t>Results highlight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F1AA6006-A3CE-DC15-3205-EE449E5E8732}"/>
              </a:ext>
            </a:extLst>
          </p:cNvPr>
          <p:cNvSpPr txBox="1">
            <a:spLocks/>
          </p:cNvSpPr>
          <p:nvPr userDrawn="1"/>
        </p:nvSpPr>
        <p:spPr>
          <a:xfrm>
            <a:off x="5427139" y="382320"/>
            <a:ext cx="1337723" cy="225959"/>
          </a:xfrm>
          <a:prstGeom prst="rect">
            <a:avLst/>
          </a:prstGeom>
        </p:spPr>
        <p:txBody>
          <a:bodyPr lIns="0" tIns="0" rIns="0" bIns="0" anchor="ctr">
            <a:sp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b="0" kern="1200">
                <a:solidFill>
                  <a:schemeClr val="tx1"/>
                </a:solidFill>
                <a:latin typeface="Fibra One UltraBold" panose="00000900000000000000" pitchFamily="50" charset="0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28600" indent="-22860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 2" panose="05020102010507070707" pitchFamily="18" charset="2"/>
              <a:buChar char=""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5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>
                <a:solidFill>
                  <a:srgbClr val="0052DB"/>
                </a:solidFill>
                <a:latin typeface="+mn-lt"/>
                <a:ea typeface="+mj-ea"/>
                <a:cs typeface="+mj-cs"/>
              </a:rPr>
              <a:t>2023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265CA96F-B49F-655F-F3E0-4F8BD0CEB47E}"/>
              </a:ext>
            </a:extLst>
          </p:cNvPr>
          <p:cNvSpPr/>
          <p:nvPr userDrawn="1"/>
        </p:nvSpPr>
        <p:spPr>
          <a:xfrm>
            <a:off x="4935564" y="3642285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7FB31A4-B6FC-6855-F4CD-79EF7F4723F6}"/>
              </a:ext>
            </a:extLst>
          </p:cNvPr>
          <p:cNvSpPr/>
          <p:nvPr userDrawn="1"/>
        </p:nvSpPr>
        <p:spPr>
          <a:xfrm>
            <a:off x="2549405" y="3642285"/>
            <a:ext cx="2331720" cy="15087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B9C4AFB-A77D-2D2E-828D-71E0CD5AD29D}"/>
              </a:ext>
            </a:extLst>
          </p:cNvPr>
          <p:cNvSpPr/>
          <p:nvPr userDrawn="1"/>
        </p:nvSpPr>
        <p:spPr>
          <a:xfrm>
            <a:off x="163246" y="3642285"/>
            <a:ext cx="2331720" cy="15066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4F184A-2CF6-7AED-87F9-6206BC507549}"/>
              </a:ext>
            </a:extLst>
          </p:cNvPr>
          <p:cNvSpPr/>
          <p:nvPr userDrawn="1"/>
        </p:nvSpPr>
        <p:spPr>
          <a:xfrm>
            <a:off x="7321723" y="3642285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C769A88-4D95-824F-51BC-FF0EEAD1A3C2}"/>
              </a:ext>
            </a:extLst>
          </p:cNvPr>
          <p:cNvSpPr/>
          <p:nvPr userDrawn="1"/>
        </p:nvSpPr>
        <p:spPr>
          <a:xfrm>
            <a:off x="9707880" y="3642285"/>
            <a:ext cx="2331720" cy="1506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F452597-3180-9C17-5B89-28C01F473A1A}"/>
              </a:ext>
            </a:extLst>
          </p:cNvPr>
          <p:cNvSpPr/>
          <p:nvPr userDrawn="1"/>
        </p:nvSpPr>
        <p:spPr>
          <a:xfrm>
            <a:off x="4935564" y="5198155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22299F0-53E2-19CA-16FC-94C17827C7E9}"/>
              </a:ext>
            </a:extLst>
          </p:cNvPr>
          <p:cNvSpPr/>
          <p:nvPr userDrawn="1"/>
        </p:nvSpPr>
        <p:spPr>
          <a:xfrm>
            <a:off x="2549405" y="5198155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E3F445B-C585-5F8B-5131-383D17479981}"/>
              </a:ext>
            </a:extLst>
          </p:cNvPr>
          <p:cNvSpPr/>
          <p:nvPr userDrawn="1"/>
        </p:nvSpPr>
        <p:spPr>
          <a:xfrm>
            <a:off x="163246" y="5198155"/>
            <a:ext cx="2331720" cy="15066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047B064-2421-3F91-11F5-ADCDE2E8A06A}"/>
              </a:ext>
            </a:extLst>
          </p:cNvPr>
          <p:cNvSpPr/>
          <p:nvPr userDrawn="1"/>
        </p:nvSpPr>
        <p:spPr>
          <a:xfrm>
            <a:off x="7321723" y="5198155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C749D67-E865-0118-92F8-394BA516296E}"/>
              </a:ext>
            </a:extLst>
          </p:cNvPr>
          <p:cNvSpPr/>
          <p:nvPr userDrawn="1"/>
        </p:nvSpPr>
        <p:spPr>
          <a:xfrm>
            <a:off x="9707880" y="5198155"/>
            <a:ext cx="2331720" cy="1506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9A657A2-D1C5-5235-A5E3-FB3CA461ABCF}"/>
              </a:ext>
            </a:extLst>
          </p:cNvPr>
          <p:cNvSpPr/>
          <p:nvPr userDrawn="1"/>
        </p:nvSpPr>
        <p:spPr>
          <a:xfrm>
            <a:off x="4935564" y="2089572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496981B-0110-DA46-EA72-F826292BFC88}"/>
              </a:ext>
            </a:extLst>
          </p:cNvPr>
          <p:cNvSpPr/>
          <p:nvPr userDrawn="1"/>
        </p:nvSpPr>
        <p:spPr>
          <a:xfrm>
            <a:off x="2549405" y="2086416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AFEC015D-30E2-21C1-B0FB-9346AF4C66B3}"/>
              </a:ext>
            </a:extLst>
          </p:cNvPr>
          <p:cNvSpPr/>
          <p:nvPr userDrawn="1"/>
        </p:nvSpPr>
        <p:spPr>
          <a:xfrm>
            <a:off x="163246" y="2086416"/>
            <a:ext cx="2331720" cy="150666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1CB308-389C-12E2-8AF0-09BDAB8E7050}"/>
              </a:ext>
            </a:extLst>
          </p:cNvPr>
          <p:cNvSpPr/>
          <p:nvPr userDrawn="1"/>
        </p:nvSpPr>
        <p:spPr>
          <a:xfrm>
            <a:off x="7321723" y="2086416"/>
            <a:ext cx="2331720" cy="15066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1659D123-AF14-8C0D-7DDF-1E9D3AE198B4}"/>
              </a:ext>
            </a:extLst>
          </p:cNvPr>
          <p:cNvSpPr/>
          <p:nvPr userDrawn="1"/>
        </p:nvSpPr>
        <p:spPr>
          <a:xfrm>
            <a:off x="9707880" y="2086416"/>
            <a:ext cx="2331720" cy="1506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Graphic 89">
            <a:extLst>
              <a:ext uri="{FF2B5EF4-FFF2-40B4-BE49-F238E27FC236}">
                <a16:creationId xmlns:a16="http://schemas.microsoft.com/office/drawing/2014/main" id="{C94E2FE7-20BA-7B20-080B-50581735C208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4935564" y="5196055"/>
            <a:ext cx="1432938" cy="1508760"/>
          </a:xfrm>
          <a:custGeom>
            <a:avLst/>
            <a:gdLst>
              <a:gd name="connsiteX0" fmla="*/ 0 w 1432938"/>
              <a:gd name="connsiteY0" fmla="*/ 0 h 1432938"/>
              <a:gd name="connsiteX1" fmla="*/ 1432939 w 1432938"/>
              <a:gd name="connsiteY1" fmla="*/ 1432939 h 1432938"/>
              <a:gd name="connsiteX2" fmla="*/ 1432939 w 1432938"/>
              <a:gd name="connsiteY2" fmla="*/ 1432939 h 1432938"/>
              <a:gd name="connsiteX3" fmla="*/ 0 w 1432938"/>
              <a:gd name="connsiteY3" fmla="*/ 0 h 1432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2938" h="1432938">
                <a:moveTo>
                  <a:pt x="0" y="0"/>
                </a:moveTo>
                <a:cubicBezTo>
                  <a:pt x="0" y="791400"/>
                  <a:pt x="641539" y="1432939"/>
                  <a:pt x="1432939" y="1432939"/>
                </a:cubicBezTo>
                <a:lnTo>
                  <a:pt x="1432939" y="1432939"/>
                </a:lnTo>
                <a:cubicBezTo>
                  <a:pt x="1432939" y="641539"/>
                  <a:pt x="791400" y="0"/>
                  <a:pt x="0" y="0"/>
                </a:cubicBezTo>
                <a:close/>
              </a:path>
            </a:pathLst>
          </a:custGeom>
          <a:solidFill>
            <a:schemeClr val="accent1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7" name="Graphic 86">
            <a:extLst>
              <a:ext uri="{FF2B5EF4-FFF2-40B4-BE49-F238E27FC236}">
                <a16:creationId xmlns:a16="http://schemas.microsoft.com/office/drawing/2014/main" id="{FA030C6C-F4F8-B35B-0ED9-1F4BEDA6222A}"/>
              </a:ext>
            </a:extLst>
          </p:cNvPr>
          <p:cNvSpPr>
            <a:spLocks noChangeAspect="1"/>
          </p:cNvSpPr>
          <p:nvPr userDrawn="1"/>
        </p:nvSpPr>
        <p:spPr>
          <a:xfrm rot="10800000" flipH="1">
            <a:off x="8145728" y="2086416"/>
            <a:ext cx="1507715" cy="1507715"/>
          </a:xfrm>
          <a:custGeom>
            <a:avLst/>
            <a:gdLst>
              <a:gd name="connsiteX0" fmla="*/ 1507715 w 1507715"/>
              <a:gd name="connsiteY0" fmla="*/ 0 h 1507715"/>
              <a:gd name="connsiteX1" fmla="*/ 1507715 w 1507715"/>
              <a:gd name="connsiteY1" fmla="*/ 1507715 h 1507715"/>
              <a:gd name="connsiteX2" fmla="*/ 0 w 1507715"/>
              <a:gd name="connsiteY2" fmla="*/ 1507715 h 1507715"/>
              <a:gd name="connsiteX3" fmla="*/ 1507715 w 1507715"/>
              <a:gd name="connsiteY3" fmla="*/ 0 h 1507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7715" h="1507715">
                <a:moveTo>
                  <a:pt x="1507715" y="0"/>
                </a:moveTo>
                <a:lnTo>
                  <a:pt x="1507715" y="1507715"/>
                </a:lnTo>
                <a:lnTo>
                  <a:pt x="0" y="1507715"/>
                </a:lnTo>
                <a:cubicBezTo>
                  <a:pt x="832672" y="1507715"/>
                  <a:pt x="1507715" y="832715"/>
                  <a:pt x="1507715" y="0"/>
                </a:cubicBezTo>
                <a:close/>
              </a:path>
            </a:pathLst>
          </a:custGeom>
          <a:solidFill>
            <a:schemeClr val="accent1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29" name="Freeform 28">
            <a:extLst>
              <a:ext uri="{FF2B5EF4-FFF2-40B4-BE49-F238E27FC236}">
                <a16:creationId xmlns:a16="http://schemas.microsoft.com/office/drawing/2014/main" id="{C4516B6D-A9C9-6053-6233-25BCE96A7E92}"/>
              </a:ext>
            </a:extLst>
          </p:cNvPr>
          <p:cNvSpPr>
            <a:spLocks noChangeAspect="1"/>
          </p:cNvSpPr>
          <p:nvPr userDrawn="1"/>
        </p:nvSpPr>
        <p:spPr>
          <a:xfrm rot="5400000">
            <a:off x="2240746" y="2395076"/>
            <a:ext cx="1508760" cy="891441"/>
          </a:xfrm>
          <a:custGeom>
            <a:avLst/>
            <a:gdLst>
              <a:gd name="connsiteX0" fmla="*/ 0 w 1431896"/>
              <a:gd name="connsiteY0" fmla="*/ 0 h 846026"/>
              <a:gd name="connsiteX1" fmla="*/ 1431897 w 1431896"/>
              <a:gd name="connsiteY1" fmla="*/ 846027 h 846026"/>
              <a:gd name="connsiteX2" fmla="*/ 0 w 1431896"/>
              <a:gd name="connsiteY2" fmla="*/ 846027 h 846026"/>
              <a:gd name="connsiteX3" fmla="*/ 0 w 1431896"/>
              <a:gd name="connsiteY3" fmla="*/ 0 h 8460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1896" h="846026">
                <a:moveTo>
                  <a:pt x="0" y="0"/>
                </a:moveTo>
                <a:lnTo>
                  <a:pt x="1431897" y="846027"/>
                </a:lnTo>
                <a:lnTo>
                  <a:pt x="0" y="84602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78CA20B7-0BBB-CAC1-10F8-795B6A8185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276" t="42746" r="1938" b="13215"/>
          <a:stretch/>
        </p:blipFill>
        <p:spPr>
          <a:xfrm>
            <a:off x="2549403" y="3639130"/>
            <a:ext cx="4717881" cy="1509816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0DCBCB15-8577-2CE5-8D8F-20ADC7E98D0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010072" y="4516547"/>
            <a:ext cx="180660" cy="18066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7F5F86C3-A6F7-B8A8-E4C3-485D5410082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204444" y="4332340"/>
            <a:ext cx="123393" cy="123393"/>
          </a:xfrm>
          <a:prstGeom prst="rect">
            <a:avLst/>
          </a:prstGeom>
        </p:spPr>
      </p:pic>
      <p:grpSp>
        <p:nvGrpSpPr>
          <p:cNvPr id="34" name="Group 33">
            <a:extLst>
              <a:ext uri="{FF2B5EF4-FFF2-40B4-BE49-F238E27FC236}">
                <a16:creationId xmlns:a16="http://schemas.microsoft.com/office/drawing/2014/main" id="{CAA21F83-EBBF-2B10-5277-FC6068ABBB09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4772418" y="4523567"/>
            <a:ext cx="228197" cy="242392"/>
            <a:chOff x="7003429" y="4752763"/>
            <a:chExt cx="171448" cy="182113"/>
          </a:xfrm>
        </p:grpSpPr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2B5841A9-BA6D-FD14-12E3-14B99FC2208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003429" y="4800703"/>
              <a:ext cx="124813" cy="134173"/>
            </a:xfrm>
            <a:prstGeom prst="rect">
              <a:avLst/>
            </a:prstGeom>
          </p:spPr>
        </p:pic>
        <p:pic>
          <p:nvPicPr>
            <p:cNvPr id="36" name="Graphic 35">
              <a:extLst>
                <a:ext uri="{FF2B5EF4-FFF2-40B4-BE49-F238E27FC236}">
                  <a16:creationId xmlns:a16="http://schemas.microsoft.com/office/drawing/2014/main" id="{3E9121A4-B19F-18FD-DC06-28276F362F2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116651" y="4752763"/>
              <a:ext cx="58226" cy="62592"/>
            </a:xfrm>
            <a:prstGeom prst="rect">
              <a:avLst/>
            </a:prstGeom>
          </p:spPr>
        </p:pic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CB2E0E24-3268-5E9A-23DD-B02FB30F67C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t="7403" r="19114" b="14089"/>
          <a:stretch/>
        </p:blipFill>
        <p:spPr>
          <a:xfrm>
            <a:off x="7321723" y="5196054"/>
            <a:ext cx="2331721" cy="1508761"/>
          </a:xfrm>
          <a:prstGeom prst="rect">
            <a:avLst/>
          </a:prstGeom>
        </p:spPr>
      </p:pic>
      <p:sp>
        <p:nvSpPr>
          <p:cNvPr id="38" name="Graphic 19">
            <a:extLst>
              <a:ext uri="{FF2B5EF4-FFF2-40B4-BE49-F238E27FC236}">
                <a16:creationId xmlns:a16="http://schemas.microsoft.com/office/drawing/2014/main" id="{87B053AB-DC14-3C7D-4C1B-308F275A43A7}"/>
              </a:ext>
            </a:extLst>
          </p:cNvPr>
          <p:cNvSpPr>
            <a:spLocks noChangeAspect="1"/>
          </p:cNvSpPr>
          <p:nvPr userDrawn="1"/>
        </p:nvSpPr>
        <p:spPr>
          <a:xfrm>
            <a:off x="3371309" y="5198155"/>
            <a:ext cx="1509816" cy="1509816"/>
          </a:xfrm>
          <a:custGeom>
            <a:avLst/>
            <a:gdLst>
              <a:gd name="connsiteX0" fmla="*/ 1509817 w 1509816"/>
              <a:gd name="connsiteY0" fmla="*/ 1509817 h 1509816"/>
              <a:gd name="connsiteX1" fmla="*/ 0 w 1509816"/>
              <a:gd name="connsiteY1" fmla="*/ 0 h 1509816"/>
              <a:gd name="connsiteX2" fmla="*/ 1509817 w 1509816"/>
              <a:gd name="connsiteY2" fmla="*/ 0 h 1509816"/>
              <a:gd name="connsiteX3" fmla="*/ 1509817 w 1509816"/>
              <a:gd name="connsiteY3" fmla="*/ 1509817 h 1509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9816" h="1509816">
                <a:moveTo>
                  <a:pt x="1509817" y="1509817"/>
                </a:moveTo>
                <a:cubicBezTo>
                  <a:pt x="675984" y="1509817"/>
                  <a:pt x="0" y="833833"/>
                  <a:pt x="0" y="0"/>
                </a:cubicBezTo>
                <a:lnTo>
                  <a:pt x="1509817" y="0"/>
                </a:lnTo>
                <a:lnTo>
                  <a:pt x="1509817" y="1509817"/>
                </a:lnTo>
                <a:close/>
              </a:path>
            </a:pathLst>
          </a:custGeom>
          <a:solidFill>
            <a:schemeClr val="accent1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0" name="Graphic 19">
            <a:extLst>
              <a:ext uri="{FF2B5EF4-FFF2-40B4-BE49-F238E27FC236}">
                <a16:creationId xmlns:a16="http://schemas.microsoft.com/office/drawing/2014/main" id="{E47507C4-0B03-5875-0758-C7CB1B68D3B1}"/>
              </a:ext>
            </a:extLst>
          </p:cNvPr>
          <p:cNvSpPr>
            <a:spLocks noChangeAspect="1"/>
          </p:cNvSpPr>
          <p:nvPr userDrawn="1"/>
        </p:nvSpPr>
        <p:spPr>
          <a:xfrm rot="5400000">
            <a:off x="10529784" y="5194999"/>
            <a:ext cx="1509816" cy="1509816"/>
          </a:xfrm>
          <a:custGeom>
            <a:avLst/>
            <a:gdLst>
              <a:gd name="connsiteX0" fmla="*/ 1509817 w 1509816"/>
              <a:gd name="connsiteY0" fmla="*/ 1509817 h 1509816"/>
              <a:gd name="connsiteX1" fmla="*/ 0 w 1509816"/>
              <a:gd name="connsiteY1" fmla="*/ 0 h 1509816"/>
              <a:gd name="connsiteX2" fmla="*/ 1509817 w 1509816"/>
              <a:gd name="connsiteY2" fmla="*/ 0 h 1509816"/>
              <a:gd name="connsiteX3" fmla="*/ 1509817 w 1509816"/>
              <a:gd name="connsiteY3" fmla="*/ 1509817 h 1509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9816" h="1509816">
                <a:moveTo>
                  <a:pt x="1509817" y="1509817"/>
                </a:moveTo>
                <a:cubicBezTo>
                  <a:pt x="675984" y="1509817"/>
                  <a:pt x="0" y="833833"/>
                  <a:pt x="0" y="0"/>
                </a:cubicBezTo>
                <a:lnTo>
                  <a:pt x="1509817" y="0"/>
                </a:lnTo>
                <a:lnTo>
                  <a:pt x="1509817" y="1509817"/>
                </a:lnTo>
                <a:close/>
              </a:path>
            </a:pathLst>
          </a:custGeom>
          <a:solidFill>
            <a:schemeClr val="tx2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1" name="Graphic 89">
            <a:extLst>
              <a:ext uri="{FF2B5EF4-FFF2-40B4-BE49-F238E27FC236}">
                <a16:creationId xmlns:a16="http://schemas.microsoft.com/office/drawing/2014/main" id="{689B6A08-FDFA-1FB6-A827-3A355A834D15}"/>
              </a:ext>
            </a:extLst>
          </p:cNvPr>
          <p:cNvSpPr>
            <a:spLocks noChangeAspect="1"/>
          </p:cNvSpPr>
          <p:nvPr userDrawn="1"/>
        </p:nvSpPr>
        <p:spPr>
          <a:xfrm>
            <a:off x="10606662" y="3640185"/>
            <a:ext cx="1432938" cy="1508760"/>
          </a:xfrm>
          <a:custGeom>
            <a:avLst/>
            <a:gdLst>
              <a:gd name="connsiteX0" fmla="*/ 0 w 1432938"/>
              <a:gd name="connsiteY0" fmla="*/ 0 h 1432938"/>
              <a:gd name="connsiteX1" fmla="*/ 1432939 w 1432938"/>
              <a:gd name="connsiteY1" fmla="*/ 1432939 h 1432938"/>
              <a:gd name="connsiteX2" fmla="*/ 1432939 w 1432938"/>
              <a:gd name="connsiteY2" fmla="*/ 1432939 h 1432938"/>
              <a:gd name="connsiteX3" fmla="*/ 0 w 1432938"/>
              <a:gd name="connsiteY3" fmla="*/ 0 h 1432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432938" h="1432938">
                <a:moveTo>
                  <a:pt x="0" y="0"/>
                </a:moveTo>
                <a:cubicBezTo>
                  <a:pt x="0" y="791400"/>
                  <a:pt x="641539" y="1432939"/>
                  <a:pt x="1432939" y="1432939"/>
                </a:cubicBezTo>
                <a:lnTo>
                  <a:pt x="1432939" y="1432939"/>
                </a:lnTo>
                <a:cubicBezTo>
                  <a:pt x="1432939" y="641539"/>
                  <a:pt x="791400" y="0"/>
                  <a:pt x="0" y="0"/>
                </a:cubicBezTo>
                <a:close/>
              </a:path>
            </a:pathLst>
          </a:custGeom>
          <a:solidFill>
            <a:schemeClr val="tx2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42" name="Picture 41" descr="A group of people sitting on a couch eating snacks&#10;&#10;Description automatically generated">
            <a:extLst>
              <a:ext uri="{FF2B5EF4-FFF2-40B4-BE49-F238E27FC236}">
                <a16:creationId xmlns:a16="http://schemas.microsoft.com/office/drawing/2014/main" id="{E0A3622F-7EA4-8E7D-B3D0-C36EE41859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030" t="20084" r="9782" b="17576"/>
          <a:stretch/>
        </p:blipFill>
        <p:spPr>
          <a:xfrm>
            <a:off x="9707880" y="2083331"/>
            <a:ext cx="2331720" cy="1509745"/>
          </a:xfrm>
          <a:prstGeom prst="rect">
            <a:avLst/>
          </a:prstGeom>
        </p:spPr>
      </p:pic>
      <p:pic>
        <p:nvPicPr>
          <p:cNvPr id="45" name="Picture 44">
            <a:extLst>
              <a:ext uri="{FF2B5EF4-FFF2-40B4-BE49-F238E27FC236}">
                <a16:creationId xmlns:a16="http://schemas.microsoft.com/office/drawing/2014/main" id="{ECF28096-5315-5A8D-A6D0-E4D63ACD8D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32" b="1432"/>
          <a:stretch/>
        </p:blipFill>
        <p:spPr>
          <a:xfrm>
            <a:off x="163246" y="5196055"/>
            <a:ext cx="2329621" cy="1508760"/>
          </a:xfrm>
          <a:prstGeom prst="rect">
            <a:avLst/>
          </a:prstGeom>
        </p:spPr>
      </p:pic>
      <p:pic>
        <p:nvPicPr>
          <p:cNvPr id="46" name="Graphic 45">
            <a:extLst>
              <a:ext uri="{FF2B5EF4-FFF2-40B4-BE49-F238E27FC236}">
                <a16:creationId xmlns:a16="http://schemas.microsoft.com/office/drawing/2014/main" id="{FE18ED26-5CB1-E06F-888C-12A76E251DE9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385946" y="5502166"/>
            <a:ext cx="217381" cy="250823"/>
          </a:xfrm>
          <a:prstGeom prst="rect">
            <a:avLst/>
          </a:prstGeom>
        </p:spPr>
      </p:pic>
      <p:pic>
        <p:nvPicPr>
          <p:cNvPr id="47" name="Graphic 46">
            <a:extLst>
              <a:ext uri="{FF2B5EF4-FFF2-40B4-BE49-F238E27FC236}">
                <a16:creationId xmlns:a16="http://schemas.microsoft.com/office/drawing/2014/main" id="{3A2ED3C3-224B-5B17-4CBD-CC02EC295EEF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839677" y="2943255"/>
            <a:ext cx="107650" cy="132614"/>
          </a:xfrm>
          <a:prstGeom prst="rect">
            <a:avLst/>
          </a:prstGeom>
        </p:spPr>
      </p:pic>
      <p:pic>
        <p:nvPicPr>
          <p:cNvPr id="48" name="Graphic 47">
            <a:extLst>
              <a:ext uri="{FF2B5EF4-FFF2-40B4-BE49-F238E27FC236}">
                <a16:creationId xmlns:a16="http://schemas.microsoft.com/office/drawing/2014/main" id="{BB6E23F5-71F0-9FA5-17D6-AA0DA9692107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1370508" y="3191016"/>
            <a:ext cx="163814" cy="191897"/>
          </a:xfrm>
          <a:prstGeom prst="rect">
            <a:avLst/>
          </a:prstGeom>
        </p:spPr>
      </p:pic>
      <p:pic>
        <p:nvPicPr>
          <p:cNvPr id="49" name="Graphic 48">
            <a:extLst>
              <a:ext uri="{FF2B5EF4-FFF2-40B4-BE49-F238E27FC236}">
                <a16:creationId xmlns:a16="http://schemas.microsoft.com/office/drawing/2014/main" id="{15ECD918-63DF-EEC8-E3EE-CD69C5E971EF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7802482" y="5494368"/>
            <a:ext cx="209779" cy="322269"/>
          </a:xfrm>
          <a:prstGeom prst="rect">
            <a:avLst/>
          </a:prstGeom>
        </p:spPr>
      </p:pic>
      <p:grpSp>
        <p:nvGrpSpPr>
          <p:cNvPr id="50" name="Group 49">
            <a:extLst>
              <a:ext uri="{FF2B5EF4-FFF2-40B4-BE49-F238E27FC236}">
                <a16:creationId xmlns:a16="http://schemas.microsoft.com/office/drawing/2014/main" id="{12006814-BC45-F518-91C8-212DA007203A}"/>
              </a:ext>
            </a:extLst>
          </p:cNvPr>
          <p:cNvGrpSpPr>
            <a:grpSpLocks noChangeAspect="1"/>
          </p:cNvGrpSpPr>
          <p:nvPr userDrawn="1"/>
        </p:nvGrpSpPr>
        <p:grpSpPr>
          <a:xfrm flipH="1">
            <a:off x="7647396" y="6239836"/>
            <a:ext cx="251017" cy="266631"/>
            <a:chOff x="7003429" y="4752763"/>
            <a:chExt cx="171448" cy="182113"/>
          </a:xfrm>
        </p:grpSpPr>
        <p:pic>
          <p:nvPicPr>
            <p:cNvPr id="51" name="Graphic 50">
              <a:extLst>
                <a:ext uri="{FF2B5EF4-FFF2-40B4-BE49-F238E27FC236}">
                  <a16:creationId xmlns:a16="http://schemas.microsoft.com/office/drawing/2014/main" id="{2F8F64C8-443F-CA06-FF57-A20371203BF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003429" y="4800703"/>
              <a:ext cx="124813" cy="134173"/>
            </a:xfrm>
            <a:prstGeom prst="rect">
              <a:avLst/>
            </a:prstGeom>
          </p:spPr>
        </p:pic>
        <p:pic>
          <p:nvPicPr>
            <p:cNvPr id="52" name="Graphic 51">
              <a:extLst>
                <a:ext uri="{FF2B5EF4-FFF2-40B4-BE49-F238E27FC236}">
                  <a16:creationId xmlns:a16="http://schemas.microsoft.com/office/drawing/2014/main" id="{DFB8F7C6-0EF9-938D-A9B8-C7AB7DD8A1F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116651" y="4752763"/>
              <a:ext cx="58226" cy="62592"/>
            </a:xfrm>
            <a:prstGeom prst="rect">
              <a:avLst/>
            </a:prstGeom>
          </p:spPr>
        </p:pic>
      </p:grpSp>
      <p:sp>
        <p:nvSpPr>
          <p:cNvPr id="53" name="Graphic 19">
            <a:extLst>
              <a:ext uri="{FF2B5EF4-FFF2-40B4-BE49-F238E27FC236}">
                <a16:creationId xmlns:a16="http://schemas.microsoft.com/office/drawing/2014/main" id="{40E85101-A793-D99D-69A0-0C6065EB3228}"/>
              </a:ext>
            </a:extLst>
          </p:cNvPr>
          <p:cNvSpPr>
            <a:spLocks noChangeAspect="1"/>
          </p:cNvSpPr>
          <p:nvPr userDrawn="1"/>
        </p:nvSpPr>
        <p:spPr>
          <a:xfrm flipH="1" flipV="1">
            <a:off x="163247" y="3639129"/>
            <a:ext cx="1509816" cy="1509816"/>
          </a:xfrm>
          <a:custGeom>
            <a:avLst/>
            <a:gdLst>
              <a:gd name="connsiteX0" fmla="*/ 1509817 w 1509816"/>
              <a:gd name="connsiteY0" fmla="*/ 1509817 h 1509816"/>
              <a:gd name="connsiteX1" fmla="*/ 0 w 1509816"/>
              <a:gd name="connsiteY1" fmla="*/ 0 h 1509816"/>
              <a:gd name="connsiteX2" fmla="*/ 1509817 w 1509816"/>
              <a:gd name="connsiteY2" fmla="*/ 0 h 1509816"/>
              <a:gd name="connsiteX3" fmla="*/ 1509817 w 1509816"/>
              <a:gd name="connsiteY3" fmla="*/ 1509817 h 1509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9816" h="1509816">
                <a:moveTo>
                  <a:pt x="1509817" y="1509817"/>
                </a:moveTo>
                <a:cubicBezTo>
                  <a:pt x="675984" y="1509817"/>
                  <a:pt x="0" y="833833"/>
                  <a:pt x="0" y="0"/>
                </a:cubicBezTo>
                <a:lnTo>
                  <a:pt x="1509817" y="0"/>
                </a:lnTo>
                <a:lnTo>
                  <a:pt x="1509817" y="1509817"/>
                </a:lnTo>
                <a:close/>
              </a:path>
            </a:pathLst>
          </a:custGeom>
          <a:solidFill>
            <a:schemeClr val="accent6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54" name="Graphic 86">
            <a:extLst>
              <a:ext uri="{FF2B5EF4-FFF2-40B4-BE49-F238E27FC236}">
                <a16:creationId xmlns:a16="http://schemas.microsoft.com/office/drawing/2014/main" id="{EB44B7AE-CCEB-B266-754C-28976FD82CEF}"/>
              </a:ext>
            </a:extLst>
          </p:cNvPr>
          <p:cNvSpPr>
            <a:spLocks noChangeAspect="1"/>
          </p:cNvSpPr>
          <p:nvPr userDrawn="1"/>
        </p:nvSpPr>
        <p:spPr>
          <a:xfrm rot="16200000" flipH="1">
            <a:off x="987251" y="2086416"/>
            <a:ext cx="1507715" cy="1507715"/>
          </a:xfrm>
          <a:custGeom>
            <a:avLst/>
            <a:gdLst>
              <a:gd name="connsiteX0" fmla="*/ 1507715 w 1507715"/>
              <a:gd name="connsiteY0" fmla="*/ 0 h 1507715"/>
              <a:gd name="connsiteX1" fmla="*/ 1507715 w 1507715"/>
              <a:gd name="connsiteY1" fmla="*/ 1507715 h 1507715"/>
              <a:gd name="connsiteX2" fmla="*/ 0 w 1507715"/>
              <a:gd name="connsiteY2" fmla="*/ 1507715 h 1507715"/>
              <a:gd name="connsiteX3" fmla="*/ 1507715 w 1507715"/>
              <a:gd name="connsiteY3" fmla="*/ 0 h 1507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7715" h="1507715">
                <a:moveTo>
                  <a:pt x="1507715" y="0"/>
                </a:moveTo>
                <a:lnTo>
                  <a:pt x="1507715" y="1507715"/>
                </a:lnTo>
                <a:lnTo>
                  <a:pt x="0" y="1507715"/>
                </a:lnTo>
                <a:cubicBezTo>
                  <a:pt x="832672" y="1507715"/>
                  <a:pt x="1507715" y="832715"/>
                  <a:pt x="1507715" y="0"/>
                </a:cubicBezTo>
                <a:close/>
              </a:path>
            </a:pathLst>
          </a:custGeom>
          <a:solidFill>
            <a:schemeClr val="accent6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57" name="Picture 56">
            <a:extLst>
              <a:ext uri="{FF2B5EF4-FFF2-40B4-BE49-F238E27FC236}">
                <a16:creationId xmlns:a16="http://schemas.microsoft.com/office/drawing/2014/main" id="{B743314B-153B-F6C2-F576-49995A6EC6F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6" t="56" r="56" b="56"/>
          <a:stretch/>
        </p:blipFill>
        <p:spPr>
          <a:xfrm>
            <a:off x="9337160" y="4830150"/>
            <a:ext cx="687003" cy="687003"/>
          </a:xfrm>
          <a:prstGeom prst="ellipse">
            <a:avLst/>
          </a:prstGeom>
          <a:ln w="63500">
            <a:noFill/>
          </a:ln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7BB8CB2D-AA2F-5EA0-0EB3-727FFFEDAB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51002" y="3274179"/>
            <a:ext cx="687003" cy="687003"/>
          </a:xfrm>
          <a:prstGeom prst="ellipse">
            <a:avLst/>
          </a:prstGeom>
          <a:ln w="63500">
            <a:noFill/>
          </a:ln>
        </p:spPr>
      </p:pic>
      <p:pic>
        <p:nvPicPr>
          <p:cNvPr id="59" name="Picture 58">
            <a:extLst>
              <a:ext uri="{FF2B5EF4-FFF2-40B4-BE49-F238E27FC236}">
                <a16:creationId xmlns:a16="http://schemas.microsoft.com/office/drawing/2014/main" id="{EE2275CB-A923-B742-8A4F-1B5767A6C3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12" b="112"/>
          <a:stretch/>
        </p:blipFill>
        <p:spPr>
          <a:xfrm>
            <a:off x="2178684" y="4830150"/>
            <a:ext cx="687003" cy="687003"/>
          </a:xfrm>
          <a:prstGeom prst="ellipse">
            <a:avLst/>
          </a:prstGeom>
          <a:ln w="63500">
            <a:noFill/>
          </a:ln>
        </p:spPr>
      </p:pic>
      <p:sp>
        <p:nvSpPr>
          <p:cNvPr id="60" name="Graphic 86">
            <a:extLst>
              <a:ext uri="{FF2B5EF4-FFF2-40B4-BE49-F238E27FC236}">
                <a16:creationId xmlns:a16="http://schemas.microsoft.com/office/drawing/2014/main" id="{0E9E40E4-E8D0-7C45-7797-2DA6A307AD19}"/>
              </a:ext>
            </a:extLst>
          </p:cNvPr>
          <p:cNvSpPr>
            <a:spLocks noChangeAspect="1"/>
          </p:cNvSpPr>
          <p:nvPr userDrawn="1"/>
        </p:nvSpPr>
        <p:spPr>
          <a:xfrm rot="10800000" flipV="1">
            <a:off x="7321723" y="3641230"/>
            <a:ext cx="1507715" cy="1507715"/>
          </a:xfrm>
          <a:custGeom>
            <a:avLst/>
            <a:gdLst>
              <a:gd name="connsiteX0" fmla="*/ 1507715 w 1507715"/>
              <a:gd name="connsiteY0" fmla="*/ 0 h 1507715"/>
              <a:gd name="connsiteX1" fmla="*/ 1507715 w 1507715"/>
              <a:gd name="connsiteY1" fmla="*/ 1507715 h 1507715"/>
              <a:gd name="connsiteX2" fmla="*/ 0 w 1507715"/>
              <a:gd name="connsiteY2" fmla="*/ 1507715 h 1507715"/>
              <a:gd name="connsiteX3" fmla="*/ 1507715 w 1507715"/>
              <a:gd name="connsiteY3" fmla="*/ 0 h 1507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7715" h="1507715">
                <a:moveTo>
                  <a:pt x="1507715" y="0"/>
                </a:moveTo>
                <a:lnTo>
                  <a:pt x="1507715" y="1507715"/>
                </a:lnTo>
                <a:lnTo>
                  <a:pt x="0" y="1507715"/>
                </a:lnTo>
                <a:cubicBezTo>
                  <a:pt x="832672" y="1507715"/>
                  <a:pt x="1507715" y="832715"/>
                  <a:pt x="1507715" y="0"/>
                </a:cubicBezTo>
                <a:close/>
              </a:path>
            </a:pathLst>
          </a:custGeom>
          <a:solidFill>
            <a:schemeClr val="accent1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62" name="Graphic 19">
            <a:extLst>
              <a:ext uri="{FF2B5EF4-FFF2-40B4-BE49-F238E27FC236}">
                <a16:creationId xmlns:a16="http://schemas.microsoft.com/office/drawing/2014/main" id="{E71CA5C5-06C3-C986-D64E-E3E631F762A3}"/>
              </a:ext>
            </a:extLst>
          </p:cNvPr>
          <p:cNvSpPr>
            <a:spLocks noChangeAspect="1"/>
          </p:cNvSpPr>
          <p:nvPr userDrawn="1"/>
        </p:nvSpPr>
        <p:spPr>
          <a:xfrm rot="10800000">
            <a:off x="4935564" y="2086416"/>
            <a:ext cx="1509816" cy="1509816"/>
          </a:xfrm>
          <a:custGeom>
            <a:avLst/>
            <a:gdLst>
              <a:gd name="connsiteX0" fmla="*/ 1509817 w 1509816"/>
              <a:gd name="connsiteY0" fmla="*/ 1509817 h 1509816"/>
              <a:gd name="connsiteX1" fmla="*/ 0 w 1509816"/>
              <a:gd name="connsiteY1" fmla="*/ 0 h 1509816"/>
              <a:gd name="connsiteX2" fmla="*/ 1509817 w 1509816"/>
              <a:gd name="connsiteY2" fmla="*/ 0 h 1509816"/>
              <a:gd name="connsiteX3" fmla="*/ 1509817 w 1509816"/>
              <a:gd name="connsiteY3" fmla="*/ 1509817 h 1509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09816" h="1509816">
                <a:moveTo>
                  <a:pt x="1509817" y="1509817"/>
                </a:moveTo>
                <a:cubicBezTo>
                  <a:pt x="675984" y="1509817"/>
                  <a:pt x="0" y="833833"/>
                  <a:pt x="0" y="0"/>
                </a:cubicBezTo>
                <a:lnTo>
                  <a:pt x="1509817" y="0"/>
                </a:lnTo>
                <a:lnTo>
                  <a:pt x="1509817" y="1509817"/>
                </a:lnTo>
                <a:close/>
              </a:path>
            </a:pathLst>
          </a:custGeom>
          <a:solidFill>
            <a:schemeClr val="accent1">
              <a:lumMod val="75000"/>
              <a:alpha val="40000"/>
            </a:schemeClr>
          </a:solidFill>
          <a:ln w="0" cap="flat">
            <a:noFill/>
            <a:prstDash val="solid"/>
            <a:miter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n-US"/>
          </a:p>
        </p:txBody>
      </p:sp>
      <p:pic>
        <p:nvPicPr>
          <p:cNvPr id="64" name="Graphic 63">
            <a:extLst>
              <a:ext uri="{FF2B5EF4-FFF2-40B4-BE49-F238E27FC236}">
                <a16:creationId xmlns:a16="http://schemas.microsoft.com/office/drawing/2014/main" id="{7ADD4046-1258-EC52-C831-658477B359C4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1311315">
            <a:off x="897153" y="6077821"/>
            <a:ext cx="180195" cy="211087"/>
          </a:xfrm>
          <a:prstGeom prst="rect">
            <a:avLst/>
          </a:prstGeom>
        </p:spPr>
      </p:pic>
      <p:pic>
        <p:nvPicPr>
          <p:cNvPr id="65" name="Graphic 64">
            <a:extLst>
              <a:ext uri="{FF2B5EF4-FFF2-40B4-BE49-F238E27FC236}">
                <a16:creationId xmlns:a16="http://schemas.microsoft.com/office/drawing/2014/main" id="{22BAFBEF-CB10-0DA9-3FE1-7DF38E11D76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1304573" y="5433688"/>
            <a:ext cx="85249" cy="91641"/>
          </a:xfrm>
          <a:prstGeom prst="rect">
            <a:avLst/>
          </a:prstGeom>
        </p:spPr>
      </p:pic>
      <p:pic>
        <p:nvPicPr>
          <p:cNvPr id="66" name="Graphic 65">
            <a:extLst>
              <a:ext uri="{FF2B5EF4-FFF2-40B4-BE49-F238E27FC236}">
                <a16:creationId xmlns:a16="http://schemas.microsoft.com/office/drawing/2014/main" id="{ABDF2F9F-203E-DD97-E511-1E9C88B72000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 rot="169463">
            <a:off x="9092736" y="6029966"/>
            <a:ext cx="218037" cy="255416"/>
          </a:xfrm>
          <a:prstGeom prst="rect">
            <a:avLst/>
          </a:prstGeom>
        </p:spPr>
      </p:pic>
      <p:pic>
        <p:nvPicPr>
          <p:cNvPr id="67" name="Graphic 66">
            <a:extLst>
              <a:ext uri="{FF2B5EF4-FFF2-40B4-BE49-F238E27FC236}">
                <a16:creationId xmlns:a16="http://schemas.microsoft.com/office/drawing/2014/main" id="{2773D52D-6077-A56A-F731-77D17AE88D3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1822742" y="6198240"/>
            <a:ext cx="113466" cy="121975"/>
          </a:xfrm>
          <a:prstGeom prst="rect">
            <a:avLst/>
          </a:prstGeom>
        </p:spPr>
      </p:pic>
      <p:pic>
        <p:nvPicPr>
          <p:cNvPr id="68" name="Graphic 67">
            <a:extLst>
              <a:ext uri="{FF2B5EF4-FFF2-40B4-BE49-F238E27FC236}">
                <a16:creationId xmlns:a16="http://schemas.microsoft.com/office/drawing/2014/main" id="{B5BBA0CA-CBDD-FBA9-4444-B5B72DAAF3EC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028804" y="3986569"/>
            <a:ext cx="173372" cy="213576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EE0BC6C4-802F-E72F-7E2E-3C90909FF13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682285" y="2818725"/>
            <a:ext cx="207452" cy="220356"/>
            <a:chOff x="7003429" y="4752763"/>
            <a:chExt cx="171448" cy="182113"/>
          </a:xfrm>
        </p:grpSpPr>
        <p:pic>
          <p:nvPicPr>
            <p:cNvPr id="70" name="Graphic 69">
              <a:extLst>
                <a:ext uri="{FF2B5EF4-FFF2-40B4-BE49-F238E27FC236}">
                  <a16:creationId xmlns:a16="http://schemas.microsoft.com/office/drawing/2014/main" id="{E51B922E-2BC0-E1F3-0C0D-79DA05D4B14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003429" y="4800703"/>
              <a:ext cx="124813" cy="134173"/>
            </a:xfrm>
            <a:prstGeom prst="rect">
              <a:avLst/>
            </a:prstGeom>
          </p:spPr>
        </p:pic>
        <p:pic>
          <p:nvPicPr>
            <p:cNvPr id="71" name="Graphic 70">
              <a:extLst>
                <a:ext uri="{FF2B5EF4-FFF2-40B4-BE49-F238E27FC236}">
                  <a16:creationId xmlns:a16="http://schemas.microsoft.com/office/drawing/2014/main" id="{8F9C6A2C-D980-3458-6A9E-1FCA7C1823E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116651" y="4752763"/>
              <a:ext cx="58226" cy="62592"/>
            </a:xfrm>
            <a:prstGeom prst="rect">
              <a:avLst/>
            </a:prstGeom>
          </p:spPr>
        </p:pic>
      </p:grpSp>
      <p:pic>
        <p:nvPicPr>
          <p:cNvPr id="72" name="Graphic 71">
            <a:extLst>
              <a:ext uri="{FF2B5EF4-FFF2-40B4-BE49-F238E27FC236}">
                <a16:creationId xmlns:a16="http://schemas.microsoft.com/office/drawing/2014/main" id="{71C1E63E-8908-2723-F40E-F6E6318BD7D6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214433" y="2273145"/>
            <a:ext cx="107650" cy="165375"/>
          </a:xfrm>
          <a:prstGeom prst="rect">
            <a:avLst/>
          </a:prstGeom>
        </p:spPr>
      </p:pic>
      <p:pic>
        <p:nvPicPr>
          <p:cNvPr id="73" name="Graphic 72">
            <a:extLst>
              <a:ext uri="{FF2B5EF4-FFF2-40B4-BE49-F238E27FC236}">
                <a16:creationId xmlns:a16="http://schemas.microsoft.com/office/drawing/2014/main" id="{023A26A2-9D1A-8F2B-3301-A4763D7619D1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534322" y="2526389"/>
            <a:ext cx="148475" cy="171315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C1367295-654E-22C7-D3DE-575E6151ADF2}"/>
              </a:ext>
            </a:extLst>
          </p:cNvPr>
          <p:cNvSpPr txBox="1"/>
          <p:nvPr userDrawn="1"/>
        </p:nvSpPr>
        <p:spPr>
          <a:xfrm>
            <a:off x="-1" y="6676328"/>
            <a:ext cx="222781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u="none" strike="noStrike" err="1">
                <a:solidFill>
                  <a:srgbClr val="0065E5"/>
                </a:solidFill>
                <a:effectLst/>
                <a:latin typeface="Fibra One Light" panose="020B0604020202020204" charset="0"/>
              </a:rPr>
              <a:t>pepsico</a:t>
            </a:r>
            <a:r>
              <a:rPr lang="en-US" sz="700" b="0" i="0" u="none" strike="noStrike">
                <a:solidFill>
                  <a:srgbClr val="0065E5"/>
                </a:solidFill>
                <a:effectLst/>
                <a:latin typeface="Fibra One Light" panose="020B0604020202020204" charset="0"/>
              </a:rPr>
              <a:t> positive I </a:t>
            </a:r>
            <a:r>
              <a:rPr lang="en-US" sz="700" b="0" i="0" u="none" strike="noStrike">
                <a:solidFill>
                  <a:srgbClr val="8FDC42"/>
                </a:solidFill>
                <a:effectLst/>
                <a:latin typeface="Fibra One Light" panose="020B0604020202020204" charset="0"/>
              </a:rPr>
              <a:t>confidential &amp; proprietary</a:t>
            </a:r>
            <a:endParaRPr lang="en-US" sz="100">
              <a:solidFill>
                <a:srgbClr val="8FDC42"/>
              </a:solidFill>
              <a:latin typeface="Fibra One Light" panose="020B060402020202020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887E56B8-86FE-FCFF-93B7-648EC04C2078}"/>
              </a:ext>
            </a:extLst>
          </p:cNvPr>
          <p:cNvSpPr txBox="1"/>
          <p:nvPr userDrawn="1"/>
        </p:nvSpPr>
        <p:spPr>
          <a:xfrm>
            <a:off x="8381681" y="6684501"/>
            <a:ext cx="3786872" cy="192360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en-IN" sz="650">
                <a:latin typeface="Fibra One SemiBold"/>
              </a:rPr>
              <a:t>See </a:t>
            </a:r>
            <a:r>
              <a:rPr lang="en-IN" sz="650">
                <a:solidFill>
                  <a:srgbClr val="0056C2"/>
                </a:solidFill>
                <a:latin typeface="Fibra One SemiBold"/>
                <a:hlinkClick r:id="rId21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lculation methodology</a:t>
            </a:r>
            <a:r>
              <a:rPr lang="en-IN" sz="650">
                <a:solidFill>
                  <a:schemeClr val="accent1"/>
                </a:solidFill>
                <a:latin typeface="Fibra One SemiBold"/>
              </a:rPr>
              <a:t> </a:t>
            </a:r>
            <a:r>
              <a:rPr lang="en-IN" sz="650">
                <a:latin typeface="Fibra One SemiBold"/>
              </a:rPr>
              <a:t>on ESG Topics A-Z for additional detail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34972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ED6EDD-1FE0-DA4E-BBAF-48D636384C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12566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ED6EDD-1FE0-DA4E-BBAF-48D636384C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47">
            <a:extLst>
              <a:ext uri="{FF2B5EF4-FFF2-40B4-BE49-F238E27FC236}">
                <a16:creationId xmlns:a16="http://schemas.microsoft.com/office/drawing/2014/main" id="{9A07EEF4-CC9B-1ACB-AF25-E6CA86D3347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0" y="1075325"/>
            <a:ext cx="6592824" cy="181396"/>
          </a:xfrm>
        </p:spPr>
        <p:txBody>
          <a:bodyPr vert="horz" lIns="0" tIns="0" rIns="0" bIns="0" rtlCol="0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100" spc="-30" dirty="0" smtClean="0">
                <a:solidFill>
                  <a:schemeClr val="tx1"/>
                </a:solidFill>
                <a:latin typeface="Fibra One" pitchFamily="2" charset="77"/>
              </a:defRPr>
            </a:lvl1pPr>
          </a:lstStyle>
          <a:p>
            <a:pPr marR="5080" lvl="0">
              <a:lnSpc>
                <a:spcPct val="113000"/>
              </a:lnSpc>
              <a:spcBef>
                <a:spcPts val="300"/>
              </a:spcBef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68716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Identifier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8ED6EDD-1FE0-DA4E-BBAF-48D636384C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994046"/>
            <a:ext cx="5905500" cy="30469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8B59AB5-BB65-61A4-73D4-C63857EC3A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713874"/>
            <a:ext cx="5588000" cy="193899"/>
          </a:xfrm>
        </p:spPr>
        <p:txBody>
          <a:bodyPr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spc="0" baseline="0" dirty="0">
                <a:solidFill>
                  <a:srgbClr val="0052DB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identifier</a:t>
            </a:r>
          </a:p>
        </p:txBody>
      </p:sp>
    </p:spTree>
    <p:extLst>
      <p:ext uri="{BB962C8B-B14F-4D97-AF65-F5344CB8AC3E}">
        <p14:creationId xmlns:p14="http://schemas.microsoft.com/office/powerpoint/2010/main" val="4039478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A09563F-A17E-86B9-B6DE-B63FC0470B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9674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09563F-A17E-86B9-B6DE-B63FC0470B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1" name="Picture 10" descr="A person standing next to a refrigerator&#10;&#10;Description automatically generated with medium confidence">
            <a:extLst>
              <a:ext uri="{FF2B5EF4-FFF2-40B4-BE49-F238E27FC236}">
                <a16:creationId xmlns:a16="http://schemas.microsoft.com/office/drawing/2014/main" id="{646B3363-2589-6D20-01EA-720CE2264B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14"/>
          <a:stretch/>
        </p:blipFill>
        <p:spPr>
          <a:xfrm>
            <a:off x="0" y="-3225"/>
            <a:ext cx="6464459" cy="685522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D41257D2-16E8-0A4B-5A97-A365EBC5CB4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031" y="5220255"/>
            <a:ext cx="3180246" cy="1304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205084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light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96598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(dark)">
    <p:bg>
      <p:bgPr>
        <a:solidFill>
          <a:srgbClr val="005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2D0D2E25-1A53-33EF-FCB0-743FD6EE20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2394" y="141214"/>
            <a:ext cx="780831" cy="187399"/>
          </a:xfrm>
          <a:prstGeom prst="rect">
            <a:avLst/>
          </a:prstGeom>
        </p:spPr>
      </p:pic>
      <p:sp>
        <p:nvSpPr>
          <p:cNvPr id="3" name="object 17">
            <a:extLst>
              <a:ext uri="{FF2B5EF4-FFF2-40B4-BE49-F238E27FC236}">
                <a16:creationId xmlns:a16="http://schemas.microsoft.com/office/drawing/2014/main" id="{77B9B0D0-474C-F0DE-4740-4A9296600D79}"/>
              </a:ext>
            </a:extLst>
          </p:cNvPr>
          <p:cNvSpPr txBox="1">
            <a:spLocks/>
          </p:cNvSpPr>
          <p:nvPr userDrawn="1"/>
        </p:nvSpPr>
        <p:spPr>
          <a:xfrm>
            <a:off x="11649283" y="210332"/>
            <a:ext cx="425305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653A1D-CE81-1B46-9F19-36F2F8F55CD9}" type="slidenum">
              <a:rPr kumimoji="0" lang="en-IN" sz="7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pPr marL="1270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bra One" pitchFamily="2" charset="77"/>
              <a:ea typeface="+mj-ea"/>
              <a:cs typeface="+mj-cs"/>
            </a:endParaRPr>
          </a:p>
        </p:txBody>
      </p:sp>
      <p:sp>
        <p:nvSpPr>
          <p:cNvPr id="5" name="object 17">
            <a:extLst>
              <a:ext uri="{FF2B5EF4-FFF2-40B4-BE49-F238E27FC236}">
                <a16:creationId xmlns:a16="http://schemas.microsoft.com/office/drawing/2014/main" id="{52E44225-A8BF-3248-13C7-92D805644958}"/>
              </a:ext>
            </a:extLst>
          </p:cNvPr>
          <p:cNvSpPr txBox="1">
            <a:spLocks/>
          </p:cNvSpPr>
          <p:nvPr userDrawn="1"/>
        </p:nvSpPr>
        <p:spPr>
          <a:xfrm rot="5400000">
            <a:off x="9824267" y="4472372"/>
            <a:ext cx="4116588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t>2023  PepsiCo ESG Summary Overview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D3971FC-313D-4CF3-273F-8DA92A1409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8F4397A-8710-2F7E-2152-79CE88954BC2}"/>
              </a:ext>
            </a:extLst>
          </p:cNvPr>
          <p:cNvSpPr txBox="1"/>
          <p:nvPr userDrawn="1"/>
        </p:nvSpPr>
        <p:spPr>
          <a:xfrm>
            <a:off x="9724401" y="6601220"/>
            <a:ext cx="25137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u="none" strike="noStrike" err="1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pepsico</a:t>
            </a:r>
            <a:r>
              <a:rPr lang="en-US" sz="800" b="0" i="0" u="none" strike="noStrike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 positive I confidential &amp; proprietary</a:t>
            </a:r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397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 (dark)">
    <p:bg>
      <p:bgPr>
        <a:solidFill>
          <a:srgbClr val="005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2D0D2E25-1A53-33EF-FCB0-743FD6EE20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2394" y="141214"/>
            <a:ext cx="780831" cy="187399"/>
          </a:xfrm>
          <a:prstGeom prst="rect">
            <a:avLst/>
          </a:prstGeom>
        </p:spPr>
      </p:pic>
      <p:sp>
        <p:nvSpPr>
          <p:cNvPr id="3" name="object 17">
            <a:extLst>
              <a:ext uri="{FF2B5EF4-FFF2-40B4-BE49-F238E27FC236}">
                <a16:creationId xmlns:a16="http://schemas.microsoft.com/office/drawing/2014/main" id="{77B9B0D0-474C-F0DE-4740-4A9296600D79}"/>
              </a:ext>
            </a:extLst>
          </p:cNvPr>
          <p:cNvSpPr txBox="1">
            <a:spLocks/>
          </p:cNvSpPr>
          <p:nvPr userDrawn="1"/>
        </p:nvSpPr>
        <p:spPr>
          <a:xfrm>
            <a:off x="11649283" y="210332"/>
            <a:ext cx="425305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653A1D-CE81-1B46-9F19-36F2F8F55CD9}" type="slidenum">
              <a:rPr kumimoji="0" lang="en-IN" sz="7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pPr marL="1270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bra One" pitchFamily="2" charset="77"/>
              <a:ea typeface="+mj-ea"/>
              <a:cs typeface="+mj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EDC9058-100E-D0B5-56FF-17B8168C41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689347"/>
            <a:ext cx="6592824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8" name="Text Placeholder 47">
            <a:extLst>
              <a:ext uri="{FF2B5EF4-FFF2-40B4-BE49-F238E27FC236}">
                <a16:creationId xmlns:a16="http://schemas.microsoft.com/office/drawing/2014/main" id="{7D347BBC-307D-4475-1C1C-EE983EB315A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42900" y="1075325"/>
            <a:ext cx="6592824" cy="181396"/>
          </a:xfrm>
        </p:spPr>
        <p:txBody>
          <a:bodyPr vert="horz" lIns="0" tIns="0" rIns="0" bIns="0" rtlCol="0" anchor="t">
            <a:spAutoFit/>
          </a:bodyPr>
          <a:lstStyle>
            <a:lvl1pPr>
              <a:spcBef>
                <a:spcPts val="0"/>
              </a:spcBef>
              <a:spcAft>
                <a:spcPts val="0"/>
              </a:spcAft>
              <a:defRPr lang="en-US" sz="1100" spc="-30" dirty="0" smtClean="0">
                <a:solidFill>
                  <a:schemeClr val="bg1"/>
                </a:solidFill>
                <a:latin typeface="Fibra One" pitchFamily="2" charset="77"/>
              </a:defRPr>
            </a:lvl1pPr>
          </a:lstStyle>
          <a:p>
            <a:pPr marR="5080" lvl="0">
              <a:lnSpc>
                <a:spcPct val="113000"/>
              </a:lnSpc>
              <a:spcBef>
                <a:spcPts val="300"/>
              </a:spcBef>
            </a:pPr>
            <a:r>
              <a:rPr lang="en-US"/>
              <a:t>Click to edit Master text styles</a:t>
            </a:r>
          </a:p>
        </p:txBody>
      </p:sp>
      <p:sp>
        <p:nvSpPr>
          <p:cNvPr id="49" name="object 17">
            <a:extLst>
              <a:ext uri="{FF2B5EF4-FFF2-40B4-BE49-F238E27FC236}">
                <a16:creationId xmlns:a16="http://schemas.microsoft.com/office/drawing/2014/main" id="{98B7A3BF-D2AE-CFBD-5C24-E9078C7A5F01}"/>
              </a:ext>
            </a:extLst>
          </p:cNvPr>
          <p:cNvSpPr txBox="1">
            <a:spLocks/>
          </p:cNvSpPr>
          <p:nvPr userDrawn="1"/>
        </p:nvSpPr>
        <p:spPr>
          <a:xfrm rot="5400000">
            <a:off x="9824267" y="4472372"/>
            <a:ext cx="4116588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t>2023  PepsiCo ESG Summary Overview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92E5EB-BA1B-A5E9-130E-87797C4C6CD3}"/>
              </a:ext>
            </a:extLst>
          </p:cNvPr>
          <p:cNvSpPr txBox="1"/>
          <p:nvPr userDrawn="1"/>
        </p:nvSpPr>
        <p:spPr>
          <a:xfrm>
            <a:off x="9724401" y="6601220"/>
            <a:ext cx="25137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u="none" strike="noStrike" err="1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pepsico</a:t>
            </a:r>
            <a:r>
              <a:rPr lang="en-US" sz="800" b="0" i="0" u="none" strike="noStrike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 positive I confidential &amp; proprietary</a:t>
            </a:r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27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Identifier (dark)">
    <p:bg>
      <p:bgPr>
        <a:solidFill>
          <a:srgbClr val="005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2D0D2E25-1A53-33EF-FCB0-743FD6EE20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2394" y="141214"/>
            <a:ext cx="780831" cy="187399"/>
          </a:xfrm>
          <a:prstGeom prst="rect">
            <a:avLst/>
          </a:prstGeom>
        </p:spPr>
      </p:pic>
      <p:sp>
        <p:nvSpPr>
          <p:cNvPr id="3" name="object 17">
            <a:extLst>
              <a:ext uri="{FF2B5EF4-FFF2-40B4-BE49-F238E27FC236}">
                <a16:creationId xmlns:a16="http://schemas.microsoft.com/office/drawing/2014/main" id="{77B9B0D0-474C-F0DE-4740-4A9296600D79}"/>
              </a:ext>
            </a:extLst>
          </p:cNvPr>
          <p:cNvSpPr txBox="1">
            <a:spLocks/>
          </p:cNvSpPr>
          <p:nvPr userDrawn="1"/>
        </p:nvSpPr>
        <p:spPr>
          <a:xfrm>
            <a:off x="11649283" y="210332"/>
            <a:ext cx="425305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653A1D-CE81-1B46-9F19-36F2F8F55CD9}" type="slidenum">
              <a:rPr kumimoji="0" lang="en-IN" sz="7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pPr marL="1270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bra One" pitchFamily="2" charset="77"/>
              <a:ea typeface="+mj-ea"/>
              <a:cs typeface="+mj-cs"/>
            </a:endParaRPr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A80D6156-9F36-B44E-70EE-2AD30070F6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994046"/>
            <a:ext cx="5905500" cy="30469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F954B44-B6E1-D42B-7941-361A13582F1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2900" y="713874"/>
            <a:ext cx="5588000" cy="193899"/>
          </a:xfrm>
        </p:spPr>
        <p:txBody>
          <a:bodyPr>
            <a:sp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1400" b="0" kern="1200" spc="0" baseline="0" dirty="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identifier</a:t>
            </a:r>
          </a:p>
        </p:txBody>
      </p:sp>
      <p:sp>
        <p:nvSpPr>
          <p:cNvPr id="5" name="object 17">
            <a:extLst>
              <a:ext uri="{FF2B5EF4-FFF2-40B4-BE49-F238E27FC236}">
                <a16:creationId xmlns:a16="http://schemas.microsoft.com/office/drawing/2014/main" id="{B6A72899-5654-7BA5-B334-01C74DC66225}"/>
              </a:ext>
            </a:extLst>
          </p:cNvPr>
          <p:cNvSpPr txBox="1">
            <a:spLocks/>
          </p:cNvSpPr>
          <p:nvPr userDrawn="1"/>
        </p:nvSpPr>
        <p:spPr>
          <a:xfrm rot="5400000">
            <a:off x="9824267" y="4472372"/>
            <a:ext cx="4116588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t>2023  PepsiCo ESG Summary Overview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E2410A2-895F-CB75-A7FB-04AE66497903}"/>
              </a:ext>
            </a:extLst>
          </p:cNvPr>
          <p:cNvSpPr txBox="1"/>
          <p:nvPr userDrawn="1"/>
        </p:nvSpPr>
        <p:spPr>
          <a:xfrm>
            <a:off x="9724401" y="6601220"/>
            <a:ext cx="25137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u="none" strike="noStrike" err="1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pepsico</a:t>
            </a:r>
            <a:r>
              <a:rPr lang="en-US" sz="800" b="0" i="0" u="none" strike="noStrike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 positive I confidential &amp; proprietary</a:t>
            </a:r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1423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(dark)">
    <p:bg>
      <p:bgPr>
        <a:solidFill>
          <a:srgbClr val="0052D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2D0D2E25-1A53-33EF-FCB0-743FD6EE20C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2394" y="141214"/>
            <a:ext cx="780831" cy="187399"/>
          </a:xfrm>
          <a:prstGeom prst="rect">
            <a:avLst/>
          </a:prstGeom>
        </p:spPr>
      </p:pic>
      <p:sp>
        <p:nvSpPr>
          <p:cNvPr id="3" name="object 17">
            <a:extLst>
              <a:ext uri="{FF2B5EF4-FFF2-40B4-BE49-F238E27FC236}">
                <a16:creationId xmlns:a16="http://schemas.microsoft.com/office/drawing/2014/main" id="{77B9B0D0-474C-F0DE-4740-4A9296600D79}"/>
              </a:ext>
            </a:extLst>
          </p:cNvPr>
          <p:cNvSpPr txBox="1">
            <a:spLocks/>
          </p:cNvSpPr>
          <p:nvPr userDrawn="1"/>
        </p:nvSpPr>
        <p:spPr>
          <a:xfrm>
            <a:off x="11649283" y="210332"/>
            <a:ext cx="425305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653A1D-CE81-1B46-9F19-36F2F8F55CD9}" type="slidenum">
              <a:rPr kumimoji="0" lang="en-IN" sz="700" b="1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pPr marL="1270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Fibra One" pitchFamily="2" charset="77"/>
              <a:ea typeface="+mj-ea"/>
              <a:cs typeface="+mj-cs"/>
            </a:endParaRPr>
          </a:p>
        </p:txBody>
      </p:sp>
      <p:sp>
        <p:nvSpPr>
          <p:cNvPr id="5" name="object 17">
            <a:extLst>
              <a:ext uri="{FF2B5EF4-FFF2-40B4-BE49-F238E27FC236}">
                <a16:creationId xmlns:a16="http://schemas.microsoft.com/office/drawing/2014/main" id="{52E44225-A8BF-3248-13C7-92D805644958}"/>
              </a:ext>
            </a:extLst>
          </p:cNvPr>
          <p:cNvSpPr txBox="1">
            <a:spLocks/>
          </p:cNvSpPr>
          <p:nvPr userDrawn="1"/>
        </p:nvSpPr>
        <p:spPr>
          <a:xfrm rot="5400000">
            <a:off x="9824267" y="4472372"/>
            <a:ext cx="4116588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t>2023  PepsiCo ESG Summary Overview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096598-C955-469E-08CD-4A4FAEE43877}"/>
              </a:ext>
            </a:extLst>
          </p:cNvPr>
          <p:cNvSpPr txBox="1"/>
          <p:nvPr userDrawn="1"/>
        </p:nvSpPr>
        <p:spPr>
          <a:xfrm>
            <a:off x="9724401" y="6601220"/>
            <a:ext cx="25137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u="none" strike="noStrike" err="1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pepsico</a:t>
            </a:r>
            <a:r>
              <a:rPr lang="en-US" sz="800" b="0" i="0" u="none" strike="noStrike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 positive I confidential &amp; proprietary</a:t>
            </a:r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6625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">
    <p:bg>
      <p:bgPr>
        <a:solidFill>
          <a:srgbClr val="0064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CB604509-7D21-F474-ABC5-826743040A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74477" y="4971854"/>
            <a:ext cx="417504" cy="475757"/>
          </a:xfrm>
          <a:prstGeom prst="rect">
            <a:avLst/>
          </a:prstGeom>
        </p:spPr>
      </p:pic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22D39971-7971-EB54-2094-4A04D91F0F68}"/>
              </a:ext>
            </a:extLst>
          </p:cNvPr>
          <p:cNvSpPr/>
          <p:nvPr/>
        </p:nvSpPr>
        <p:spPr>
          <a:xfrm>
            <a:off x="6077712" y="2282825"/>
            <a:ext cx="4814284" cy="2984515"/>
          </a:xfrm>
          <a:prstGeom prst="roundRect">
            <a:avLst>
              <a:gd name="adj" fmla="val 6306"/>
            </a:avLst>
          </a:prstGeom>
          <a:solidFill>
            <a:srgbClr val="0056C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bra One"/>
              <a:ea typeface="+mn-ea"/>
              <a:cs typeface="+mn-cs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AA53D5B-E441-FAB7-9C45-481EFA90535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97981" y="372021"/>
            <a:ext cx="1106669" cy="265600"/>
          </a:xfrm>
          <a:prstGeom prst="rect">
            <a:avLst/>
          </a:prstGeom>
        </p:spPr>
      </p:pic>
      <p:pic>
        <p:nvPicPr>
          <p:cNvPr id="10" name="Picture 9" descr="A colorful geometric shapes on a black background&#10;&#10;Description automatically generated">
            <a:extLst>
              <a:ext uri="{FF2B5EF4-FFF2-40B4-BE49-F238E27FC236}">
                <a16:creationId xmlns:a16="http://schemas.microsoft.com/office/drawing/2014/main" id="{3458D4EA-2C83-6523-C7DA-0B2D4C0F1EC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flipH="1" flipV="1">
            <a:off x="0" y="0"/>
            <a:ext cx="6868328" cy="6858000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7830847-1787-F054-DD15-9633233632E5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893301" y="4559301"/>
            <a:ext cx="2298699" cy="2298699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778B07D6-F839-1EE7-96D4-F578A67E43C2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918194" y="1905494"/>
            <a:ext cx="754662" cy="754662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64C4D89D-F35B-4954-52FD-5BA5634560C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0712657" y="2106798"/>
            <a:ext cx="352055" cy="352055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59AD065D-7114-A33B-CD02-771DB2C4342C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68266" y="5704713"/>
            <a:ext cx="240459" cy="24045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A32A8CB-F782-7F89-4D13-AEEB137740D2}"/>
              </a:ext>
            </a:extLst>
          </p:cNvPr>
          <p:cNvSpPr txBox="1"/>
          <p:nvPr userDrawn="1"/>
        </p:nvSpPr>
        <p:spPr>
          <a:xfrm>
            <a:off x="9724401" y="6601220"/>
            <a:ext cx="2513779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 b="0" i="0" u="none" strike="noStrike" err="1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pepsico</a:t>
            </a:r>
            <a:r>
              <a:rPr lang="en-US" sz="800" b="0" i="0" u="none" strike="noStrike">
                <a:solidFill>
                  <a:schemeClr val="bg1"/>
                </a:solidFill>
                <a:effectLst/>
                <a:latin typeface="Fibra One" panose="00000500000000000000" pitchFamily="50" charset="0"/>
              </a:rPr>
              <a:t> positive I confidential &amp; proprietary</a:t>
            </a:r>
            <a:endParaRPr lang="en-US" sz="8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4382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7541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20">
          <p15:clr>
            <a:srgbClr val="FBAE40"/>
          </p15:clr>
        </p15:guide>
        <p15:guide id="2" pos="6312">
          <p15:clr>
            <a:srgbClr val="FBAE40"/>
          </p15:clr>
        </p15:guide>
        <p15:guide id="3" pos="5112">
          <p15:clr>
            <a:srgbClr val="FBAE40"/>
          </p15:clr>
        </p15:guide>
        <p15:guide id="4" pos="4920">
          <p15:clr>
            <a:srgbClr val="FBAE40"/>
          </p15:clr>
        </p15:guide>
        <p15:guide id="5" pos="3912">
          <p15:clr>
            <a:srgbClr val="FBAE40"/>
          </p15:clr>
        </p15:guide>
        <p15:guide id="6" pos="3720">
          <p15:clr>
            <a:srgbClr val="FBAE40"/>
          </p15:clr>
        </p15:guide>
        <p15:guide id="7" pos="2712">
          <p15:clr>
            <a:srgbClr val="FBAE40"/>
          </p15:clr>
        </p15:guide>
        <p15:guide id="8" pos="2520">
          <p15:clr>
            <a:srgbClr val="FBAE40"/>
          </p15:clr>
        </p15:guide>
        <p15:guide id="9" pos="1512">
          <p15:clr>
            <a:srgbClr val="FBAE40"/>
          </p15:clr>
        </p15:guide>
        <p15:guide id="10" pos="1320">
          <p15:clr>
            <a:srgbClr val="FBAE40"/>
          </p15:clr>
        </p15:guide>
        <p15:guide id="11" pos="312">
          <p15:clr>
            <a:srgbClr val="FBAE40"/>
          </p15:clr>
        </p15:guide>
        <p15:guide id="12" pos="73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5E75D665-624C-3BFB-47F4-984EBDE502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2031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E75D665-624C-3BFB-47F4-984EBDE502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>
            <a:extLst>
              <a:ext uri="{FF2B5EF4-FFF2-40B4-BE49-F238E27FC236}">
                <a16:creationId xmlns:a16="http://schemas.microsoft.com/office/drawing/2014/main" id="{2872C2F7-2E0B-2568-710B-F422833C660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80225" y="1837765"/>
            <a:ext cx="8263054" cy="4124201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CCE26F7D-1A6B-8BA8-4B38-56072BE1C8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737" y="368183"/>
            <a:ext cx="11509544" cy="909493"/>
          </a:xfrm>
        </p:spPr>
        <p:txBody>
          <a:bodyPr vert="horz">
            <a:normAutofit/>
          </a:bodyPr>
          <a:lstStyle>
            <a:lvl1pPr>
              <a:defRPr sz="3200">
                <a:solidFill>
                  <a:srgbClr val="143DC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Title Text</a:t>
            </a:r>
          </a:p>
        </p:txBody>
      </p:sp>
      <p:sp>
        <p:nvSpPr>
          <p:cNvPr id="18" name="Text Placeholder 14">
            <a:extLst>
              <a:ext uri="{FF2B5EF4-FFF2-40B4-BE49-F238E27FC236}">
                <a16:creationId xmlns:a16="http://schemas.microsoft.com/office/drawing/2014/main" id="{323D97AA-F8B3-3937-7D9B-5F13FDFCDDB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14982" y="1930344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19" name="Text Placeholder 14">
            <a:extLst>
              <a:ext uri="{FF2B5EF4-FFF2-40B4-BE49-F238E27FC236}">
                <a16:creationId xmlns:a16="http://schemas.microsoft.com/office/drawing/2014/main" id="{6DAD6DBC-BFE0-BCC8-DFC4-8C5D8B32801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392540" y="1930344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2DE728C-96E2-A7A1-8BC6-3F69AFE14E8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21" name="Text Placeholder 14">
            <a:extLst>
              <a:ext uri="{FF2B5EF4-FFF2-40B4-BE49-F238E27FC236}">
                <a16:creationId xmlns:a16="http://schemas.microsoft.com/office/drawing/2014/main" id="{1267A27C-146F-8C91-CD73-B69A467DB0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14981" y="5634129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2" name="Text Placeholder 14">
            <a:extLst>
              <a:ext uri="{FF2B5EF4-FFF2-40B4-BE49-F238E27FC236}">
                <a16:creationId xmlns:a16="http://schemas.microsoft.com/office/drawing/2014/main" id="{35AF00B9-FFA4-D85B-3971-CCAAA9D2175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81389" y="5589588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3" name="Text Placeholder 14">
            <a:extLst>
              <a:ext uri="{FF2B5EF4-FFF2-40B4-BE49-F238E27FC236}">
                <a16:creationId xmlns:a16="http://schemas.microsoft.com/office/drawing/2014/main" id="{B8A2F664-F7E5-5547-D5AC-4DC1D5585F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514980" y="3775909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5" name="Text Placeholder 14">
            <a:extLst>
              <a:ext uri="{FF2B5EF4-FFF2-40B4-BE49-F238E27FC236}">
                <a16:creationId xmlns:a16="http://schemas.microsoft.com/office/drawing/2014/main" id="{3B6E29FB-4FED-B157-EAC6-A97DEB9C52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392540" y="3745684"/>
            <a:ext cx="2535871" cy="400941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6" name="Text Placeholder 14">
            <a:extLst>
              <a:ext uri="{FF2B5EF4-FFF2-40B4-BE49-F238E27FC236}">
                <a16:creationId xmlns:a16="http://schemas.microsoft.com/office/drawing/2014/main" id="{0A88DE55-A757-6B98-FCAA-D8BB3FABCDF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269410" y="1942678"/>
            <a:ext cx="2535871" cy="399758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7" name="Text Placeholder 14">
            <a:extLst>
              <a:ext uri="{FF2B5EF4-FFF2-40B4-BE49-F238E27FC236}">
                <a16:creationId xmlns:a16="http://schemas.microsoft.com/office/drawing/2014/main" id="{9359A4D9-BBE3-D14D-C22E-AC7C12D32B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69410" y="5604685"/>
            <a:ext cx="2535871" cy="399758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8" name="Text Placeholder 14">
            <a:extLst>
              <a:ext uri="{FF2B5EF4-FFF2-40B4-BE49-F238E27FC236}">
                <a16:creationId xmlns:a16="http://schemas.microsoft.com/office/drawing/2014/main" id="{F3C9E2FC-70D2-AF32-7539-F58AAED25F3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69410" y="3723785"/>
            <a:ext cx="2535871" cy="399758"/>
          </a:xfrm>
        </p:spPr>
        <p:txBody>
          <a:bodyPr>
            <a:noAutofit/>
          </a:bodyPr>
          <a:lstStyle>
            <a:lvl1pPr marL="0" indent="0">
              <a:buNone/>
              <a:defRPr sz="1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9E824B7-BEEE-FE04-834B-33AA9F71795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9D09BF4-B2B9-6F2F-6A78-7AEC1F0C158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F2A299B-3BF3-954E-BFB7-7B69EA08E66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005F8A-52E4-5AE8-E4A6-6AD3B753F07C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BE0BD81-258B-1996-071D-FBBF4D8E0A19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7ABDC88-A902-7D10-BD42-9D03C33D85C8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EB8E48C-57AE-2409-F79C-25C7620E31C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2D238C2-452F-A06A-978C-07533FF1BA2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07E4091-52E8-38F1-B527-C59A5BBFA91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2711AE0-B710-CF1B-7741-D27528E3E00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0A293C3-1580-7F3F-38F6-18ACD35B2ED6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12936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258AD371-8B7C-D63D-D4F0-D6036911F1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556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58AD371-8B7C-D63D-D4F0-D6036911F1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90EE36E9-394F-0C41-BF42-F3DE19BE0FC0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696A943-621C-B904-5750-CFE5CD8927F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2AB6AE7-43CD-C976-2A32-5EBD06ABFC3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334000" y="-1390"/>
            <a:ext cx="6858000" cy="6858000"/>
          </a:xfrm>
          <a:prstGeom prst="rect">
            <a:avLst/>
          </a:prstGeom>
        </p:spPr>
      </p:pic>
      <p:sp>
        <p:nvSpPr>
          <p:cNvPr id="4" name="Text Placeholder 6">
            <a:extLst>
              <a:ext uri="{FF2B5EF4-FFF2-40B4-BE49-F238E27FC236}">
                <a16:creationId xmlns:a16="http://schemas.microsoft.com/office/drawing/2014/main" id="{725C3909-A05B-B085-F033-8F70235FA4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3618647"/>
            <a:ext cx="7053145" cy="601167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D38101CF-C93F-9F7C-4A02-9C6998B0BB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92823" y="4419697"/>
            <a:ext cx="7053145" cy="601167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9CB29D8-F6AD-7D16-6970-7D44A9A697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DD8CFA6-11AF-0EFC-E415-CD113C67AEF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71F8AA-8973-FDD0-996F-069FD13C8C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BBF69C7-D84E-1D5C-83A8-F74AE52743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0813E5-CD1C-B3B9-8565-81CB96C05B3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B54A627-7181-1702-65CC-0462E76EE02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388916F-6EC4-2AF8-F037-8B78BC6907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75DF80-2AF1-060E-3052-ED53271484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046E393C-E4D0-3508-4396-238F3C851C9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1C6FB3A-778E-D5EE-C5F8-23CA38DB0C2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5603148-A734-B419-9867-364A302C253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6DD3A1EA-4EF1-8B38-6EB6-CA2F41A071F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7578"/>
            <a:ext cx="3353777" cy="137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6912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1A89992A-4A24-42BE-436D-09273CE61B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2050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A89992A-4A24-42BE-436D-09273CE61B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0BC28396-9FBD-0DEE-F8F8-FFE0B2718C1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1E120AF7-7A13-B64B-A6A7-D59437507BF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07151" y="3277752"/>
            <a:ext cx="501169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0C49832-EB6B-4540-BD2F-BE66885F755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07151" y="5284915"/>
            <a:ext cx="5011699" cy="734982"/>
          </a:xfrm>
          <a:noFill/>
        </p:spPr>
        <p:txBody>
          <a:bodyPr>
            <a:noAutofit/>
          </a:bodyPr>
          <a:lstStyle>
            <a:lvl1pPr marL="0" indent="0">
              <a:buNone/>
              <a:defRPr sz="24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F9B9942F-8782-9217-0CDF-F953ADDDD2B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407151" y="4262094"/>
            <a:ext cx="501169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AB3E34A-8F9C-5E86-5256-FC7240DB681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-1390"/>
            <a:ext cx="5292946" cy="528630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5766D94-4B68-6652-94F9-D21C447069A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165350" y="4549214"/>
            <a:ext cx="895724" cy="89572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DD9C52F-29B3-465A-2EB7-01668D9BBE9D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96031F5-52E2-13E6-DC35-CE8E02A04CE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364EF2F-7762-0CE6-C043-30E89012A49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A7F89739-37E7-E219-23A3-1EA849A22F4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1BE03A-CA96-B873-5324-67F62D03762F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4602706-645D-5DDD-7EB8-838BAD9ABD8A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871359C-CB4F-183F-E5EA-DF631FB5B237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91C065A-D856-E961-9DBA-49E1715470F2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FE6CF1B-7DEC-883B-A325-5B95ABA6D3D4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008688E-F719-233C-5094-C97B2757AF7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24EF986-AA7F-F2B3-E160-6F48CF355CE5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D1C87564-8A4E-3129-B9E9-C9CD439C1BF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36222" y="106200"/>
            <a:ext cx="3353777" cy="137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1633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F7E32C66-893C-493F-4ACB-AD530BDA41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0993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E32C66-893C-493F-4ACB-AD530BDA41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3DDEC44-7900-14BB-E1C6-E2B56B40EA6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BA86CFA2-0E9B-C65F-D669-4FA48A9762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81"/>
            <a:ext cx="10952147" cy="623222"/>
          </a:xfrm>
        </p:spPr>
        <p:txBody>
          <a:bodyPr vert="horz"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778A1C9-4674-7473-2695-49D1DD352F1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7C87B5A-D30D-9E8D-FD11-E59122A98CC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953255" y="5418611"/>
            <a:ext cx="2261365" cy="14494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8E48263F-855B-453F-23B1-1874389B953F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6852BD5-A601-8565-6DC8-88A5E23729E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E43B89-9AD5-DC7A-B256-9161991FAA7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D6F074B-131B-A174-8CFD-46EE9DD9EAF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D3E4009-923E-B89A-5329-915D2C54625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4A86DAD-D2D8-EF05-D617-4E0B37A86A32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13C0C0F-DA3E-45B7-03AD-D7680F4E56B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A5A0B9-2205-B31B-97B6-FC2AB98BAF79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A73DA91-5D70-E911-6308-65B016293A8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CF55151-E534-7369-6FFB-6AB8CBE165A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A30E723-61D3-D0A7-9131-418A026C05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09231" y="1210961"/>
            <a:ext cx="10952147" cy="5060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01079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A67C8376-B29A-032C-DB76-8631F049A3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6083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7C8376-B29A-032C-DB76-8631F049A3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42AB644-762A-78B9-54D9-8D08DF1AC1C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4" name="Title 23">
            <a:extLst>
              <a:ext uri="{FF2B5EF4-FFF2-40B4-BE49-F238E27FC236}">
                <a16:creationId xmlns:a16="http://schemas.microsoft.com/office/drawing/2014/main" id="{8D4B37A5-2FF3-D03C-A1E3-5C3067263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3" y="168381"/>
            <a:ext cx="10951910" cy="623222"/>
          </a:xfrm>
        </p:spPr>
        <p:txBody>
          <a:bodyPr vert="horz" lIns="0" tIns="0" rIns="0" bIns="0" anchor="ctr">
            <a:noAutofit/>
          </a:bodyPr>
          <a:lstStyle>
            <a:lvl1pPr>
              <a:lnSpc>
                <a:spcPct val="85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955ED6C-27C8-0BE6-66C4-C99617BA866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121651B-17C8-D249-2390-5566494A420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1011648" y="0"/>
            <a:ext cx="1202971" cy="98424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737415C-21A1-327B-15B5-C129D59365D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0B001CD-89C1-F7AE-63E6-F2E4495AB5F6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24E7C63-8BEE-9577-3A62-8EC4D68DD44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0BF563C-14BE-8725-3744-228100E3EF1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A190F70-2A5F-3DBA-9D7A-6EE3873339A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DC8A78E-26BB-16EA-EC53-9065D761581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95E006-0601-F8D7-3C49-3C7EF4C062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2DBFEF5-7DDD-931D-17BD-F1EB2E4FE48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DDA30DD-51D9-0D16-A652-01DC1EDADF5C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3DA8BC8-2657-8EF4-48C9-E72798F2C9E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1DFD998-762C-EE05-A0B7-53157A3E2C8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66B16B-C169-4E72-F23E-30A3D09BC2A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1" y="1210961"/>
            <a:ext cx="10952147" cy="50606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066887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E81066A1-120F-4338-B0E8-5EF5CC7EF3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27108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1066A1-120F-4338-B0E8-5EF5CC7EF3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F2D53B6A-0A2A-A63E-50F4-3BE989659A2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8240EB8-E9EE-E202-7433-DC33E88D5EE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0800000" flipH="1">
            <a:off x="9940574" y="-19878"/>
            <a:ext cx="2261365" cy="144942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2B72C6A-1C29-9545-4ACF-5CF2293C6C5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50597A6-EF46-2E6A-1CB2-C8BE772CFDFE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887C6C2-D16A-4418-C4E6-F0A60D5BEB71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2592EF-2EA8-FBAB-74D0-B35A1AD98D48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FBE338-5481-6AFF-BA76-7DF921C61BD9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0EF49FC-5AD6-CE5B-61C8-22D911207174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E1800F1-C533-6F99-5272-67E29B41165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F5A6764-CC8C-3E72-C492-75D3621338FA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451F83-5EF0-B406-2EBB-F51208625466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48B5A09-E0D4-42C1-70DD-C5C8BE65822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CB1E00B-1DCD-F462-B861-9BBBFD27F24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F468405-E35A-3081-23AA-A470E0F483D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1" y="735495"/>
            <a:ext cx="10952147" cy="56255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36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>
              <a:defRPr sz="28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>
              <a:defRPr sz="28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>
              <a:defRPr sz="28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>
              <a:defRPr sz="28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30997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F1E70694-5143-996D-C0EA-629B53563B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38197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E70694-5143-996D-C0EA-629B53563B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731B6055-753F-B35A-F46A-50D548BD425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198CA8E3-8E10-31C8-E30A-7034E2AEBA5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390"/>
            <a:ext cx="5214876" cy="451343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247F414-5F05-B515-6F7E-82386ABDF7C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9700" y="4560782"/>
            <a:ext cx="2282300" cy="2314252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F855BE84-80B4-B287-0343-996ACA21E61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767017" y="3684482"/>
            <a:ext cx="8674442" cy="608864"/>
          </a:xfrm>
        </p:spPr>
        <p:txBody>
          <a:bodyPr>
            <a:noAutofit/>
          </a:bodyPr>
          <a:lstStyle>
            <a:lvl1pPr marL="0" indent="0" algn="ctr">
              <a:buNone/>
              <a:defRPr sz="44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71660172-DB72-31A3-0D6C-322C56FFDF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767017" y="4475046"/>
            <a:ext cx="8674442" cy="608864"/>
          </a:xfrm>
          <a:noFill/>
        </p:spPr>
        <p:txBody>
          <a:bodyPr>
            <a:noAutofit/>
          </a:bodyPr>
          <a:lstStyle>
            <a:lvl1pPr marL="0" indent="0" algn="ctr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Subtile</a:t>
            </a:r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A1A6BFE-D9CB-E904-15BB-81F9E486EF9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CD46EAB5-B1CA-C4F4-1686-52A1616696B5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82277D3-97E2-B7F7-CFD8-32FD89222BC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D3E162B-CBA8-CB55-F442-0CB77D72408C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3978BA-FCF9-D00F-B941-71EDC792CCD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BBABC82-73C7-B527-726C-788CFB4C74AF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2626234-325E-0353-F1C1-E3EC675923F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B3D02AF-CD28-6C28-32A9-6F832CA8C9C0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73CBC14-60EB-A4C8-622E-0FA75A726D0D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AD17D68-EBF1-4E84-04F2-30EB4894F41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B5EF35E-C934-F5D5-D4EC-48FBDAC0DD4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399CC9E1-034D-8912-23E2-1BDC58FF7B9F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36222" y="106200"/>
            <a:ext cx="3353777" cy="137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6114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hink-cell data - do not delete" hidden="1">
            <a:extLst>
              <a:ext uri="{FF2B5EF4-FFF2-40B4-BE49-F238E27FC236}">
                <a16:creationId xmlns:a16="http://schemas.microsoft.com/office/drawing/2014/main" id="{51A9E24B-DE7D-DCB4-79D8-14ABB502DC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01845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A9E24B-DE7D-DCB4-79D8-14ABB502DC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F0E294F4-59D8-22AF-A935-EED997D8EDC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659A700-3A2B-F840-339B-5A4EFC24EFA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 rot="16200000">
            <a:off x="10124325" y="-18535"/>
            <a:ext cx="2035962" cy="209938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1BB1214-EAA9-160D-C9CA-5B2611FBEA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E3CC20C-FB3E-7FAE-E265-957CBD7B046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D0B73B3-945A-C41F-D753-21E1E64F19A1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D682366-F3D6-E75D-7601-4EE50B39492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888BFE8-C95B-6DBC-1BFB-4F7A3FA5712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F745BA5-7D92-2CFE-67BD-72F8CF25EF2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2DBB934-58B7-A22A-CF85-648D5F2CFD5A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ED8663-2765-3550-97E7-F2308B59A297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1E37FC-D396-C377-63A7-7848EDB9805A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D45ECEF-2D90-95ED-043A-8FF8AA3C30ED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CDE37E5-8ED1-0746-90D2-0FD9DAFB53C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2566DF6-38C2-83FB-5B6E-B8433093412B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23FF341-27CB-7B69-AB79-6AEE6F5EF48C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604873" y="715868"/>
            <a:ext cx="10977895" cy="56255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36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28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66806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1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B750194D-9C85-50C6-B299-BC64751797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10704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750194D-9C85-50C6-B299-BC64751797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 descr="A picture containing text, outdoor&#10;&#10;Description automatically generated">
            <a:extLst>
              <a:ext uri="{FF2B5EF4-FFF2-40B4-BE49-F238E27FC236}">
                <a16:creationId xmlns:a16="http://schemas.microsoft.com/office/drawing/2014/main" id="{CE644B59-6021-A14B-DD53-20AB5F57E7D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98"/>
          <a:stretch/>
        </p:blipFill>
        <p:spPr>
          <a:xfrm>
            <a:off x="0" y="6684"/>
            <a:ext cx="6096000" cy="6844632"/>
          </a:xfrm>
          <a:prstGeom prst="rect">
            <a:avLst/>
          </a:prstGeom>
        </p:spPr>
      </p:pic>
      <p:pic>
        <p:nvPicPr>
          <p:cNvPr id="2" name="Picture Placeholder 7" descr="Water droplets on a surface&#10;&#10;Description automatically generated with medium confidence">
            <a:extLst>
              <a:ext uri="{FF2B5EF4-FFF2-40B4-BE49-F238E27FC236}">
                <a16:creationId xmlns:a16="http://schemas.microsoft.com/office/drawing/2014/main" id="{3CBB4E9F-B4FB-5C6F-BA96-96E70DEEB6E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313" y="0"/>
            <a:ext cx="6096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193CD1-34BB-A273-3467-D9E8864B2FD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38837" cy="46117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A993D30-B9E5-8158-9D96-AE6895E03B0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8600A7A-75A2-F736-A4CF-17B022ABB66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6716183" y="6236759"/>
            <a:ext cx="412750" cy="412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40B84C-AD24-3D74-6FA4-4D1D156BC54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0972" y="5636721"/>
            <a:ext cx="863636" cy="863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2ACF97B-61C0-C337-6D35-B8D747148442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BACE25-5353-4E36-7CF7-576A4CC6A9E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019C6F-63E6-A48A-AF7F-F6F02E6105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230E482-0B3D-079C-B471-D36C4ED80403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D91393F-B91C-2C52-68D3-DF9F990B6D5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01DCBA-5CEF-EE71-662B-7C59DF0BA0E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22531F-0EF9-6DD3-C1B0-73D93A16B3D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2605293-7BA4-6E38-6AC1-70BEFA1A36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46BA7F6-141F-832B-EC44-13CDC72E28C0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95E3C91-27B4-E77D-E94B-BF5D3B2F7A0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247CD1-07D6-96FF-18E2-E9184FF7A85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3" name="Title 7">
            <a:extLst>
              <a:ext uri="{FF2B5EF4-FFF2-40B4-BE49-F238E27FC236}">
                <a16:creationId xmlns:a16="http://schemas.microsoft.com/office/drawing/2014/main" id="{3F5EEAC8-184E-4CDF-7E3D-00B58F499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4D869B9-EB64-AE45-11E8-CC034A771C87}"/>
              </a:ext>
            </a:extLst>
          </p:cNvPr>
          <p:cNvSpPr txBox="1"/>
          <p:nvPr userDrawn="1"/>
        </p:nvSpPr>
        <p:spPr>
          <a:xfrm>
            <a:off x="4512623" y="732707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844FA39-522C-6B43-F107-447A0B37C8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185495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_1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8ADEF8C3-8726-7D3E-9ED7-43757EA5AFE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8F092F9-4A97-271B-7F2B-77D349C5BD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4159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F092F9-4A97-271B-7F2B-77D349C5BD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A person holding a pen over a paper&#10;&#10;Description automatically generated">
            <a:extLst>
              <a:ext uri="{FF2B5EF4-FFF2-40B4-BE49-F238E27FC236}">
                <a16:creationId xmlns:a16="http://schemas.microsoft.com/office/drawing/2014/main" id="{152DC4C8-097A-A1AC-98D8-9802ACEA0118}"/>
              </a:ext>
            </a:extLst>
          </p:cNvPr>
          <p:cNvPicPr>
            <a:picLocks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56" r="5556"/>
          <a:stretch/>
        </p:blipFill>
        <p:spPr>
          <a:xfrm>
            <a:off x="3313" y="0"/>
            <a:ext cx="6096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193CD1-34BB-A273-3467-D9E8864B2F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38837" cy="46117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A993D30-B9E5-8158-9D96-AE6895E03B0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8600A7A-75A2-F736-A4CF-17B022ABB66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716183" y="6236759"/>
            <a:ext cx="412750" cy="412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40B84C-AD24-3D74-6FA4-4D1D156BC54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0972" y="5636721"/>
            <a:ext cx="863636" cy="863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2ACF97B-61C0-C337-6D35-B8D747148442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BACE25-5353-4E36-7CF7-576A4CC6A9E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019C6F-63E6-A48A-AF7F-F6F02E6105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230E482-0B3D-079C-B471-D36C4ED80403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D91393F-B91C-2C52-68D3-DF9F990B6D5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01DCBA-5CEF-EE71-662B-7C59DF0BA0E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22531F-0EF9-6DD3-C1B0-73D93A16B3D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2605293-7BA4-6E38-6AC1-70BEFA1A36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46BA7F6-141F-832B-EC44-13CDC72E28C0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95E3C91-27B4-E77D-E94B-BF5D3B2F7A0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247CD1-07D6-96FF-18E2-E9184FF7A85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3" name="Title 7">
            <a:extLst>
              <a:ext uri="{FF2B5EF4-FFF2-40B4-BE49-F238E27FC236}">
                <a16:creationId xmlns:a16="http://schemas.microsoft.com/office/drawing/2014/main" id="{3F5EEAC8-184E-4CDF-7E3D-00B58F499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4D869B9-EB64-AE45-11E8-CC034A771C87}"/>
              </a:ext>
            </a:extLst>
          </p:cNvPr>
          <p:cNvSpPr txBox="1"/>
          <p:nvPr userDrawn="1"/>
        </p:nvSpPr>
        <p:spPr>
          <a:xfrm>
            <a:off x="4512623" y="732707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844FA39-522C-6B43-F107-447A0B37C8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06944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_1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8F092F9-4A97-271B-7F2B-77D349C5BD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4159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F092F9-4A97-271B-7F2B-77D349C5BD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95E3C91-27B4-E77D-E94B-BF5D3B2F7A0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247CD1-07D6-96FF-18E2-E9184FF7A85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95B1108-ED4D-5D2F-2688-1C5410EDFC51}"/>
              </a:ext>
            </a:extLst>
          </p:cNvPr>
          <p:cNvPicPr>
            <a:picLocks/>
          </p:cNvPicPr>
          <p:nvPr userDrawn="1"/>
        </p:nvPicPr>
        <p:blipFill rotWithShape="1">
          <a:blip r:embed="rId6"/>
          <a:srcRect t="11816" b="11816"/>
          <a:stretch/>
        </p:blipFill>
        <p:spPr>
          <a:xfrm>
            <a:off x="3312" y="0"/>
            <a:ext cx="6096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193CD1-34BB-A273-3467-D9E8864B2F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38837" cy="461175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9BACE25-5353-4E36-7CF7-576A4CC6A9E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019C6F-63E6-A48A-AF7F-F6F02E6105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230E482-0B3D-079C-B471-D36C4ED80403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D91393F-B91C-2C52-68D3-DF9F990B6D5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01DCBA-5CEF-EE71-662B-7C59DF0BA0E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22531F-0EF9-6DD3-C1B0-73D93A16B3D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2605293-7BA4-6E38-6AC1-70BEFA1A36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46BA7F6-141F-832B-EC44-13CDC72E28C0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A993D30-B9E5-8158-9D96-AE6895E03B0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sp>
        <p:nvSpPr>
          <p:cNvPr id="23" name="Title 7">
            <a:extLst>
              <a:ext uri="{FF2B5EF4-FFF2-40B4-BE49-F238E27FC236}">
                <a16:creationId xmlns:a16="http://schemas.microsoft.com/office/drawing/2014/main" id="{3F5EEAC8-184E-4CDF-7E3D-00B58F499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844FA39-522C-6B43-F107-447A0B37C8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600A7A-75A2-F736-A4CF-17B022ABB66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716183" y="6236759"/>
            <a:ext cx="412750" cy="412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40B84C-AD24-3D74-6FA4-4D1D156BC54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0972" y="5636721"/>
            <a:ext cx="863636" cy="863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2ACF97B-61C0-C337-6D35-B8D747148442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59736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_1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8F092F9-4A97-271B-7F2B-77D349C5BD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4159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F092F9-4A97-271B-7F2B-77D349C5BD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D95E3C91-27B4-E77D-E94B-BF5D3B2F7A0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2C247CD1-07D6-96FF-18E2-E9184FF7A85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AAA551-631E-AF0A-3A99-69D43E8CE295}"/>
              </a:ext>
            </a:extLst>
          </p:cNvPr>
          <p:cNvPicPr>
            <a:picLocks/>
          </p:cNvPicPr>
          <p:nvPr userDrawn="1"/>
        </p:nvPicPr>
        <p:blipFill rotWithShape="1">
          <a:blip r:embed="rId6"/>
          <a:srcRect t="26900" b="10100"/>
          <a:stretch/>
        </p:blipFill>
        <p:spPr>
          <a:xfrm>
            <a:off x="3312" y="0"/>
            <a:ext cx="6096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193CD1-34BB-A273-3467-D9E8864B2F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38837" cy="461175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9BACE25-5353-4E36-7CF7-576A4CC6A9E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E019C6F-63E6-A48A-AF7F-F6F02E610504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F230E482-0B3D-079C-B471-D36C4ED80403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D91393F-B91C-2C52-68D3-DF9F990B6D5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A01DCBA-5CEF-EE71-662B-7C59DF0BA0E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422531F-0EF9-6DD3-C1B0-73D93A16B3D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2605293-7BA4-6E38-6AC1-70BEFA1A36E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46BA7F6-141F-832B-EC44-13CDC72E28C0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A993D30-B9E5-8158-9D96-AE6895E03B0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sp>
        <p:nvSpPr>
          <p:cNvPr id="23" name="Title 7">
            <a:extLst>
              <a:ext uri="{FF2B5EF4-FFF2-40B4-BE49-F238E27FC236}">
                <a16:creationId xmlns:a16="http://schemas.microsoft.com/office/drawing/2014/main" id="{3F5EEAC8-184E-4CDF-7E3D-00B58F499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844FA39-522C-6B43-F107-447A0B37C8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600A7A-75A2-F736-A4CF-17B022ABB66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716183" y="6236759"/>
            <a:ext cx="412750" cy="412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40B84C-AD24-3D74-6FA4-4D1D156BC54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0972" y="5636721"/>
            <a:ext cx="863636" cy="863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2ACF97B-61C0-C337-6D35-B8D747148442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78467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age_1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8F092F9-4A97-271B-7F2B-77D349C5BD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4159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F092F9-4A97-271B-7F2B-77D349C5BD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BE9EB41-80C2-981F-C5B9-6D6C3BAE1C0B}"/>
              </a:ext>
            </a:extLst>
          </p:cNvPr>
          <p:cNvPicPr>
            <a:picLocks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462" r="12462"/>
          <a:stretch/>
        </p:blipFill>
        <p:spPr>
          <a:xfrm>
            <a:off x="3313" y="0"/>
            <a:ext cx="6096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193CD1-34BB-A273-3467-D9E8864B2F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38837" cy="46117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A993D30-B9E5-8158-9D96-AE6895E03B0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sp>
        <p:nvSpPr>
          <p:cNvPr id="23" name="Title 7">
            <a:extLst>
              <a:ext uri="{FF2B5EF4-FFF2-40B4-BE49-F238E27FC236}">
                <a16:creationId xmlns:a16="http://schemas.microsoft.com/office/drawing/2014/main" id="{3F5EEAC8-184E-4CDF-7E3D-00B58F499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844FA39-522C-6B43-F107-447A0B37C8B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600A7A-75A2-F736-A4CF-17B022ABB66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716183" y="6236759"/>
            <a:ext cx="412750" cy="412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40B84C-AD24-3D74-6FA4-4D1D156BC54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0972" y="5636721"/>
            <a:ext cx="863636" cy="86363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2ACF97B-61C0-C337-6D35-B8D747148442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51932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2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B02EF9D3-1D65-0DCC-37EF-B48E86DA2A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54809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02EF9D3-1D65-0DCC-37EF-B48E86DA2A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Picture Placeholder 18" descr="A picture containing blue, plastic, vegetable&#10;&#10;Description automatically generated">
            <a:extLst>
              <a:ext uri="{FF2B5EF4-FFF2-40B4-BE49-F238E27FC236}">
                <a16:creationId xmlns:a16="http://schemas.microsoft.com/office/drawing/2014/main" id="{73438312-45D9-75E2-9176-1F696DB1959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C193CD1-34BB-A273-3467-D9E8864B2FD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3838837" cy="4611757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A993D30-B9E5-8158-9D96-AE6895E03B0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8600A7A-75A2-F736-A4CF-17B022ABB66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6716183" y="6236759"/>
            <a:ext cx="412750" cy="4127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440B84C-AD24-3D74-6FA4-4D1D156BC54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0972" y="5636721"/>
            <a:ext cx="863636" cy="863636"/>
          </a:xfrm>
          <a:prstGeom prst="rect">
            <a:avLst/>
          </a:prstGeom>
        </p:spPr>
      </p:pic>
      <p:sp>
        <p:nvSpPr>
          <p:cNvPr id="13" name="Title 7">
            <a:extLst>
              <a:ext uri="{FF2B5EF4-FFF2-40B4-BE49-F238E27FC236}">
                <a16:creationId xmlns:a16="http://schemas.microsoft.com/office/drawing/2014/main" id="{B25241A1-97E3-3206-1B3E-8025F28AF2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2644" y="975438"/>
            <a:ext cx="5527649" cy="95974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5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14" name="Text Placeholder 17">
            <a:extLst>
              <a:ext uri="{FF2B5EF4-FFF2-40B4-BE49-F238E27FC236}">
                <a16:creationId xmlns:a16="http://schemas.microsoft.com/office/drawing/2014/main" id="{2EA4697B-B83D-1680-0152-465D89D0AF3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82645" y="1997133"/>
            <a:ext cx="5527648" cy="54155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500" b="1" i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Sub-heading</a:t>
            </a:r>
          </a:p>
        </p:txBody>
      </p:sp>
      <p:sp>
        <p:nvSpPr>
          <p:cNvPr id="15" name="Text Placeholder 17">
            <a:extLst>
              <a:ext uri="{FF2B5EF4-FFF2-40B4-BE49-F238E27FC236}">
                <a16:creationId xmlns:a16="http://schemas.microsoft.com/office/drawing/2014/main" id="{5AC75EF0-09B5-E87F-C824-9ED2E56EC4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82645" y="4402936"/>
            <a:ext cx="5527646" cy="54155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500" b="1" i="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Sub-heading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65B7329-4B82-99CE-EDA3-7AAB89496EF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12AD305-5B72-F0AC-8186-6B48C51A6E0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337A9A0-BD0A-D000-5209-7FFD5836D12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5BB9ED0-195B-C789-FC52-C414783EF720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065D2F3-ECCF-E660-3949-4B9A97FF919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4663DF2-1221-1E13-55E2-03069963291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19852FCC-D6AD-3934-24DE-E0383E09195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CDD2C14-E56D-432D-DDDC-D509AE18DC70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9052AD9-8CAC-3B85-44E6-BAC021877CB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A61BC68-F306-2AF8-8121-4A145B25FD32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7C395AB-74BD-B7DF-B69D-B04B1654B0B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F52B0D-E776-D08A-0A30-8B949D9F974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82644" y="2673326"/>
            <a:ext cx="5527646" cy="15652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09A47E92-F9E8-52C9-9AFB-51C9588271D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380177" y="5046602"/>
            <a:ext cx="5527646" cy="156529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41266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4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0D78223-CC91-FAA2-57DE-A810F8FBBE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89597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0D78223-CC91-FAA2-57DE-A810F8FBBE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9336D69-015D-4BB5-BC86-8242628C5C5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1811" y="0"/>
            <a:ext cx="2290189" cy="77227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2056823E-6006-1F75-24A2-A51ABC6D50B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42538" y="614051"/>
            <a:ext cx="401053" cy="401053"/>
          </a:xfrm>
          <a:prstGeom prst="rect">
            <a:avLst/>
          </a:prstGeom>
        </p:spPr>
      </p:pic>
      <p:pic>
        <p:nvPicPr>
          <p:cNvPr id="19" name="Picture Placeholder 16" descr="A person standing in a field&#10;&#10;Description automatically generated with medium confidence">
            <a:extLst>
              <a:ext uri="{FF2B5EF4-FFF2-40B4-BE49-F238E27FC236}">
                <a16:creationId xmlns:a16="http://schemas.microsoft.com/office/drawing/2014/main" id="{2C991B4A-3ECA-8741-34BA-D2454DD6ABF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-9508"/>
            <a:ext cx="6096000" cy="685800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1B41031-0BEC-91FD-2AE4-67BA017151F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4496"/>
            <a:ext cx="3979484" cy="478072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5E47B3C-F251-CCB7-363E-BA7FFC8DDC78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28CD422-4F5B-8389-973A-EF7BBE7E8A73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60CD5B9-A866-0DB0-09B1-F4B500315A9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B90D3D8-BE3F-4FFE-EC5C-4EB1BD69A3D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D4B41A8-79B4-ECD3-0611-C69D1E250FA7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8B490D5-3229-517D-2ECD-68F6ADCBBA09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93F0BD5-8120-61B3-82BD-A589B8281DD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EF1AEAF-12E1-6A86-590E-43BE99137F3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7596ECF-CB1B-4CBD-CA40-A323F673A978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379F450-479E-F491-F86A-A4E7A942A34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25A055B-8A6A-9FD6-191F-8916F3831BB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Title 7">
            <a:extLst>
              <a:ext uri="{FF2B5EF4-FFF2-40B4-BE49-F238E27FC236}">
                <a16:creationId xmlns:a16="http://schemas.microsoft.com/office/drawing/2014/main" id="{A512E1FD-7E6B-E762-11C8-A213453A90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8C21744E-D207-E57D-A5E1-1D499D8EA93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97214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_5+text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4D9DC2BA-E830-EFB2-18FA-0725D2DB3D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229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9DC2BA-E830-EFB2-18FA-0725D2DB3D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5AF0B358-08BD-6C4B-4939-78D7E710E8F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icture Placeholder 8" descr="A picture containing corn, person, food&#10;&#10;Description automatically generated">
            <a:extLst>
              <a:ext uri="{FF2B5EF4-FFF2-40B4-BE49-F238E27FC236}">
                <a16:creationId xmlns:a16="http://schemas.microsoft.com/office/drawing/2014/main" id="{05DC7BF9-0284-3EF7-3885-91D2854FB60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0" y="0"/>
            <a:ext cx="6096000" cy="685800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EAA53261-7131-FF6B-FFBA-56B570787A35}"/>
              </a:ext>
            </a:extLst>
          </p:cNvPr>
          <p:cNvGrpSpPr/>
          <p:nvPr userDrawn="1"/>
        </p:nvGrpSpPr>
        <p:grpSpPr>
          <a:xfrm>
            <a:off x="9901811" y="0"/>
            <a:ext cx="2290189" cy="1015104"/>
            <a:chOff x="9901811" y="0"/>
            <a:chExt cx="2290189" cy="1015104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89336D69-015D-4BB5-BC86-8242628C5C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01811" y="0"/>
              <a:ext cx="2290189" cy="772273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2056823E-6006-1F75-24A2-A51ABC6D50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442538" y="614051"/>
              <a:ext cx="401053" cy="401053"/>
            </a:xfrm>
            <a:prstGeom prst="rect">
              <a:avLst/>
            </a:prstGeom>
          </p:spPr>
        </p:pic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21B41031-0BEC-91FD-2AE4-67BA017151F2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4496"/>
            <a:ext cx="3979484" cy="4780722"/>
          </a:xfrm>
          <a:prstGeom prst="rect">
            <a:avLst/>
          </a:prstGeom>
        </p:spPr>
      </p:pic>
      <p:sp>
        <p:nvSpPr>
          <p:cNvPr id="9" name="Title 7">
            <a:extLst>
              <a:ext uri="{FF2B5EF4-FFF2-40B4-BE49-F238E27FC236}">
                <a16:creationId xmlns:a16="http://schemas.microsoft.com/office/drawing/2014/main" id="{FCB6A94C-CD4A-89F0-45CB-DE624B356A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23107" y="1629155"/>
            <a:ext cx="5243485" cy="509237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4000" b="1" i="0" kern="1200" spc="-2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Headlin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A0EA1A6-3264-1E39-4647-913E401A4436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54DE58C-A78E-4F34-ACAA-41A7160E46C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F67EBC-1039-7D44-E156-6A9E66C9695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AE29477-DEFD-146C-1018-CC8DE12E17C7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06559B-81D2-551B-E4BE-327DD47FBF2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1F9D56F-4963-CA4D-63DD-5C11EAFE0E64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6AC3E69-27DE-EA7B-C7B9-F7FDD7F1A1B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90DD664-ECDA-DF75-70AE-010CEE51DB2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63B61D6-C860-E099-ABB7-82905D4C1EBC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DC7256-BB05-30D0-C8C7-EE9AF8C4DF95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51A77411-FF83-F3A0-AE36-BE75310525A8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0BB8633-AB7D-8ED3-F9F7-19E93AF13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304709" y="2285999"/>
            <a:ext cx="5256669" cy="39855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178881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287D3FF3-45D6-137D-B79D-60C4FB069D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535821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87D3FF3-45D6-137D-B79D-60C4FB069D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D84B00D6-F204-9642-B56C-5BBE902D4083}"/>
              </a:ext>
            </a:extLst>
          </p:cNvPr>
          <p:cNvSpPr txBox="1"/>
          <p:nvPr userDrawn="1"/>
        </p:nvSpPr>
        <p:spPr>
          <a:xfrm>
            <a:off x="133954" y="6639040"/>
            <a:ext cx="5734982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spc="3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CONFIDENTIAL &amp; PROPRIETARY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99591D5-E53C-F400-D2FE-351007A75B9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BF8C198-0614-9383-F6BF-D9CA65D1418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4" name="Text Placeholder 8">
            <a:extLst>
              <a:ext uri="{FF2B5EF4-FFF2-40B4-BE49-F238E27FC236}">
                <a16:creationId xmlns:a16="http://schemas.microsoft.com/office/drawing/2014/main" id="{E936D29E-0CB8-16C6-2CDB-28F21243B4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748528"/>
            <a:ext cx="6730756" cy="2532409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. 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3ED9364B-EA77-5ABB-E1E9-8BAB0EC4782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2823" y="2042669"/>
            <a:ext cx="6730756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A31F7D3-74BB-564D-9CC4-6AF30FD4858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2823" y="2890653"/>
            <a:ext cx="6730756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7DBC506-D395-E5A5-239C-FD4E7FC7886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023579" y="0"/>
            <a:ext cx="517836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50E9DD62-2AED-1120-1E80-37B3A0661DA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C046B9A-BC02-9990-A298-22E4D87398D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2A722C6D-CDB1-86E1-D240-AE401227EF57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31E2B0-77B2-6162-91FE-187390C47B8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CB9BE38-323F-CF3A-99E0-84CEF660F71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B47A148-2E3D-1D6E-1BC8-5E7D4FB72CE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6CE58FB-40F5-70FA-F9F2-CBF0EE2808D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CA09D7-558B-F952-035F-CAC11390AC81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B208DD0-7F81-4D68-6DCA-67D9786985F4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D921CBB-3893-E37D-4C8D-2C4CDA1F661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48935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7F4BB68-DDCA-8C3D-660B-49B9CF89DB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05958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7F4BB68-DDCA-8C3D-660B-49B9CF89DB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1" name="Picture Placeholder 11" descr="A picture containing person, cutting, plant, vegetable&#10;&#10;Description automatically generated">
            <a:extLst>
              <a:ext uri="{FF2B5EF4-FFF2-40B4-BE49-F238E27FC236}">
                <a16:creationId xmlns:a16="http://schemas.microsoft.com/office/drawing/2014/main" id="{B5C0B13E-0394-87CE-81AC-CF00C5075C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6483963" cy="6858000"/>
          </a:xfrm>
          <a:prstGeom prst="rect">
            <a:avLst/>
          </a:prstGeom>
          <a:noFill/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07198"/>
            <a:ext cx="4882138" cy="608864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4A681047-6AA1-EC24-0AE4-2062D4899CA7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5031" y="5220255"/>
            <a:ext cx="3180246" cy="1304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004609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94F20496-C121-8952-FB00-2EC1425082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4806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4F20496-C121-8952-FB00-2EC1425082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91B31E91-131E-9F1B-B825-CE238076C0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94884" y="2252671"/>
            <a:ext cx="8992372" cy="2352658"/>
          </a:xfrm>
        </p:spPr>
        <p:txBody>
          <a:bodyPr vert="horz"/>
          <a:lstStyle>
            <a:lvl1pPr algn="ctr">
              <a:defRPr>
                <a:solidFill>
                  <a:srgbClr val="153DC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Quot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A8FABC3-39CB-DBD6-ED10-D07B3D1F627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3568"/>
            <a:ext cx="12192000" cy="685086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45D43324-D355-15DC-9F7F-F1F9FF32074D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0C69D31-673A-F37A-FF74-17FE81C16F24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3602CFF-3440-149F-DB19-8C2F04BDA73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28B8054-E451-1E5F-F021-A5E46F8E6779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5D37D35-D9EB-A0FF-68F6-4589550DF8E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9CCEB0-81E4-63BC-3235-145DD115B35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C921DC3-C55E-CA53-3FA4-0275A29FEF40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DA54148-C346-8B17-0938-7CE3AD5B3B1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59A4F9E-E773-6516-6B1C-D18FFFD150F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F6A98E1-00AE-D04E-6621-D110FC9E2EBA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6003117-0C4E-43A0-FABB-51EC0D04EE0D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80604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364723C6-9017-3915-8566-A8B236C308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21593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64723C6-9017-3915-8566-A8B236C308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78D175BA-52D5-4F17-0EE7-784CFB789AE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6DC7CEC-5A62-AFF6-732F-20A9B663B60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5295935" y="0"/>
            <a:ext cx="6896065" cy="6858000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328D0AFF-FC2C-9B9F-627F-DB24FC54AB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737" y="4025784"/>
            <a:ext cx="6896064" cy="2099116"/>
          </a:xfrm>
        </p:spPr>
        <p:txBody>
          <a:bodyPr vert="horz">
            <a:noAutofit/>
          </a:bodyPr>
          <a:lstStyle>
            <a:lvl1pPr>
              <a:defRPr sz="4000" b="0">
                <a:solidFill>
                  <a:srgbClr val="153DC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Inspirational or reference </a:t>
            </a:r>
            <a:br>
              <a:rPr lang="en-US"/>
            </a:br>
            <a:r>
              <a:rPr lang="en-US"/>
              <a:t>quote should be here highlighting some key words with a different color.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A71DEEB-FA35-9D45-FAC5-1BB9D425CE9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86E568D-0837-ADE9-A14F-3D440BAFDD8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9E187E7-1DCD-C27A-A71B-B55B8944B94D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4DC4CF9-ADE5-5630-694F-EF8E7E316CB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7972F1F-0DA8-02DD-FEA9-6188567715A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21EE73-AA9F-69BB-D67F-644525DA712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2B2B4EF-51AE-101E-3569-F76D512DB85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A13616A-CA4D-9D9D-31BE-CB72CB16A245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A60BA59-1037-14E7-9275-C031EA787703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F3F475E-01C3-2668-5E98-5F372A5FEA1E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26670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ple_P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1531B907-0A91-35FE-9479-3CE0D3A560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27273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531B907-0A91-35FE-9479-3CE0D3A560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2E835239-ECF4-4328-4803-FFACE5629BE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8D175BA-52D5-4F17-0EE7-784CFB789AE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C82FF431-011F-065B-7635-3B0775D768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23117" y="382660"/>
            <a:ext cx="9053536" cy="909493"/>
          </a:xfrm>
        </p:spPr>
        <p:txBody>
          <a:bodyPr vert="horz">
            <a:normAutofit/>
          </a:bodyPr>
          <a:lstStyle>
            <a:lvl1pPr>
              <a:defRPr sz="4000">
                <a:solidFill>
                  <a:srgbClr val="143DC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he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1F0BE97-CA99-7B79-D826-93E9F46EBB49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9C3A227-3D76-4165-91B3-287D7E997403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228AECE-747E-0B41-291E-F103A0FAB7F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F35519D-C4F2-5EDC-3804-6C2D8ECD5657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1690A03-A770-6530-1E47-F016AB1E892B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FA8D01-B7F4-5921-0B94-83CB908874C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D53F36E-A990-9FEA-625A-5420B4D93CDF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D4E1361-ECF1-91E6-50F4-51EE3B8F871E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BEBE4AF-688B-F414-F99A-2BDDA34483D6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D1D321D-3D0B-A997-798C-0BDBC34945D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00362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Backgrou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5356A950-807F-8B3D-14E0-95D6E6E2B5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9415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56A950-807F-8B3D-14E0-95D6E6E2B5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210703FA-F8EC-03DD-1E36-D8E2A8594CA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-2267"/>
            <a:ext cx="12186837" cy="6874138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37E7D121-327E-617A-67C7-C4DFE6B330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737" y="388571"/>
            <a:ext cx="10515600" cy="909493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27C6441-F40A-4E3F-636E-DC9EA33ED3E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94926"/>
            <a:ext cx="2324100" cy="10795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EFD1AD8-A82A-D201-FA11-3D2BB29DF8EF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017F892-BE05-D890-A2F5-16831FAF48AA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E161CC2-A373-DC17-4C84-1402F2AB6DA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A1BECA5-8EA3-A98A-C3B3-64C895C8AE2E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54EB9D6-0136-CB5C-F37E-886BBB8158CC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CBF3E87-3DA6-E216-9B23-B7422ADD1BC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FCE919-6BBF-B3A9-15EA-B58C789472C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B4A32DF-D5C1-A9C3-FA22-CA83869F693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4CAB153-DF4A-88E7-9707-FBD929575294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20EA46B-E164-A56C-5A24-D68B12B41C3E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48405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F14763A3-C70D-460B-3671-94CA1C8815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26814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F14763A3-C70D-460B-3671-94CA1C8815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45578B07-4D87-C67E-03EC-C2B62BD9233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2" y="168381"/>
            <a:ext cx="10952147" cy="623222"/>
          </a:xfrm>
        </p:spPr>
        <p:txBody>
          <a:bodyPr vert="horz" lIns="0" tIns="0" rIns="0" bIns="0"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BA7BD91-1229-618F-FEE9-62EAECA716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FEF50F8-AEE9-A933-6117-D7B4B4F123A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953255" y="5418611"/>
            <a:ext cx="2261365" cy="14494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C1269EF-E9CB-D480-DFFE-AD15E3224D0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BC36A3-57BB-3D6F-29E8-C94CB5207963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0A4A4D2-A39B-335D-008B-8CE77145E500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34A3B1-37E0-E12E-B62D-FDD72569592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9A66ED-CBDE-2ED1-D45C-AF5DE42445D4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85DC56-5961-D3BD-A150-BF31D0D0B2F9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6858EBE-D6F1-B2FD-7907-11351E2C032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A81C2A-1D81-B16D-B913-994BA595953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50778D7-BBFE-BC0F-598E-CF9997C4E8BA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657207-F844-85CD-F9E3-4241A0D1912B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67724A55-6F8E-1B2B-3043-9E24C064AA27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2" y="1301577"/>
            <a:ext cx="10952147" cy="50179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6173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64" userDrawn="1">
          <p15:clr>
            <a:srgbClr val="FBAE40"/>
          </p15:clr>
        </p15:guide>
        <p15:guide id="2" orient="horz" pos="72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D19149D3-CA6C-85E9-5E2A-23BA03362B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952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D19149D3-CA6C-85E9-5E2A-23BA03362B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45578B07-4D87-C67E-03EC-C2B62BD9233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0932" y="0"/>
            <a:ext cx="12225551" cy="984250"/>
          </a:xfrm>
          <a:prstGeom prst="rect">
            <a:avLst/>
          </a:prstGeom>
        </p:spPr>
      </p:pic>
      <p:sp>
        <p:nvSpPr>
          <p:cNvPr id="24" name="Title 23"/>
          <p:cNvSpPr>
            <a:spLocks noGrp="1"/>
          </p:cNvSpPr>
          <p:nvPr>
            <p:ph type="title"/>
          </p:nvPr>
        </p:nvSpPr>
        <p:spPr>
          <a:xfrm>
            <a:off x="609232" y="168381"/>
            <a:ext cx="10985868" cy="623222"/>
          </a:xfrm>
        </p:spPr>
        <p:txBody>
          <a:bodyPr vert="horz" lIns="0" tIns="0" rIns="0" bIns="0" anchor="ctr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BA7BD91-1229-618F-FEE9-62EAECA716A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FEF50F8-AEE9-A933-6117-D7B4B4F123A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953255" y="5418611"/>
            <a:ext cx="2261365" cy="14494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C1269EF-E9CB-D480-DFFE-AD15E3224D0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5BC36A3-57BB-3D6F-29E8-C94CB5207963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0A4A4D2-A39B-335D-008B-8CE77145E500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134A3B1-37E0-E12E-B62D-FDD72569592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99A66ED-CBDE-2ED1-D45C-AF5DE42445D4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85DC56-5961-D3BD-A150-BF31D0D0B2F9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16858EBE-D6F1-B2FD-7907-11351E2C032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DA81C2A-1D81-B16D-B913-994BA595953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50778D7-BBFE-BC0F-598E-CF9997C4E8BA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657207-F844-85CD-F9E3-4241A0D1912B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49572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64" userDrawn="1">
          <p15:clr>
            <a:srgbClr val="FBAE40"/>
          </p15:clr>
        </p15:guide>
        <p15:guide id="2" orient="horz" pos="720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E90E3383-1AC6-98F9-F9B7-8053829C3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7539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E90E3383-1AC6-98F9-F9B7-8053829C3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F6F23CE4-FE7C-2C77-B618-E4367FE3FD3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204" y="0"/>
            <a:ext cx="12202931" cy="984250"/>
          </a:xfrm>
          <a:prstGeom prst="rect">
            <a:avLst/>
          </a:prstGeom>
        </p:spPr>
      </p:pic>
      <p:sp>
        <p:nvSpPr>
          <p:cNvPr id="16" name="Title 23">
            <a:extLst>
              <a:ext uri="{FF2B5EF4-FFF2-40B4-BE49-F238E27FC236}">
                <a16:creationId xmlns:a16="http://schemas.microsoft.com/office/drawing/2014/main" id="{4085826A-7691-1843-B06C-82034F1F5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4592"/>
            <a:ext cx="10985868" cy="623222"/>
          </a:xfrm>
        </p:spPr>
        <p:txBody>
          <a:bodyPr vert="horz" lIns="0" tIns="0" rIns="0" bIns="0">
            <a:noAutofit/>
          </a:bodyPr>
          <a:lstStyle>
            <a:lvl1pPr>
              <a:lnSpc>
                <a:spcPct val="9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1C6D7EFE-B94E-A0C8-5388-BC62CE528AE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7265669-6E78-1892-09A2-F67A67F5F0B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1008907" y="0"/>
            <a:ext cx="1202971" cy="98424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90CF7B4-DE90-21A6-D620-7BCD91B40AD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9480" y="159548"/>
            <a:ext cx="269928" cy="2699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2663213-C84B-C89E-4A66-6CE8722A511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992DEB-7BB3-9DE7-9807-6EDEF161477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6B7645-AB98-A166-C159-BBB0911ED82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AAECB4-7ED0-587F-8F3B-BB80E5A4822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79A0D5-CB5E-BA69-32F3-8D59FAEC5CC8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27DEB0-1704-6FD6-D04F-E1BB13604DB7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883FE8C-0C48-F488-DFF3-81EDA6B0F23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7E62DB-5181-617B-620D-4714F10E619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D31B9C5-02D6-3BE6-E9FF-6BCC50BAB5AE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8734AE0-25BD-1764-A032-4FB5F5D2E6A8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BB7120-787E-71B4-78EC-A07E3FD7F622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624337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E90E3383-1AC6-98F9-F9B7-8053829C3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1424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E90E3383-1AC6-98F9-F9B7-8053829C3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1C6D7EFE-B94E-A0C8-5388-BC62CE528AE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2663213-C84B-C89E-4A66-6CE8722A511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79A0D5-CB5E-BA69-32F3-8D59FAEC5CC8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27DEB0-1704-6FD6-D04F-E1BB13604DB7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883FE8C-0C48-F488-DFF3-81EDA6B0F23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7E62DB-5181-617B-620D-4714F10E619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D31B9C5-02D6-3BE6-E9FF-6BCC50BAB5AE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8734AE0-25BD-1764-A032-4FB5F5D2E6A8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BB7120-787E-71B4-78EC-A07E3FD7F622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5C5644D-3FB8-C0EA-0621-072EA22A32DB}"/>
              </a:ext>
            </a:extLst>
          </p:cNvPr>
          <p:cNvSpPr>
            <a:spLocks/>
          </p:cNvSpPr>
          <p:nvPr userDrawn="1"/>
        </p:nvSpPr>
        <p:spPr>
          <a:xfrm>
            <a:off x="-1204" y="0"/>
            <a:ext cx="12202931" cy="984250"/>
          </a:xfrm>
          <a:prstGeom prst="rect">
            <a:avLst/>
          </a:prstGeom>
          <a:solidFill>
            <a:srgbClr val="0921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+mn-lt"/>
              <a:ea typeface="+mn-ea"/>
              <a:cs typeface="+mn-cs"/>
            </a:endParaRPr>
          </a:p>
        </p:txBody>
      </p:sp>
      <p:sp>
        <p:nvSpPr>
          <p:cNvPr id="8" name="Title 23">
            <a:extLst>
              <a:ext uri="{FF2B5EF4-FFF2-40B4-BE49-F238E27FC236}">
                <a16:creationId xmlns:a16="http://schemas.microsoft.com/office/drawing/2014/main" id="{698B294A-1ABD-A2E5-1542-7F44880CB7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4592"/>
            <a:ext cx="8679547" cy="623222"/>
          </a:xfrm>
        </p:spPr>
        <p:txBody>
          <a:bodyPr vert="horz" lIns="0" tIns="0" rIns="0" bIns="0">
            <a:noAutofit/>
          </a:bodyPr>
          <a:lstStyle>
            <a:lvl1pPr>
              <a:lnSpc>
                <a:spcPct val="9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A2C879C4-6798-5EC1-77CC-5185E79CD7C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1008907" y="0"/>
            <a:ext cx="1202971" cy="984249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1A35971-C5D2-72BF-2C57-4B508229576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9480" y="159548"/>
            <a:ext cx="269928" cy="269928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22B27B05-49C3-4EA1-377B-24EFFD537FB7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4" name="Picture 23" descr="Logo, company name&#10;&#10;Description automatically generated">
            <a:extLst>
              <a:ext uri="{FF2B5EF4-FFF2-40B4-BE49-F238E27FC236}">
                <a16:creationId xmlns:a16="http://schemas.microsoft.com/office/drawing/2014/main" id="{AAB72009-33DF-CB2F-3AB4-7A14582D03C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196" t="17928" r="20543" b="18722"/>
          <a:stretch/>
        </p:blipFill>
        <p:spPr>
          <a:xfrm>
            <a:off x="9374127" y="105280"/>
            <a:ext cx="1131948" cy="77369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0702500-F4D3-18C0-5CEA-0237C3819E6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AFF4318-84B2-E7F5-CFD2-E8C32F72FE6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85332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>
            <a:extLst>
              <a:ext uri="{FF2B5EF4-FFF2-40B4-BE49-F238E27FC236}">
                <a16:creationId xmlns:a16="http://schemas.microsoft.com/office/drawing/2014/main" id="{E90E3383-1AC6-98F9-F9B7-8053829C35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235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7" name="Object 16" hidden="1">
                        <a:extLst>
                          <a:ext uri="{FF2B5EF4-FFF2-40B4-BE49-F238E27FC236}">
                            <a16:creationId xmlns:a16="http://schemas.microsoft.com/office/drawing/2014/main" id="{E90E3383-1AC6-98F9-F9B7-8053829C35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1C6D7EFE-B94E-A0C8-5388-BC62CE528AE2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2663213-C84B-C89E-4A66-6CE8722A511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992DEB-7BB3-9DE7-9807-6EDEF161477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6B7645-AB98-A166-C159-BBB0911ED82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AAECB4-7ED0-587F-8F3B-BB80E5A4822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79A0D5-CB5E-BA69-32F3-8D59FAEC5CC8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27DEB0-1704-6FD6-D04F-E1BB13604DB7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883FE8C-0C48-F488-DFF3-81EDA6B0F23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7E62DB-5181-617B-620D-4714F10E619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D31B9C5-02D6-3BE6-E9FF-6BCC50BAB5AE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8734AE0-25BD-1764-A032-4FB5F5D2E6A8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BB7120-787E-71B4-78EC-A07E3FD7F622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236278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>
            <a:extLst>
              <a:ext uri="{FF2B5EF4-FFF2-40B4-BE49-F238E27FC236}">
                <a16:creationId xmlns:a16="http://schemas.microsoft.com/office/drawing/2014/main" id="{B761586D-ADF6-529C-2413-590788670D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26973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B761586D-ADF6-529C-2413-590788670D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17">
            <a:extLst>
              <a:ext uri="{FF2B5EF4-FFF2-40B4-BE49-F238E27FC236}">
                <a16:creationId xmlns:a16="http://schemas.microsoft.com/office/drawing/2014/main" id="{AB13C4C8-B71C-8BC1-0E3C-8C4DC174835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204" y="0"/>
            <a:ext cx="12202931" cy="984250"/>
          </a:xfrm>
          <a:prstGeom prst="rect">
            <a:avLst/>
          </a:prstGeom>
        </p:spPr>
      </p:pic>
      <p:sp>
        <p:nvSpPr>
          <p:cNvPr id="2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86324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0E51550-7B1F-D643-870F-108D0F6F53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5032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79BB3282-881C-9E42-8CB7-B6BB0FB05F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7185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F4886CBF-A333-544D-BD50-AA45FAD785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79340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A20E48-257C-6C4C-BA1A-76666652B49E}"/>
              </a:ext>
            </a:extLst>
          </p:cNvPr>
          <p:cNvCxnSpPr>
            <a:cxnSpLocks/>
          </p:cNvCxnSpPr>
          <p:nvPr/>
        </p:nvCxnSpPr>
        <p:spPr>
          <a:xfrm>
            <a:off x="486325" y="2185352"/>
            <a:ext cx="2649783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9241A30-0879-8948-AFA7-3CF869C9F734}"/>
              </a:ext>
            </a:extLst>
          </p:cNvPr>
          <p:cNvCxnSpPr>
            <a:cxnSpLocks/>
          </p:cNvCxnSpPr>
          <p:nvPr/>
        </p:nvCxnSpPr>
        <p:spPr>
          <a:xfrm>
            <a:off x="3335033" y="2185352"/>
            <a:ext cx="2649783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934634E-1ACC-4548-9DB9-F129A69B59DC}"/>
              </a:ext>
            </a:extLst>
          </p:cNvPr>
          <p:cNvCxnSpPr>
            <a:cxnSpLocks/>
          </p:cNvCxnSpPr>
          <p:nvPr/>
        </p:nvCxnSpPr>
        <p:spPr>
          <a:xfrm>
            <a:off x="6207185" y="2185352"/>
            <a:ext cx="2649783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C0E2431-081E-D74F-9EFC-773A52E063EC}"/>
              </a:ext>
            </a:extLst>
          </p:cNvPr>
          <p:cNvCxnSpPr>
            <a:cxnSpLocks/>
          </p:cNvCxnSpPr>
          <p:nvPr/>
        </p:nvCxnSpPr>
        <p:spPr>
          <a:xfrm>
            <a:off x="9079340" y="2185352"/>
            <a:ext cx="2649783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23">
            <a:extLst>
              <a:ext uri="{FF2B5EF4-FFF2-40B4-BE49-F238E27FC236}">
                <a16:creationId xmlns:a16="http://schemas.microsoft.com/office/drawing/2014/main" id="{4D2D04FA-4602-C046-82B0-E34F5D5F32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10"/>
            <a:ext cx="11132394" cy="623222"/>
          </a:xfrm>
        </p:spPr>
        <p:txBody>
          <a:bodyPr vert="horz" lIns="0" tIns="0" rIns="0" bIns="0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7067016C-4D61-C698-2AAD-FFD59BADA60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F4E00A7-EFE8-F4A2-78A5-50FE1CB61C6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0165423" y="-2477"/>
            <a:ext cx="2036303" cy="98672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244FC22-6B79-1C3E-A2DA-92FA9AB159C5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4D61C27-93DB-15CE-45C5-0095041A7E5E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ADDD02F-F15F-2AEB-48DB-6DA77AA7E01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4787604-BAF9-7630-438C-641264347A0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7F16887-1288-3CF2-8BD3-C1DB8573868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297F63B-6B5D-5AAE-A494-07D9AE822EF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9E3C0B8-CB1F-F4D8-2670-2EE4447E08DB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D612653-4D68-9488-9DFF-4318F161E623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2B0C6BC-D022-D9C3-CA14-913AC87540CB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5ACF052-98BE-98AE-3D4A-6658A1D40DA1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7C3E1CC-523A-B22A-FC77-41C4DAB0DF2C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C7FCD131-7033-D4B8-4E06-B8CEB5837C4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1302" y="2318056"/>
            <a:ext cx="2649779" cy="4001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1211A5B-9B0D-C6D5-47A1-70A5553BC9A4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3344243" y="2318056"/>
            <a:ext cx="2649779" cy="4001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B19AC64-B490-BF55-4E2F-DCA061E7108C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6207189" y="2318056"/>
            <a:ext cx="2649779" cy="4001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7BB31A14-1A3C-3E8B-A4A5-0B5AC9BD4457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9091847" y="2318056"/>
            <a:ext cx="2649779" cy="4001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4350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A36D955-B3A7-C98D-63C4-65BC52F78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1443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A36D955-B3A7-C98D-63C4-65BC52F78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5EC22CD-4980-8653-12BF-5C4C806725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833" r="985"/>
          <a:stretch/>
        </p:blipFill>
        <p:spPr>
          <a:xfrm>
            <a:off x="1" y="0"/>
            <a:ext cx="6483963" cy="6858000"/>
          </a:xfrm>
          <a:custGeom>
            <a:avLst/>
            <a:gdLst>
              <a:gd name="connsiteX0" fmla="*/ 0 w 6483963"/>
              <a:gd name="connsiteY0" fmla="*/ 0 h 6858000"/>
              <a:gd name="connsiteX1" fmla="*/ 6483963 w 6483963"/>
              <a:gd name="connsiteY1" fmla="*/ 0 h 6858000"/>
              <a:gd name="connsiteX2" fmla="*/ 6483963 w 6483963"/>
              <a:gd name="connsiteY2" fmla="*/ 6858000 h 6858000"/>
              <a:gd name="connsiteX3" fmla="*/ 0 w 648396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3963" h="6858000">
                <a:moveTo>
                  <a:pt x="0" y="0"/>
                </a:moveTo>
                <a:lnTo>
                  <a:pt x="6483963" y="0"/>
                </a:lnTo>
                <a:lnTo>
                  <a:pt x="648396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359549-5A1F-9411-3B5D-0D48941C24F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2174" y="5029200"/>
            <a:ext cx="2637118" cy="14182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53851"/>
            <a:ext cx="4882138" cy="608864"/>
          </a:xfrm>
        </p:spPr>
        <p:txBody>
          <a:bodyPr bIns="0" anchor="b">
            <a:no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</p:spTree>
    <p:extLst>
      <p:ext uri="{BB962C8B-B14F-4D97-AF65-F5344CB8AC3E}">
        <p14:creationId xmlns:p14="http://schemas.microsoft.com/office/powerpoint/2010/main" val="12825519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1 -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9D096F45-7B3C-1DCC-02CD-805D12DD6D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64327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D096F45-7B3C-1DCC-02CD-805D12DD6D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F6F23CE4-FE7C-2C77-B618-E4367FE3FD3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204" y="0"/>
            <a:ext cx="12202931" cy="984250"/>
          </a:xfrm>
          <a:prstGeom prst="rect">
            <a:avLst/>
          </a:prstGeom>
        </p:spPr>
      </p:pic>
      <p:sp>
        <p:nvSpPr>
          <p:cNvPr id="16" name="Title 23">
            <a:extLst>
              <a:ext uri="{FF2B5EF4-FFF2-40B4-BE49-F238E27FC236}">
                <a16:creationId xmlns:a16="http://schemas.microsoft.com/office/drawing/2014/main" id="{4085826A-7691-1843-B06C-82034F1F58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59548"/>
            <a:ext cx="10960770" cy="623222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232" y="1287610"/>
            <a:ext cx="5259704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5259704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CF1B3AAF-D0DD-7744-AFEC-DBCE571A97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94924" y="1287609"/>
            <a:ext cx="5259704" cy="42159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CB330AF-1672-334C-B0B1-C1C9AD1B8438}"/>
              </a:ext>
            </a:extLst>
          </p:cNvPr>
          <p:cNvCxnSpPr>
            <a:cxnSpLocks/>
          </p:cNvCxnSpPr>
          <p:nvPr userDrawn="1"/>
        </p:nvCxnSpPr>
        <p:spPr>
          <a:xfrm>
            <a:off x="6294924" y="1854431"/>
            <a:ext cx="5259704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1C6D7EFE-B94E-A0C8-5388-BC62CE528AE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67265669-6E78-1892-09A2-F67A67F5F0B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11008907" y="0"/>
            <a:ext cx="1202971" cy="984249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A90CF7B4-DE90-21A6-D620-7BCD91B40AD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9480" y="159548"/>
            <a:ext cx="269928" cy="26992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C2663213-C84B-C89E-4A66-6CE8722A511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992DEB-7BB3-9DE7-9807-6EDEF161477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A6B7645-AB98-A166-C159-BBB0911ED82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0AAECB4-7ED0-587F-8F3B-BB80E5A4822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479A0D5-CB5E-BA69-32F3-8D59FAEC5CC8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927DEB0-1704-6FD6-D04F-E1BB13604DB7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6883FE8C-0C48-F488-DFF3-81EDA6B0F23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C7E62DB-5181-617B-620D-4714F10E619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D31B9C5-02D6-3BE6-E9FF-6BCC50BAB5AE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8734AE0-25BD-1764-A032-4FB5F5D2E6A8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6BB7120-787E-71B4-78EC-A07E3FD7F622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C8589BBA-1E7C-0069-E57B-23F855B098D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3" y="1989298"/>
            <a:ext cx="5281330" cy="43302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9D5238E6-2807-CE10-087F-3F164EDCD798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98833" y="1989298"/>
            <a:ext cx="5281330" cy="43302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3064571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2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066FFACF-CEE3-F8BA-30B1-E9B7F1D515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77134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6FFACF-CEE3-F8BA-30B1-E9B7F1D5154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232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3344092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F7A1BCF4-A8A2-6245-A98E-69AAAE820C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36515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8B64A02-492D-FE46-8E47-7D3C8EF0DFE6}"/>
              </a:ext>
            </a:extLst>
          </p:cNvPr>
          <p:cNvCxnSpPr>
            <a:cxnSpLocks/>
          </p:cNvCxnSpPr>
          <p:nvPr userDrawn="1"/>
        </p:nvCxnSpPr>
        <p:spPr>
          <a:xfrm>
            <a:off x="4436515" y="1854431"/>
            <a:ext cx="3344092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EAB7758D-1263-9340-B58E-8BCF64EAE3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5517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09C1042-81DA-7544-BC1C-27DB8E4DED8E}"/>
              </a:ext>
            </a:extLst>
          </p:cNvPr>
          <p:cNvCxnSpPr>
            <a:cxnSpLocks/>
          </p:cNvCxnSpPr>
          <p:nvPr userDrawn="1"/>
        </p:nvCxnSpPr>
        <p:spPr>
          <a:xfrm>
            <a:off x="8235517" y="1854431"/>
            <a:ext cx="3344092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bject 2">
            <a:extLst>
              <a:ext uri="{FF2B5EF4-FFF2-40B4-BE49-F238E27FC236}">
                <a16:creationId xmlns:a16="http://schemas.microsoft.com/office/drawing/2014/main" id="{0A7B2C8C-0511-364F-88EC-07A6DFE862AA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41" name="Title 23">
            <a:extLst>
              <a:ext uri="{FF2B5EF4-FFF2-40B4-BE49-F238E27FC236}">
                <a16:creationId xmlns:a16="http://schemas.microsoft.com/office/drawing/2014/main" id="{DBD66D1A-0C25-3743-96E4-E9D4CA69E7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1" y="168310"/>
            <a:ext cx="10970377" cy="623222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6AFD1CD-D5BA-6140-8A4F-0DE9E300A16D}"/>
              </a:ext>
            </a:extLst>
          </p:cNvPr>
          <p:cNvSpPr txBox="1"/>
          <p:nvPr userDrawn="1"/>
        </p:nvSpPr>
        <p:spPr>
          <a:xfrm>
            <a:off x="11064240" y="6639040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spc="3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PAGE </a:t>
            </a:r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2797EBC-F45A-5614-213D-FC429635A45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5361CBB-EF59-D080-80B0-5480006913EB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724983" y="-274666"/>
            <a:ext cx="1333064" cy="122439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96AFB0A-5734-D136-99C1-FC06A163AC56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EA3F4DF-9AFD-E5CA-6FFC-0C5171D37794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6877785-DF99-DAEF-7103-151AA5D4AF7C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AB857CA-9ED5-A3BF-FB4B-2364F4DC154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363CA41-CD6F-08EF-E125-A56CCE0B3C9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FA418D9-25DB-F3D1-1ADC-C3DC47DD25C9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9E3A67D-E674-79A3-EC8F-3BB9806406E6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16F6241-F702-3A52-9619-A59138C1753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15B3004-8E8A-A99A-A6D5-743A8F0BDB93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18EDF87-9B2F-056B-5F32-14C76A5B6556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F8948B8-0F08-F0AC-5D67-008A3E323F9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78667E-ED3C-080E-08B8-39BB7381CA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2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CE6AB6E1-E07C-5D1F-3C6B-B8A298B9DF5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436516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D2AE29F-8132-E512-0EFC-58E9A4D85ABA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35517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204923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3 -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547D47EC-F63B-632D-EBFC-1F31A7FD57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4050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7D47EC-F63B-632D-EBFC-1F31A7FD57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86323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0E51550-7B1F-D643-870F-108D0F6F53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5031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79BB3282-881C-9E42-8CB7-B6BB0FB05F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7185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F4886CBF-A333-544D-BD50-AA45FAD785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79339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A20E48-257C-6C4C-BA1A-76666652B49E}"/>
              </a:ext>
            </a:extLst>
          </p:cNvPr>
          <p:cNvCxnSpPr>
            <a:cxnSpLocks/>
          </p:cNvCxnSpPr>
          <p:nvPr userDrawn="1"/>
        </p:nvCxnSpPr>
        <p:spPr>
          <a:xfrm>
            <a:off x="486324" y="2185352"/>
            <a:ext cx="264978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9241A30-0879-8948-AFA7-3CF869C9F734}"/>
              </a:ext>
            </a:extLst>
          </p:cNvPr>
          <p:cNvCxnSpPr>
            <a:cxnSpLocks/>
          </p:cNvCxnSpPr>
          <p:nvPr userDrawn="1"/>
        </p:nvCxnSpPr>
        <p:spPr>
          <a:xfrm>
            <a:off x="3335032" y="2185352"/>
            <a:ext cx="264978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934634E-1ACC-4548-9DB9-F129A69B59DC}"/>
              </a:ext>
            </a:extLst>
          </p:cNvPr>
          <p:cNvCxnSpPr>
            <a:cxnSpLocks/>
          </p:cNvCxnSpPr>
          <p:nvPr userDrawn="1"/>
        </p:nvCxnSpPr>
        <p:spPr>
          <a:xfrm>
            <a:off x="6207184" y="2185352"/>
            <a:ext cx="264978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C0E2431-081E-D74F-9EFC-773A52E063EC}"/>
              </a:ext>
            </a:extLst>
          </p:cNvPr>
          <p:cNvCxnSpPr>
            <a:cxnSpLocks/>
          </p:cNvCxnSpPr>
          <p:nvPr userDrawn="1"/>
        </p:nvCxnSpPr>
        <p:spPr>
          <a:xfrm>
            <a:off x="9079339" y="2185352"/>
            <a:ext cx="2649783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bject 2">
            <a:extLst>
              <a:ext uri="{FF2B5EF4-FFF2-40B4-BE49-F238E27FC236}">
                <a16:creationId xmlns:a16="http://schemas.microsoft.com/office/drawing/2014/main" id="{81C8B496-17AD-854B-86A7-46CFE4A24FA1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33" name="Title 23">
            <a:extLst>
              <a:ext uri="{FF2B5EF4-FFF2-40B4-BE49-F238E27FC236}">
                <a16:creationId xmlns:a16="http://schemas.microsoft.com/office/drawing/2014/main" id="{4D2D04FA-4602-C046-82B0-E34F5D5F3234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232" y="168310"/>
            <a:ext cx="11119890" cy="623222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F4C21270-35B1-917E-5B39-F641AC7A2B3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EEC18E0-FF9D-06C5-E61F-880246308F8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212779" y="-2476"/>
            <a:ext cx="1988947" cy="96378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21BF71D-D82A-9760-6CC0-589D33DD0EB2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B60027D-FE01-9E9C-AD68-E6A41B660B1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92C3C04-63CE-5984-FEB5-4E970C22DD2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C6B8117-920A-3F52-9178-292E8F445D2B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EBB7939-B76C-8B48-04B0-DF24C0F4AAD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25823CA-0482-3BB7-C8ED-9743F4FF96D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8A90C83-7B47-517E-E735-C5A4B0CC674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25B2EA1-B44B-0503-E5B8-56C9445DA11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E6E4564-4B84-E97D-0AA4-9AAED30E7F70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03550EF-042D-0369-FC2F-915573C5BB64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1332006-AC9E-C354-AEB7-85CE7FE6B692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26BA6181-C0C2-6FAD-E2D9-B2DE669F7E6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6324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6367D2C-AEEF-96B6-7AE2-5C2A9F2F574F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3335031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A3EC043-A860-35A9-429A-A760D2DDD0FE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6207184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01FDFF9-DA9D-3895-9B40-7565F0766830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9079340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92589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1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FAEDE377-A493-FC31-C42F-9CD4295FF71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71309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EDE377-A493-FC31-C42F-9CD4295FF71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object 2">
            <a:extLst>
              <a:ext uri="{FF2B5EF4-FFF2-40B4-BE49-F238E27FC236}">
                <a16:creationId xmlns:a16="http://schemas.microsoft.com/office/drawing/2014/main" id="{4F62F695-717D-374C-802D-7FEBEAD6FE46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16" name="Title 23">
            <a:extLst>
              <a:ext uri="{FF2B5EF4-FFF2-40B4-BE49-F238E27FC236}">
                <a16:creationId xmlns:a16="http://schemas.microsoft.com/office/drawing/2014/main" id="{4085826A-7691-1843-B06C-82034F1F58ED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231" y="159548"/>
            <a:ext cx="10937489" cy="623222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609232" y="1287610"/>
            <a:ext cx="5259704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5259704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7">
            <a:extLst>
              <a:ext uri="{FF2B5EF4-FFF2-40B4-BE49-F238E27FC236}">
                <a16:creationId xmlns:a16="http://schemas.microsoft.com/office/drawing/2014/main" id="{CF1B3AAF-D0DD-7744-AFEC-DBCE571A9744}"/>
              </a:ext>
            </a:extLst>
          </p:cNvPr>
          <p:cNvSpPr>
            <a:spLocks noGrp="1"/>
          </p:cNvSpPr>
          <p:nvPr userDrawn="1">
            <p:ph type="body" sz="quarter" idx="17" hasCustomPrompt="1"/>
          </p:nvPr>
        </p:nvSpPr>
        <p:spPr>
          <a:xfrm>
            <a:off x="6294924" y="1287609"/>
            <a:ext cx="5259704" cy="421593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CB330AF-1672-334C-B0B1-C1C9AD1B8438}"/>
              </a:ext>
            </a:extLst>
          </p:cNvPr>
          <p:cNvCxnSpPr>
            <a:cxnSpLocks/>
          </p:cNvCxnSpPr>
          <p:nvPr userDrawn="1"/>
        </p:nvCxnSpPr>
        <p:spPr>
          <a:xfrm>
            <a:off x="6294924" y="1854431"/>
            <a:ext cx="5259704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>
            <a:extLst>
              <a:ext uri="{FF2B5EF4-FFF2-40B4-BE49-F238E27FC236}">
                <a16:creationId xmlns:a16="http://schemas.microsoft.com/office/drawing/2014/main" id="{A6A1DD92-022E-84B0-0DC9-553E39FBE8A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5AB0E66-6F76-8A2A-0794-5CC77A151836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6E22F23-0A09-3474-5588-4788EFFFD991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813D79B-8F94-CE57-37C2-5B43A9DB45C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F7D53F2-264D-6985-2BBC-3A6B5ABF88F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565F414-B91D-CDB6-4669-B6C2DE11E4BD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D8BDE56-681E-C58C-94BC-66F06762AF2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EFD51FB-2CC7-0B9E-449D-953D21AE882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E968223-A9A4-7128-ED40-723D21F98C87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597E506-99A8-D7B7-CDA8-B5E0422C8663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2E5FC88-D8B7-6440-2CEB-AF649A4E7058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9084707-59A7-2CAF-9AEE-6D19DBBCDEF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9A7F53A-47F8-9935-1B64-6E245F3E6D6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1FB5B96-D479-A7BC-B63E-14247CF055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3" y="1989298"/>
            <a:ext cx="5281330" cy="43302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5AC2734-39D8-8E3D-702D-EF042AB021E1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6298833" y="1989298"/>
            <a:ext cx="5281330" cy="43302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788223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2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114A17CE-AB43-6E66-8D18-2B3103299B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291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4A17CE-AB43-6E66-8D18-2B3103299B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ADB97546-6C6B-5848-B3AE-67DDFC3355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232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F26296F-DC28-A844-A02B-73449FF6A8DB}"/>
              </a:ext>
            </a:extLst>
          </p:cNvPr>
          <p:cNvCxnSpPr>
            <a:cxnSpLocks/>
          </p:cNvCxnSpPr>
          <p:nvPr userDrawn="1"/>
        </p:nvCxnSpPr>
        <p:spPr>
          <a:xfrm>
            <a:off x="609232" y="1854431"/>
            <a:ext cx="3344092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17">
            <a:extLst>
              <a:ext uri="{FF2B5EF4-FFF2-40B4-BE49-F238E27FC236}">
                <a16:creationId xmlns:a16="http://schemas.microsoft.com/office/drawing/2014/main" id="{F7A1BCF4-A8A2-6245-A98E-69AAAE820CA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36515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8B64A02-492D-FE46-8E47-7D3C8EF0DFE6}"/>
              </a:ext>
            </a:extLst>
          </p:cNvPr>
          <p:cNvCxnSpPr>
            <a:cxnSpLocks/>
          </p:cNvCxnSpPr>
          <p:nvPr userDrawn="1"/>
        </p:nvCxnSpPr>
        <p:spPr>
          <a:xfrm>
            <a:off x="4436515" y="1854431"/>
            <a:ext cx="3344092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17">
            <a:extLst>
              <a:ext uri="{FF2B5EF4-FFF2-40B4-BE49-F238E27FC236}">
                <a16:creationId xmlns:a16="http://schemas.microsoft.com/office/drawing/2014/main" id="{EAB7758D-1263-9340-B58E-8BCF64EAE37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35517" y="1287610"/>
            <a:ext cx="3344092" cy="421592"/>
          </a:xfrm>
        </p:spPr>
        <p:txBody>
          <a:bodyPr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E09C1042-81DA-7544-BC1C-27DB8E4DED8E}"/>
              </a:ext>
            </a:extLst>
          </p:cNvPr>
          <p:cNvCxnSpPr>
            <a:cxnSpLocks/>
          </p:cNvCxnSpPr>
          <p:nvPr userDrawn="1"/>
        </p:nvCxnSpPr>
        <p:spPr>
          <a:xfrm>
            <a:off x="8235517" y="1854431"/>
            <a:ext cx="3344092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object 2">
            <a:extLst>
              <a:ext uri="{FF2B5EF4-FFF2-40B4-BE49-F238E27FC236}">
                <a16:creationId xmlns:a16="http://schemas.microsoft.com/office/drawing/2014/main" id="{0A7B2C8C-0511-364F-88EC-07A6DFE862AA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41" name="Title 23">
            <a:extLst>
              <a:ext uri="{FF2B5EF4-FFF2-40B4-BE49-F238E27FC236}">
                <a16:creationId xmlns:a16="http://schemas.microsoft.com/office/drawing/2014/main" id="{DBD66D1A-0C25-3743-96E4-E9D4CA69E78E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231" y="168310"/>
            <a:ext cx="10970377" cy="623222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BC4C6AE-41C6-1CC2-A42F-25C2EE01C63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76D29E3-A43A-56F2-A467-264924E0A9A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2E00029-8738-DB16-239C-207D2DCC08C3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AB1F1DE-B4AB-E735-907E-36EEA0CEFAA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58F0CAD-F38C-13A2-12C2-3CAD2475DBE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386A38A-E963-7417-9675-71EBA197FD1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09629AD-8F79-FE56-1339-27FF070A5C93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4EC9697-41F6-731A-04D5-7AD2D19581E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5E94BFA9-84E5-E860-EA37-F2BFCD586355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155E0E4-41D2-C564-D366-FA7A3F882AC5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0F192CC-D203-7349-BD22-10FA31A4C676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1E2969E-48D9-B9AB-6470-4ECB3AF00FDA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274EA24-1080-0B89-6B4D-A3FCC5760685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7E83E2B-555E-E8DB-0842-DA192D98125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2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544B17D-32E0-B201-21C7-497DFDE2ECE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436516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237D7AF-3724-7FB3-695A-EC0C5562BB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235517" y="1997927"/>
            <a:ext cx="3344091" cy="432159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8832337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03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think-cell data - do not delete" hidden="1">
            <a:extLst>
              <a:ext uri="{FF2B5EF4-FFF2-40B4-BE49-F238E27FC236}">
                <a16:creationId xmlns:a16="http://schemas.microsoft.com/office/drawing/2014/main" id="{A42047CA-4D7E-49CD-89B7-782043CEB0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587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2047CA-4D7E-49CD-89B7-782043CEB0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ext Placeholder 17"/>
          <p:cNvSpPr>
            <a:spLocks noGrp="1"/>
          </p:cNvSpPr>
          <p:nvPr>
            <p:ph type="body" sz="quarter" idx="14" hasCustomPrompt="1"/>
          </p:nvPr>
        </p:nvSpPr>
        <p:spPr>
          <a:xfrm>
            <a:off x="486323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26" name="Text Placeholder 17">
            <a:extLst>
              <a:ext uri="{FF2B5EF4-FFF2-40B4-BE49-F238E27FC236}">
                <a16:creationId xmlns:a16="http://schemas.microsoft.com/office/drawing/2014/main" id="{00E51550-7B1F-D643-870F-108D0F6F538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35031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6" name="Text Placeholder 17">
            <a:extLst>
              <a:ext uri="{FF2B5EF4-FFF2-40B4-BE49-F238E27FC236}">
                <a16:creationId xmlns:a16="http://schemas.microsoft.com/office/drawing/2014/main" id="{79BB3282-881C-9E42-8CB7-B6BB0FB05F1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07185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sp>
        <p:nvSpPr>
          <p:cNvPr id="39" name="Text Placeholder 17">
            <a:extLst>
              <a:ext uri="{FF2B5EF4-FFF2-40B4-BE49-F238E27FC236}">
                <a16:creationId xmlns:a16="http://schemas.microsoft.com/office/drawing/2014/main" id="{F4886CBF-A333-544D-BD50-AA45FAD785A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79339" y="1287610"/>
            <a:ext cx="2649783" cy="727086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None/>
              <a:defRPr lang="en-US" sz="2000" b="1" i="0" kern="1200" dirty="0" smtClean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2pPr>
            <a:lvl3pPr marL="9144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3pPr>
            <a:lvl4pPr marL="1371600" indent="0">
              <a:buNone/>
              <a:defRPr lang="en-US" sz="950" b="0" kern="1200" spc="204" dirty="0" smtClean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4pPr>
            <a:lvl5pPr marL="1828800" indent="0">
              <a:buNone/>
              <a:defRPr lang="en-US" sz="950" b="0" kern="1200" spc="204" dirty="0">
                <a:solidFill>
                  <a:srgbClr val="FFFFFF"/>
                </a:solidFill>
                <a:latin typeface="Fibra One Light"/>
                <a:ea typeface="+mn-ea"/>
                <a:cs typeface="Fibra One Light"/>
              </a:defRPr>
            </a:lvl5pPr>
          </a:lstStyle>
          <a:p>
            <a:pPr lvl="0"/>
            <a:r>
              <a:rPr lang="en-US"/>
              <a:t>Write your sub-heading tit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7A20E48-257C-6C4C-BA1A-76666652B49E}"/>
              </a:ext>
            </a:extLst>
          </p:cNvPr>
          <p:cNvCxnSpPr>
            <a:cxnSpLocks/>
          </p:cNvCxnSpPr>
          <p:nvPr userDrawn="1"/>
        </p:nvCxnSpPr>
        <p:spPr>
          <a:xfrm>
            <a:off x="486324" y="2185352"/>
            <a:ext cx="2649783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89241A30-0879-8948-AFA7-3CF869C9F734}"/>
              </a:ext>
            </a:extLst>
          </p:cNvPr>
          <p:cNvCxnSpPr>
            <a:cxnSpLocks/>
          </p:cNvCxnSpPr>
          <p:nvPr userDrawn="1"/>
        </p:nvCxnSpPr>
        <p:spPr>
          <a:xfrm>
            <a:off x="3335032" y="2185352"/>
            <a:ext cx="2649783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934634E-1ACC-4548-9DB9-F129A69B59DC}"/>
              </a:ext>
            </a:extLst>
          </p:cNvPr>
          <p:cNvCxnSpPr>
            <a:cxnSpLocks/>
          </p:cNvCxnSpPr>
          <p:nvPr userDrawn="1"/>
        </p:nvCxnSpPr>
        <p:spPr>
          <a:xfrm>
            <a:off x="6207184" y="2185352"/>
            <a:ext cx="2649783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8C0E2431-081E-D74F-9EFC-773A52E063EC}"/>
              </a:ext>
            </a:extLst>
          </p:cNvPr>
          <p:cNvCxnSpPr>
            <a:cxnSpLocks/>
          </p:cNvCxnSpPr>
          <p:nvPr userDrawn="1"/>
        </p:nvCxnSpPr>
        <p:spPr>
          <a:xfrm>
            <a:off x="9079339" y="2185352"/>
            <a:ext cx="2649783" cy="0"/>
          </a:xfrm>
          <a:prstGeom prst="line">
            <a:avLst/>
          </a:prstGeom>
          <a:ln w="1270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object 2">
            <a:extLst>
              <a:ext uri="{FF2B5EF4-FFF2-40B4-BE49-F238E27FC236}">
                <a16:creationId xmlns:a16="http://schemas.microsoft.com/office/drawing/2014/main" id="{81C8B496-17AD-854B-86A7-46CFE4A24FA1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33" name="Title 23">
            <a:extLst>
              <a:ext uri="{FF2B5EF4-FFF2-40B4-BE49-F238E27FC236}">
                <a16:creationId xmlns:a16="http://schemas.microsoft.com/office/drawing/2014/main" id="{4D2D04FA-4602-C046-82B0-E34F5D5F3234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232" y="168310"/>
            <a:ext cx="11119890" cy="623222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0567F9A-4D2B-3E19-08D8-47A264DE46E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 rot="10800000">
            <a:off x="9501716" y="-410636"/>
            <a:ext cx="1979083" cy="138607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891A76CC-1BCA-2DFB-E9F8-4E1283E1B14E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0C5574A-1AAF-ECF7-8EEF-8C3EA962FBAF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accent5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3BC7268-8C86-E531-E28D-303596A0CFC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B97BC75-5B9D-BB13-CFE5-8FB936300D0E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07AFA52-3D42-BCAC-89FA-6525B6ADDCC9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51113B0-CFA5-A55C-B8D6-486A20922CA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79B4BCA-2FEF-27A2-76C4-05850F47BFDE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EBFFC89-AC58-AA70-985F-F565A47681DA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ABFFAF-CF96-84F9-C307-3652ECD98974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BF7400B-4F09-903F-3B6C-AEFA8935C558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BF62C9-BAE0-5761-317B-2A3E1B3EDD0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0F36E62-A079-9BC9-710F-C6179C44F548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79BBB17E-1FB8-89FC-84DB-F8749D67350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86324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E4BD2DA-8164-CCCF-2F79-1BCD6CC23A12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3335031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2043910-358D-24A2-2269-3CA3EF579A19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6207184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97CEFF0-425F-0206-B052-C17B4064CCD4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9079340" y="2352582"/>
            <a:ext cx="2649782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874705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think-cell data - do not delete" hidden="1">
            <a:extLst>
              <a:ext uri="{FF2B5EF4-FFF2-40B4-BE49-F238E27FC236}">
                <a16:creationId xmlns:a16="http://schemas.microsoft.com/office/drawing/2014/main" id="{ADC91A02-808B-89FD-B6E4-698BDBF5E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876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C91A02-808B-89FD-B6E4-698BDBF5E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object 2">
            <a:extLst>
              <a:ext uri="{FF2B5EF4-FFF2-40B4-BE49-F238E27FC236}">
                <a16:creationId xmlns:a16="http://schemas.microsoft.com/office/drawing/2014/main" id="{126C8BFA-8CF8-DD4D-A574-D97E28367D5B}"/>
              </a:ext>
            </a:extLst>
          </p:cNvPr>
          <p:cNvSpPr/>
          <p:nvPr userDrawn="1"/>
        </p:nvSpPr>
        <p:spPr>
          <a:xfrm>
            <a:off x="-9939" y="0"/>
            <a:ext cx="4082353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object 2">
            <a:extLst>
              <a:ext uri="{FF2B5EF4-FFF2-40B4-BE49-F238E27FC236}">
                <a16:creationId xmlns:a16="http://schemas.microsoft.com/office/drawing/2014/main" id="{9BF6C6E8-B7A4-924C-9E6C-3C4CC13FD576}"/>
              </a:ext>
            </a:extLst>
          </p:cNvPr>
          <p:cNvSpPr/>
          <p:nvPr userDrawn="1"/>
        </p:nvSpPr>
        <p:spPr>
          <a:xfrm>
            <a:off x="8109647" y="0"/>
            <a:ext cx="4082353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F8D48D0B-58D4-874E-A7BB-FCE1D81EA330}"/>
              </a:ext>
            </a:extLst>
          </p:cNvPr>
          <p:cNvSpPr/>
          <p:nvPr userDrawn="1"/>
        </p:nvSpPr>
        <p:spPr>
          <a:xfrm>
            <a:off x="4027296" y="-7257"/>
            <a:ext cx="4082352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algn="ctr"/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37E0320-F79C-3B46-BE17-03E29EFE2757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846328" y="670181"/>
            <a:ext cx="10515600" cy="883666"/>
          </a:xfrm>
        </p:spPr>
        <p:txBody>
          <a:bodyPr vert="horz">
            <a:noAutofit/>
          </a:bodyPr>
          <a:lstStyle>
            <a:lvl1pPr algn="ctr">
              <a:defRPr sz="40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D21E6825-4ADB-4046-805F-23ADDDCA0E2B}"/>
              </a:ext>
            </a:extLst>
          </p:cNvPr>
          <p:cNvSpPr/>
          <p:nvPr userDrawn="1"/>
        </p:nvSpPr>
        <p:spPr>
          <a:xfrm>
            <a:off x="1751211" y="2204720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n-lt"/>
              <a:ea typeface="+mn-ea"/>
              <a:cs typeface="+mn-cs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FE787688-92FC-034B-9EE0-7D88C5556919}"/>
              </a:ext>
            </a:extLst>
          </p:cNvPr>
          <p:cNvCxnSpPr/>
          <p:nvPr userDrawn="1"/>
        </p:nvCxnSpPr>
        <p:spPr>
          <a:xfrm>
            <a:off x="1276350" y="3095568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30DEE947-0818-3245-A202-52BD0F5B8C08}"/>
              </a:ext>
            </a:extLst>
          </p:cNvPr>
          <p:cNvCxnSpPr/>
          <p:nvPr userDrawn="1"/>
        </p:nvCxnSpPr>
        <p:spPr>
          <a:xfrm>
            <a:off x="5318760" y="3095568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0E9C8AC-8AD7-3940-8EF1-2CA30256A3AE}"/>
              </a:ext>
            </a:extLst>
          </p:cNvPr>
          <p:cNvCxnSpPr>
            <a:cxnSpLocks/>
          </p:cNvCxnSpPr>
          <p:nvPr userDrawn="1"/>
        </p:nvCxnSpPr>
        <p:spPr>
          <a:xfrm>
            <a:off x="9373584" y="310046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F852D0E0-2963-6D41-B973-2FA101FBD6D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87568" y="2348799"/>
            <a:ext cx="287338" cy="361950"/>
          </a:xfrm>
        </p:spPr>
        <p:txBody>
          <a:bodyPr anchor="ctr"/>
          <a:lstStyle>
            <a:lvl1pPr algn="ctr">
              <a:buNone/>
              <a:defRPr sz="25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1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3CEE7091-C6CC-7E4E-982C-70CAE3B3A885}"/>
              </a:ext>
            </a:extLst>
          </p:cNvPr>
          <p:cNvSpPr/>
          <p:nvPr userDrawn="1"/>
        </p:nvSpPr>
        <p:spPr>
          <a:xfrm>
            <a:off x="5788448" y="2204720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n-lt"/>
              <a:ea typeface="+mn-ea"/>
              <a:cs typeface="+mn-cs"/>
            </a:endParaRPr>
          </a:p>
        </p:txBody>
      </p:sp>
      <p:sp>
        <p:nvSpPr>
          <p:cNvPr id="48" name="Text Placeholder 43">
            <a:extLst>
              <a:ext uri="{FF2B5EF4-FFF2-40B4-BE49-F238E27FC236}">
                <a16:creationId xmlns:a16="http://schemas.microsoft.com/office/drawing/2014/main" id="{6B80AD42-B019-154B-944C-39626896A7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934744" y="2348799"/>
            <a:ext cx="287338" cy="361950"/>
          </a:xfrm>
        </p:spPr>
        <p:txBody>
          <a:bodyPr anchor="ctr"/>
          <a:lstStyle>
            <a:lvl1pPr algn="ctr">
              <a:buNone/>
              <a:defRPr sz="25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2</a:t>
            </a:r>
          </a:p>
        </p:txBody>
      </p:sp>
      <p:sp>
        <p:nvSpPr>
          <p:cNvPr id="55" name="Oval 54">
            <a:extLst>
              <a:ext uri="{FF2B5EF4-FFF2-40B4-BE49-F238E27FC236}">
                <a16:creationId xmlns:a16="http://schemas.microsoft.com/office/drawing/2014/main" id="{06B24090-F46C-7846-857E-10992A03ED7E}"/>
              </a:ext>
            </a:extLst>
          </p:cNvPr>
          <p:cNvSpPr/>
          <p:nvPr userDrawn="1"/>
        </p:nvSpPr>
        <p:spPr>
          <a:xfrm>
            <a:off x="9870797" y="2204720"/>
            <a:ext cx="560051" cy="560051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b="1">
              <a:latin typeface="+mn-lt"/>
              <a:ea typeface="+mn-ea"/>
              <a:cs typeface="+mn-cs"/>
            </a:endParaRPr>
          </a:p>
        </p:txBody>
      </p:sp>
      <p:sp>
        <p:nvSpPr>
          <p:cNvPr id="56" name="Text Placeholder 43">
            <a:extLst>
              <a:ext uri="{FF2B5EF4-FFF2-40B4-BE49-F238E27FC236}">
                <a16:creationId xmlns:a16="http://schemas.microsoft.com/office/drawing/2014/main" id="{518AB753-6316-3546-AF61-D6BFA84B9FD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006933" y="2348799"/>
            <a:ext cx="287338" cy="361950"/>
          </a:xfrm>
        </p:spPr>
        <p:txBody>
          <a:bodyPr anchor="ctr"/>
          <a:lstStyle>
            <a:lvl1pPr algn="ctr">
              <a:buNone/>
              <a:defRPr sz="25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3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2294555-99A8-879D-49E2-99108115AEA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-7494" y="-11876"/>
            <a:ext cx="2054940" cy="155384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5FF7442-BE5C-D7B8-B267-8F53CB2381E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42321" y="6631116"/>
            <a:ext cx="2324126" cy="107951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F9FD74F-65E5-9316-4325-3DA28D03B47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8E94C0-7F9D-36C3-2EBF-12537FD2689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03B0BA2-EEC0-17AE-FC03-5166353FD630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1CD4E3F-DE0B-AF32-F056-F4FA09B7AD7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2A8F429-92F5-A07E-BC0C-76EFA2B0706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82595F3-2E9F-70D3-AD46-3AE7CC66C6D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F4EADCB5-2876-5916-5039-46CEE7511922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93CC370-572F-E3D7-A9A4-FAE0B5CC90FB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80836BA-77C6-6D77-44BB-EBBC32B3FB65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DF23685-D19F-264A-ED72-A0C8185BF44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CB4F13E-405C-7762-19F4-63BF344B45F8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6DBF42-11B8-7077-E948-39D5BF99852E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09233" y="3323967"/>
            <a:ext cx="3053962" cy="29955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D1B08E2-03D4-0AF5-7FC1-BBCE75C56EF7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6516" y="3323967"/>
            <a:ext cx="3344091" cy="29955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E64CF58-E155-6AB4-5CAC-E05430657080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473749" y="3323967"/>
            <a:ext cx="3105859" cy="299555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734136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think-cell data - do not delete" hidden="1">
            <a:extLst>
              <a:ext uri="{FF2B5EF4-FFF2-40B4-BE49-F238E27FC236}">
                <a16:creationId xmlns:a16="http://schemas.microsoft.com/office/drawing/2014/main" id="{61FC149C-A9AC-B564-1A98-A267BCCF0C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30833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FC149C-A9AC-B564-1A98-A267BCCF0C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object 2">
            <a:extLst>
              <a:ext uri="{FF2B5EF4-FFF2-40B4-BE49-F238E27FC236}">
                <a16:creationId xmlns:a16="http://schemas.microsoft.com/office/drawing/2014/main" id="{AF9EEA82-5990-F847-8B4D-E725893922FD}"/>
              </a:ext>
            </a:extLst>
          </p:cNvPr>
          <p:cNvSpPr/>
          <p:nvPr userDrawn="1"/>
        </p:nvSpPr>
        <p:spPr>
          <a:xfrm>
            <a:off x="4798900" y="0"/>
            <a:ext cx="24948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2" name="object 2">
            <a:extLst>
              <a:ext uri="{FF2B5EF4-FFF2-40B4-BE49-F238E27FC236}">
                <a16:creationId xmlns:a16="http://schemas.microsoft.com/office/drawing/2014/main" id="{15E19BCA-6990-FF4D-BF2F-57B5929A6AB4}"/>
              </a:ext>
            </a:extLst>
          </p:cNvPr>
          <p:cNvSpPr/>
          <p:nvPr userDrawn="1"/>
        </p:nvSpPr>
        <p:spPr>
          <a:xfrm>
            <a:off x="7288100" y="0"/>
            <a:ext cx="24948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3" name="object 2">
            <a:extLst>
              <a:ext uri="{FF2B5EF4-FFF2-40B4-BE49-F238E27FC236}">
                <a16:creationId xmlns:a16="http://schemas.microsoft.com/office/drawing/2014/main" id="{39124CAF-DA73-9D41-A0F0-4525946FEACF}"/>
              </a:ext>
            </a:extLst>
          </p:cNvPr>
          <p:cNvSpPr/>
          <p:nvPr userDrawn="1"/>
        </p:nvSpPr>
        <p:spPr>
          <a:xfrm>
            <a:off x="9764600" y="0"/>
            <a:ext cx="242740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4" name="object 2">
            <a:extLst>
              <a:ext uri="{FF2B5EF4-FFF2-40B4-BE49-F238E27FC236}">
                <a16:creationId xmlns:a16="http://schemas.microsoft.com/office/drawing/2014/main" id="{4913DA6F-DBCF-0141-B7AD-DBA48355ABDB}"/>
              </a:ext>
            </a:extLst>
          </p:cNvPr>
          <p:cNvSpPr/>
          <p:nvPr userDrawn="1"/>
        </p:nvSpPr>
        <p:spPr>
          <a:xfrm>
            <a:off x="0" y="0"/>
            <a:ext cx="23280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8" name="object 2">
            <a:extLst>
              <a:ext uri="{FF2B5EF4-FFF2-40B4-BE49-F238E27FC236}">
                <a16:creationId xmlns:a16="http://schemas.microsoft.com/office/drawing/2014/main" id="{E00BF257-0D6D-8141-A7E4-83D491757120}"/>
              </a:ext>
            </a:extLst>
          </p:cNvPr>
          <p:cNvSpPr/>
          <p:nvPr userDrawn="1"/>
        </p:nvSpPr>
        <p:spPr>
          <a:xfrm>
            <a:off x="2309700" y="0"/>
            <a:ext cx="2494830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2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DB31E5A3-020D-7E4F-A87B-5A45BF3BB613}"/>
              </a:ext>
            </a:extLst>
          </p:cNvPr>
          <p:cNvCxnSpPr>
            <a:cxnSpLocks/>
          </p:cNvCxnSpPr>
          <p:nvPr userDrawn="1"/>
        </p:nvCxnSpPr>
        <p:spPr>
          <a:xfrm>
            <a:off x="390593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6D76473E-B6B4-964B-B0EC-72FDC57362A2}"/>
              </a:ext>
            </a:extLst>
          </p:cNvPr>
          <p:cNvCxnSpPr>
            <a:cxnSpLocks/>
          </p:cNvCxnSpPr>
          <p:nvPr userDrawn="1"/>
        </p:nvCxnSpPr>
        <p:spPr>
          <a:xfrm>
            <a:off x="2779874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757E0E07-3915-B04B-8AFC-0F7840CB2A08}"/>
              </a:ext>
            </a:extLst>
          </p:cNvPr>
          <p:cNvCxnSpPr>
            <a:cxnSpLocks/>
          </p:cNvCxnSpPr>
          <p:nvPr userDrawn="1"/>
        </p:nvCxnSpPr>
        <p:spPr>
          <a:xfrm>
            <a:off x="5308117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8B8BAAAA-1FC8-504B-8F64-E895C8F23CD0}"/>
              </a:ext>
            </a:extLst>
          </p:cNvPr>
          <p:cNvCxnSpPr>
            <a:cxnSpLocks/>
          </p:cNvCxnSpPr>
          <p:nvPr userDrawn="1"/>
        </p:nvCxnSpPr>
        <p:spPr>
          <a:xfrm>
            <a:off x="7755482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12251DFE-9E58-6E44-BFE8-816852ACB3C8}"/>
              </a:ext>
            </a:extLst>
          </p:cNvPr>
          <p:cNvCxnSpPr>
            <a:cxnSpLocks/>
          </p:cNvCxnSpPr>
          <p:nvPr userDrawn="1"/>
        </p:nvCxnSpPr>
        <p:spPr>
          <a:xfrm>
            <a:off x="10243938" y="2161674"/>
            <a:ext cx="155448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ED9459-6CCA-8A4F-925C-EE8B944C3E81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242321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4" name="Text Placeholder 4">
            <a:extLst>
              <a:ext uri="{FF2B5EF4-FFF2-40B4-BE49-F238E27FC236}">
                <a16:creationId xmlns:a16="http://schemas.microsoft.com/office/drawing/2014/main" id="{E4C36B83-1666-F442-9A9A-8D7FD9AB4538}"/>
              </a:ext>
            </a:extLst>
          </p:cNvPr>
          <p:cNvSpPr>
            <a:spLocks noGrp="1"/>
          </p:cNvSpPr>
          <p:nvPr userDrawn="1">
            <p:ph type="body" sz="quarter" idx="29" hasCustomPrompt="1"/>
          </p:nvPr>
        </p:nvSpPr>
        <p:spPr>
          <a:xfrm>
            <a:off x="2625972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5" name="Text Placeholder 4">
            <a:extLst>
              <a:ext uri="{FF2B5EF4-FFF2-40B4-BE49-F238E27FC236}">
                <a16:creationId xmlns:a16="http://schemas.microsoft.com/office/drawing/2014/main" id="{593A6492-91F9-0E4D-ADAB-7C1320DB1904}"/>
              </a:ext>
            </a:extLst>
          </p:cNvPr>
          <p:cNvSpPr>
            <a:spLocks noGrp="1"/>
          </p:cNvSpPr>
          <p:nvPr userDrawn="1">
            <p:ph type="body" sz="quarter" idx="30" hasCustomPrompt="1"/>
          </p:nvPr>
        </p:nvSpPr>
        <p:spPr>
          <a:xfrm>
            <a:off x="5125568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6" name="Text Placeholder 4">
            <a:extLst>
              <a:ext uri="{FF2B5EF4-FFF2-40B4-BE49-F238E27FC236}">
                <a16:creationId xmlns:a16="http://schemas.microsoft.com/office/drawing/2014/main" id="{9EBBEBFD-0D8B-494F-9069-98CE3ACC2FD0}"/>
              </a:ext>
            </a:extLst>
          </p:cNvPr>
          <p:cNvSpPr>
            <a:spLocks noGrp="1"/>
          </p:cNvSpPr>
          <p:nvPr userDrawn="1">
            <p:ph type="body" sz="quarter" idx="31" hasCustomPrompt="1"/>
          </p:nvPr>
        </p:nvSpPr>
        <p:spPr>
          <a:xfrm>
            <a:off x="7605292" y="1490981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7" name="Text Placeholder 4">
            <a:extLst>
              <a:ext uri="{FF2B5EF4-FFF2-40B4-BE49-F238E27FC236}">
                <a16:creationId xmlns:a16="http://schemas.microsoft.com/office/drawing/2014/main" id="{3D48B941-4416-AE48-89CF-A7CE72EFEE49}"/>
              </a:ext>
            </a:extLst>
          </p:cNvPr>
          <p:cNvSpPr>
            <a:spLocks noGrp="1"/>
          </p:cNvSpPr>
          <p:nvPr userDrawn="1">
            <p:ph type="body" sz="quarter" idx="32" hasCustomPrompt="1"/>
          </p:nvPr>
        </p:nvSpPr>
        <p:spPr>
          <a:xfrm>
            <a:off x="10052787" y="1500435"/>
            <a:ext cx="1851025" cy="517836"/>
          </a:xfrm>
        </p:spPr>
        <p:txBody>
          <a:bodyPr anchor="ctr">
            <a:noAutofit/>
          </a:bodyPr>
          <a:lstStyle>
            <a:lvl1pPr algn="ctr">
              <a:spcBef>
                <a:spcPts val="0"/>
              </a:spcBef>
              <a:buNone/>
              <a:defRPr sz="18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7" name="object 2">
            <a:extLst>
              <a:ext uri="{FF2B5EF4-FFF2-40B4-BE49-F238E27FC236}">
                <a16:creationId xmlns:a16="http://schemas.microsoft.com/office/drawing/2014/main" id="{8B9E3A6C-84CD-5A4B-B2CE-DB99E2473091}"/>
              </a:ext>
            </a:extLst>
          </p:cNvPr>
          <p:cNvSpPr/>
          <p:nvPr userDrawn="1"/>
        </p:nvSpPr>
        <p:spPr>
          <a:xfrm>
            <a:off x="0" y="1"/>
            <a:ext cx="12192000" cy="949723"/>
          </a:xfrm>
          <a:custGeom>
            <a:avLst/>
            <a:gdLst/>
            <a:ahLst/>
            <a:cxnLst/>
            <a:rect l="l" t="t" r="r" b="b"/>
            <a:pathLst>
              <a:path w="14630400" h="1392555">
                <a:moveTo>
                  <a:pt x="0" y="1392072"/>
                </a:moveTo>
                <a:lnTo>
                  <a:pt x="14630400" y="1392072"/>
                </a:lnTo>
                <a:lnTo>
                  <a:pt x="14630400" y="0"/>
                </a:lnTo>
                <a:lnTo>
                  <a:pt x="0" y="0"/>
                </a:lnTo>
                <a:lnTo>
                  <a:pt x="0" y="1392072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43" name="Title 23">
            <a:extLst>
              <a:ext uri="{FF2B5EF4-FFF2-40B4-BE49-F238E27FC236}">
                <a16:creationId xmlns:a16="http://schemas.microsoft.com/office/drawing/2014/main" id="{78D9CE9E-B3F6-B24C-9944-5A28362BC8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232" y="168310"/>
            <a:ext cx="10973168" cy="623222"/>
          </a:xfrm>
        </p:spPr>
        <p:txBody>
          <a:bodyPr vert="horz">
            <a:noAutofit/>
          </a:bodyPr>
          <a:lstStyle>
            <a:lvl1pPr>
              <a:lnSpc>
                <a:spcPct val="100000"/>
              </a:lnSpc>
              <a:defRPr lang="en-US" sz="3200" b="1" i="0" kern="1200" spc="-20" dirty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7DF4CF9-0720-C7A8-7857-656B6E6A8B2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42321" y="6631116"/>
            <a:ext cx="2324126" cy="10795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880969C-69F0-E43E-58BD-76BD54FA5FA0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BECFEB5-C0BF-6105-BCD2-40F24546456D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36158C1-BA68-2166-F026-431C5AE0C82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BAEC3CA-0185-E21E-6609-9D555D68F95A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87C3BB0-88A2-7968-068B-B0969F2F2FF4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7821DFD-57A1-8FB9-B369-197075341B9A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38AE2C1-E623-5EE6-0414-416EA412B471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E70D2EB-7D43-972B-E169-4051CC56A66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964BDDF-D339-C22A-4529-2505C73A37E9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6F5DA5C-04A8-3FF4-DAB9-257C1EB5F185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82CB375-78D0-8C24-F562-69DD8C6FBBF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5E6836-78BB-6962-915B-4707CF38BA6C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42321" y="2352582"/>
            <a:ext cx="1851025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2B19E118-8D46-AE57-D88A-ECEDCE03B101}"/>
              </a:ext>
            </a:extLst>
          </p:cNvPr>
          <p:cNvSpPr>
            <a:spLocks noGrp="1"/>
          </p:cNvSpPr>
          <p:nvPr>
            <p:ph idx="33" hasCustomPrompt="1"/>
          </p:nvPr>
        </p:nvSpPr>
        <p:spPr>
          <a:xfrm>
            <a:off x="2619761" y="2352582"/>
            <a:ext cx="1851025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B5E2367-2020-3C66-2C7E-5CE83FBE2AEB}"/>
              </a:ext>
            </a:extLst>
          </p:cNvPr>
          <p:cNvSpPr>
            <a:spLocks noGrp="1"/>
          </p:cNvSpPr>
          <p:nvPr>
            <p:ph idx="34" hasCustomPrompt="1"/>
          </p:nvPr>
        </p:nvSpPr>
        <p:spPr>
          <a:xfrm>
            <a:off x="5108961" y="2352582"/>
            <a:ext cx="1851025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9A0E608-FD0E-9A0F-CABF-7E3E6FC202C5}"/>
              </a:ext>
            </a:extLst>
          </p:cNvPr>
          <p:cNvSpPr>
            <a:spLocks noGrp="1"/>
          </p:cNvSpPr>
          <p:nvPr>
            <p:ph idx="35" hasCustomPrompt="1"/>
          </p:nvPr>
        </p:nvSpPr>
        <p:spPr>
          <a:xfrm>
            <a:off x="7577841" y="2352582"/>
            <a:ext cx="1851025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026ACF40-11A0-189B-6DF9-36CBE5E16A35}"/>
              </a:ext>
            </a:extLst>
          </p:cNvPr>
          <p:cNvSpPr>
            <a:spLocks noGrp="1"/>
          </p:cNvSpPr>
          <p:nvPr>
            <p:ph idx="36" hasCustomPrompt="1"/>
          </p:nvPr>
        </p:nvSpPr>
        <p:spPr>
          <a:xfrm>
            <a:off x="10036561" y="2352582"/>
            <a:ext cx="1851025" cy="39669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4488" indent="-173038">
              <a:buFont typeface="Arial" panose="020B0604020202020204" pitchFamily="34" charset="0"/>
              <a:buChar char="•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517525" indent="-173038">
              <a:buFont typeface="Courier New" panose="02070309020205020404" pitchFamily="49" charset="0"/>
              <a:buChar char="o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690563" indent="-173038">
              <a:buFont typeface="Wingdings" pitchFamily="2" charset="2"/>
              <a:buChar char="§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923925" indent="-233363">
              <a:buSzPct val="70000"/>
              <a:buFont typeface="Wingdings" pitchFamily="2" charset="2"/>
              <a:buChar char="q"/>
              <a:tabLst/>
              <a:defRPr sz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4371573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_Text_Image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B3DA0B88-4CCF-EB89-DBC5-0146B79BFD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75041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DA0B88-4CCF-EB89-DBC5-0146B79BF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Placeholder 5" descr="A picture containing grass, outdoor, person&#10;&#10;Description automatically generated">
            <a:extLst>
              <a:ext uri="{FF2B5EF4-FFF2-40B4-BE49-F238E27FC236}">
                <a16:creationId xmlns:a16="http://schemas.microsoft.com/office/drawing/2014/main" id="{C18EF10D-95A8-E306-5175-31927E738CF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5294" y="0"/>
            <a:ext cx="6096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6" y="2142035"/>
            <a:ext cx="5167766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38D9F5-6642-5401-CF10-01A92AC1DD6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468EA4C-30F1-92FD-A752-45FD806B6383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B677A3-C280-DB8A-7895-BBF6AB3955B5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5BE3DE4-90D8-AC9A-8492-214975A3F0DC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9AB8160-AC3C-2447-E0B6-1378CA7DE898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79BAF25-0505-132B-3956-D8230AA92FC0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4BFF70D-9CFE-6075-89A9-5D070BEDC406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F46A3DF-DA90-2824-668E-5E28002E032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D5800F1-9369-76BB-3541-A79812603EE1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0AA3DC0-7F37-2A79-C7BB-04AD61D71DC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6873840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_Text_Image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D7D4260D-EB36-EB2C-AD99-FD36FAD464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5689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7D4260D-EB36-EB2C-AD99-FD36FAD464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11" descr="A picture containing person, cutting, plant, vegetable&#10;&#10;Description automatically generated">
            <a:extLst>
              <a:ext uri="{FF2B5EF4-FFF2-40B4-BE49-F238E27FC236}">
                <a16:creationId xmlns:a16="http://schemas.microsoft.com/office/drawing/2014/main" id="{A54BD8B4-3CF2-94C7-4816-7C37BC7CE2F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5" y="2142035"/>
            <a:ext cx="5178573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  <a:p>
            <a:pPr lvl="0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6DAC4D81-9432-ABA0-BC09-85551DD12F0A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3EAA308-EF79-7F6E-9AD1-1473BB17FC1D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1FC4975-756A-DF2C-7ACE-4A14F71A1D20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DC6F51D-D573-6D96-1180-C1F1BD268CD1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64BE917-472C-93CE-1291-1020A4AA2FA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9F78A31-231D-BE48-5E34-B59E1BC0B66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CD5A784-1E79-C1F5-14F2-F0C91F2B96AA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92CED24-E8EC-1DEE-0D80-23F09898381A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2EC6CCAB-6698-7C8A-ED1F-C074DE3B3234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74FDAF5-C958-9BB4-D919-3F0A28EB9440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505634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A36D955-B3A7-C98D-63C4-65BC52F78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52077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A36D955-B3A7-C98D-63C4-65BC52F78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A02ACCD-E87B-DD4A-AC08-0F71DCAD472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3203" r="13756"/>
          <a:stretch/>
        </p:blipFill>
        <p:spPr>
          <a:xfrm>
            <a:off x="1" y="0"/>
            <a:ext cx="6483963" cy="6858000"/>
          </a:xfrm>
          <a:custGeom>
            <a:avLst/>
            <a:gdLst>
              <a:gd name="connsiteX0" fmla="*/ 0 w 6483963"/>
              <a:gd name="connsiteY0" fmla="*/ 0 h 6858000"/>
              <a:gd name="connsiteX1" fmla="*/ 6483963 w 6483963"/>
              <a:gd name="connsiteY1" fmla="*/ 0 h 6858000"/>
              <a:gd name="connsiteX2" fmla="*/ 6483963 w 6483963"/>
              <a:gd name="connsiteY2" fmla="*/ 6858000 h 6858000"/>
              <a:gd name="connsiteX3" fmla="*/ 0 w 648396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3963" h="6858000">
                <a:moveTo>
                  <a:pt x="0" y="0"/>
                </a:moveTo>
                <a:lnTo>
                  <a:pt x="6483963" y="0"/>
                </a:lnTo>
                <a:lnTo>
                  <a:pt x="6483963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359549-5A1F-9411-3B5D-0D48941C24F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2174" y="5029200"/>
            <a:ext cx="2637118" cy="14182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53851"/>
            <a:ext cx="4882138" cy="608864"/>
          </a:xfrm>
        </p:spPr>
        <p:txBody>
          <a:bodyPr bIns="0" anchor="b">
            <a:no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</p:spTree>
    <p:extLst>
      <p:ext uri="{BB962C8B-B14F-4D97-AF65-F5344CB8AC3E}">
        <p14:creationId xmlns:p14="http://schemas.microsoft.com/office/powerpoint/2010/main" val="49337640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_Text_Imag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E3BFC95A-A0E5-ABE4-A831-605688F889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7969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3BFC95A-A0E5-ABE4-A831-605688F889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7" descr="A picture containing tree, person, outdoor, person&#10;&#10;Description automatically generated">
            <a:extLst>
              <a:ext uri="{FF2B5EF4-FFF2-40B4-BE49-F238E27FC236}">
                <a16:creationId xmlns:a16="http://schemas.microsoft.com/office/drawing/2014/main" id="{B8298057-DE82-FC85-EE1C-F891D59A7D1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5" y="2142035"/>
            <a:ext cx="5178573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1980BA0-F4CC-2F4D-9FC7-D12504A215C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061C82A-F62E-F146-D5D2-22F8373BE70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02CECD6-04D8-8F0D-1556-5ECC323860C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FA47EB-7533-F0EB-7E7B-25F157C2E08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DC52836-20AD-3E5E-104F-5E6DCE1E8BD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F5504C-E0B3-64A5-4096-159AA94FBAC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DBE7A4-D068-5592-193B-774DB45899D7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F2727F2-FC5D-78C0-F1B9-F39B017CBA4B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5DB757-F9B2-AA75-7D61-74C43CC93D7D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2B75CBD-A5DF-53AE-547F-B08FE23E449F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961975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attern_Text_Image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56A3944-0A05-1716-7C6D-A1E7D71B0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28154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6A3944-0A05-1716-7C6D-A1E7D71B0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2" name="Picture 21" descr="A room with a table and chairs&#10;&#10;Description automatically generated with medium confidence">
            <a:extLst>
              <a:ext uri="{FF2B5EF4-FFF2-40B4-BE49-F238E27FC236}">
                <a16:creationId xmlns:a16="http://schemas.microsoft.com/office/drawing/2014/main" id="{913A3D69-1DE2-BA52-BBE3-044E327638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78"/>
          <a:stretch/>
        </p:blipFill>
        <p:spPr>
          <a:xfrm>
            <a:off x="5704449" y="0"/>
            <a:ext cx="6486846" cy="688175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5" y="2142035"/>
            <a:ext cx="5178573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21980BA0-F4CC-2F4D-9FC7-D12504A215C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061C82A-F62E-F146-D5D2-22F8373BE707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02CECD6-04D8-8F0D-1556-5ECC323860C1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FA47EB-7533-F0EB-7E7B-25F157C2E08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6DC52836-20AD-3E5E-104F-5E6DCE1E8BDD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F5504C-E0B3-64A5-4096-159AA94FBAC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ADBE7A4-D068-5592-193B-774DB45899D7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F2727F2-FC5D-78C0-F1B9-F39B017CBA4B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F5DB757-F9B2-AA75-7D61-74C43CC93D7D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2B75CBD-A5DF-53AE-547F-B08FE23E449F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802783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_Text_Image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EB7C344F-D031-7265-A0C3-D4C3C73FBA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2495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B7C344F-D031-7265-A0C3-D4C3C73FBA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Placeholder 7" descr="A picture containing person, outdoor, solar cell, outdoor object&#10;&#10;Description automatically generated">
            <a:extLst>
              <a:ext uri="{FF2B5EF4-FFF2-40B4-BE49-F238E27FC236}">
                <a16:creationId xmlns:a16="http://schemas.microsoft.com/office/drawing/2014/main" id="{259430CB-4F3C-D247-F49C-2B37E33F23C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5" y="2142035"/>
            <a:ext cx="5178573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B37F6E36-F8F8-F843-063A-84931F7773EA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8E3AA9-5962-9473-7645-7BEB013433D9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6D84388-3F4F-25B2-B3D5-0AA8ADF6A569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2C1296-DA13-AC2A-93EE-3F368B43D38C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E0388D2-CBFA-F6A8-B106-372FC3B8456B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DB3F081-0AF3-4167-C39E-3C5050EB49D3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13CF6FA-E1AD-C5BD-66CF-5A71C390229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94D1C81-92AE-E36C-6449-60C6AFBB33E0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4BFDCE-0ACB-5474-D1E7-49CAA437041F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931D424-3371-E659-3557-02D7DFC15D1A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729756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ttern_Text_Image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1B3AAF2D-CC91-B5B1-1BB3-83B988FBA9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2886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3AAF2D-CC91-B5B1-1BB3-83B988FBA9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Placeholder 8" descr="A person holding a banana&#10;&#10;Description automatically generated with medium confidence">
            <a:extLst>
              <a:ext uri="{FF2B5EF4-FFF2-40B4-BE49-F238E27FC236}">
                <a16:creationId xmlns:a16="http://schemas.microsoft.com/office/drawing/2014/main" id="{EA9A6640-C84F-5A74-8412-924D1500A6C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FBD1E44-CD24-6711-C7D0-4CDE07E65EF7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706" y="0"/>
            <a:ext cx="6095294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133DAC3-88BD-0E52-51AB-F8C369F61349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8CFEBD-25DA-FA23-06CE-4A222A8F51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2016" y="2142035"/>
            <a:ext cx="5167766" cy="909493"/>
          </a:xfrm>
        </p:spPr>
        <p:txBody>
          <a:bodyPr>
            <a:normAutofit/>
          </a:bodyPr>
          <a:lstStyle>
            <a:lvl1pPr>
              <a:defRPr sz="28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4D573E30-C2C0-E163-96D3-C82C6C3076C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3" y="3257323"/>
            <a:ext cx="5167766" cy="2662303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20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44585851-76BE-E80D-D3A4-292AB62CD11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56038" y="4758612"/>
            <a:ext cx="2035962" cy="209938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F0F0048-6C8D-7881-DD03-E710C514FFB3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63BD74D-7F42-7AAA-5B4C-4731849485E5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406D6D6-7BAB-8220-615B-73C7F2AF476C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980DEAA-5409-40EA-89DB-D10D724909A8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F63B611-096C-A87C-763C-E1923CBF09E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AE05D23-A50C-3444-D19B-11803776FD4D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FAE1BC7-A4BE-0803-80F9-3F7568DE51D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593A00E-259E-2BE5-795D-29BA529EC01E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2485D10-AE20-415F-7066-FDB91E1C2FE4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5998055-DFDD-BE62-910C-EAD84A796DF5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872577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think-cell data - do not delete" hidden="1">
            <a:extLst>
              <a:ext uri="{FF2B5EF4-FFF2-40B4-BE49-F238E27FC236}">
                <a16:creationId xmlns:a16="http://schemas.microsoft.com/office/drawing/2014/main" id="{F7E7D7AC-AFE8-1B8D-B55F-8DEC7E115C2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03723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7E7D7AC-AFE8-1B8D-B55F-8DEC7E115C2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65A8E4F6-1894-77A0-2CE3-95A94C1F372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08966" y="5485931"/>
            <a:ext cx="4283034" cy="161616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8D175BA-52D5-4F17-0EE7-784CFB789AE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5737" y="6584987"/>
            <a:ext cx="2324100" cy="107950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C82FF431-011F-065B-7635-3B0775D768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5737" y="382660"/>
            <a:ext cx="9053536" cy="909493"/>
          </a:xfrm>
        </p:spPr>
        <p:txBody>
          <a:bodyPr vert="horz">
            <a:normAutofit/>
          </a:bodyPr>
          <a:lstStyle>
            <a:lvl1pPr>
              <a:defRPr sz="4000">
                <a:solidFill>
                  <a:srgbClr val="143DC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Your Title</a:t>
            </a:r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24CF03F9-CCF4-96AE-8B45-2355FC415BC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95737" y="1470453"/>
            <a:ext cx="9053536" cy="698500"/>
          </a:xfrm>
        </p:spPr>
        <p:txBody>
          <a:bodyPr>
            <a:normAutofit/>
          </a:bodyPr>
          <a:lstStyle>
            <a:lvl1pPr marL="0" indent="0">
              <a:buNone/>
              <a:defRPr sz="2800" b="0" i="0">
                <a:solidFill>
                  <a:srgbClr val="143DCF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4D9D17C-9524-6BEF-CF6C-A919225A046A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3D83AB3-9AA2-719C-C570-5EE9D851A47F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E7EBA05-7D13-4F9E-288A-885510462A4A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EAFBA32-3C18-8B2C-D7A5-0D90858D5882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0602411-09B0-77D6-A104-890436EF9355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E3A570A-65CD-F75D-6902-90515431D59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5475AFB-9996-B4B5-CD29-64048A6DCE5C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8B8F73E-803E-DCCC-5754-C5E8685FE885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D51C619-AFD1-BE75-3F5D-7C54EB750DD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BE4D7D-F752-1FE1-4383-11EEBB02B314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18" name="Picture 17" descr="A screenshot of a video game&#10;&#10;Description automatically generated with medium confidence">
            <a:extLst>
              <a:ext uri="{FF2B5EF4-FFF2-40B4-BE49-F238E27FC236}">
                <a16:creationId xmlns:a16="http://schemas.microsoft.com/office/drawing/2014/main" id="{81C28E8A-BDB9-EAFD-A709-096057EC9BC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35485" y="115210"/>
            <a:ext cx="3086332" cy="1266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3318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Image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531E96C5-D9AD-571B-51C2-15F680B38A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27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1E96C5-D9AD-571B-51C2-15F680B38A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9597D7B-4F79-F2FE-A00F-275A81C10F9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203364" cy="6858000"/>
          </a:xfrm>
          <a:prstGeom prst="rect">
            <a:avLst/>
          </a:prstGeom>
        </p:spPr>
      </p:pic>
      <p:pic>
        <p:nvPicPr>
          <p:cNvPr id="3" name="Picture 2" descr="A hand holding a bottle of water&#10;&#10;Description automatically generated with medium confidence">
            <a:extLst>
              <a:ext uri="{FF2B5EF4-FFF2-40B4-BE49-F238E27FC236}">
                <a16:creationId xmlns:a16="http://schemas.microsoft.com/office/drawing/2014/main" id="{BE597E7F-AA54-B8B8-06DB-4C82A26BA64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26"/>
          <a:stretch/>
        </p:blipFill>
        <p:spPr>
          <a:xfrm>
            <a:off x="-18492" y="-5642"/>
            <a:ext cx="6483963" cy="6858000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379A544-2454-C20E-7DF8-B7CE112ACB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82354" y="2902454"/>
            <a:ext cx="4335319" cy="340091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rgbClr val="153DCF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  <a:p>
            <a:pPr lvl="0"/>
            <a:endParaRPr lang="en-US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DBC28C7-68DA-93C2-B578-345AA17846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2354" y="986379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2256A95-FE52-0DE0-0B03-10A7B28EB5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2354" y="1612836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2A69CF0-4402-BE32-A874-3CD7EF17F94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492" y="2081462"/>
            <a:ext cx="4776537" cy="477653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8963B79-4ED0-E8B7-4BDE-994AA662AF2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5600" y="0"/>
            <a:ext cx="1680634" cy="12189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918738C-0866-70C9-A425-B3D16DBBB117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FF4A8BB-23B4-0E60-2AE4-0311F04F49E8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4466485-941E-37BB-C00E-F591177E458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BAD85D5-2F1E-2411-A352-A2DB424AF7D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F683FF1-71D0-C05C-CCF2-C1AE7C91D434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A64E530-99BD-7008-8BD8-B1AD053D154E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0FA1415-C381-0079-6795-E5233A4859CF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B526404-6F99-F9E8-B86D-1F2EB76C59F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D5C9550-AC32-4219-D43D-89E9E9631488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B07EC87-B9A7-22A6-C11F-794789EC9B1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994F5A0-762B-71F2-E4DC-A65933A906E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51525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Image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FF2CE06B-8085-250F-2C6F-370D539F52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38055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F2CE06B-8085-250F-2C6F-370D539F527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9597D7B-4F79-F2FE-A00F-275A81C10F9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203364" cy="6858000"/>
          </a:xfrm>
          <a:prstGeom prst="rect">
            <a:avLst/>
          </a:prstGeom>
        </p:spPr>
      </p:pic>
      <p:pic>
        <p:nvPicPr>
          <p:cNvPr id="5" name="Picture Placeholder 7" descr="A person wearing glasses&#10;&#10;Description automatically generated with medium confidence">
            <a:extLst>
              <a:ext uri="{FF2B5EF4-FFF2-40B4-BE49-F238E27FC236}">
                <a16:creationId xmlns:a16="http://schemas.microsoft.com/office/drawing/2014/main" id="{03576E69-16F4-B92B-7B54-9BEE75F24B9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2699" y="-11875"/>
            <a:ext cx="6483963" cy="6858000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379A544-2454-C20E-7DF8-B7CE112ACB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82354" y="2902454"/>
            <a:ext cx="4335319" cy="340091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rgbClr val="153DCF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DBC28C7-68DA-93C2-B578-345AA17846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2354" y="986379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2256A95-FE52-0DE0-0B03-10A7B28EB5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2354" y="1612836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2A69CF0-4402-BE32-A874-3CD7EF17F94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492" y="2081462"/>
            <a:ext cx="4776537" cy="477653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8963B79-4ED0-E8B7-4BDE-994AA662AF2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5600" y="0"/>
            <a:ext cx="1680634" cy="12189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83ACBA6-ED65-A075-044C-157A3988DD07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9AE46624-2FA3-56AA-9BD0-FF8CB5E4BD2D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C3C414-B487-C8A2-4445-41D6D9D0D375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ED39112-F0E7-0B91-7929-FE00D63CAE9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FB9E8579-48C2-2E27-D8CD-3FD603AF3E9B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8F0CAF1-9EE9-7F5E-78E5-A28ABA0327AB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626093-BE99-B01B-62CE-8F1A9236329A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B609DAE-21F9-FF37-AD1B-731C36FEEFD7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AFEA3C0-D3BB-9334-6ECB-2098DCC534E5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0C08860-FC6F-13D4-FCEB-22578524D5C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B61DE1-B8DE-A1D8-F6B9-266715364BD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28093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Image0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B5908F89-533E-9111-5B5C-3698E981E2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25154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5908F89-533E-9111-5B5C-3698E981E2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9597D7B-4F79-F2FE-A00F-275A81C10F9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203364" cy="6858000"/>
          </a:xfrm>
          <a:prstGeom prst="rect">
            <a:avLst/>
          </a:prstGeom>
        </p:spPr>
      </p:pic>
      <p:pic>
        <p:nvPicPr>
          <p:cNvPr id="3" name="Picture Placeholder 7" descr="A group of wind turbines&#10;&#10;Description automatically generated with medium confidence">
            <a:extLst>
              <a:ext uri="{FF2B5EF4-FFF2-40B4-BE49-F238E27FC236}">
                <a16:creationId xmlns:a16="http://schemas.microsoft.com/office/drawing/2014/main" id="{C8006515-9A3F-B158-5428-4C2587C0113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2699" y="0"/>
            <a:ext cx="6483963" cy="6858000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379A544-2454-C20E-7DF8-B7CE112ACB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82354" y="2902454"/>
            <a:ext cx="4335319" cy="340091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rgbClr val="153DCF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DBC28C7-68DA-93C2-B578-345AA17846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2354" y="986379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2256A95-FE52-0DE0-0B03-10A7B28EB5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2354" y="1612836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2A69CF0-4402-BE32-A874-3CD7EF17F94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492" y="2081462"/>
            <a:ext cx="4776537" cy="477653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8963B79-4ED0-E8B7-4BDE-994AA662AF2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5600" y="0"/>
            <a:ext cx="1680634" cy="12189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3D0D38A-6EBD-BF79-3C0C-08D0E4B6262F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1500C7E-3B8D-6452-B8BD-4BFD7805BF8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62D7CB1-3CF4-8473-2267-F949407E3E0B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C7EC090-2587-1BAB-19CA-BC07204050B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1C93B9C-487F-6859-AAC3-53673ABFFAF0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F6D9581-F37B-491C-F59B-7E5849AEAE20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739B8B3-8FB9-029C-F577-8D4DC8F3E0A8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24E068C2-145E-5214-733F-D4730E748233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A8A0F40-88B8-C05F-A59F-DA9E08D557D3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2184F96-E786-821D-FDDE-B94293C232E8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1A186D1-D319-272A-392B-2D4BB8363F22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40724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_Image0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think-cell data - do not delete" hidden="1">
            <a:extLst>
              <a:ext uri="{FF2B5EF4-FFF2-40B4-BE49-F238E27FC236}">
                <a16:creationId xmlns:a16="http://schemas.microsoft.com/office/drawing/2014/main" id="{F2DCF232-C5B2-972B-40BD-9FBC301267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371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DCF232-C5B2-972B-40BD-9FBC301267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9597D7B-4F79-F2FE-A00F-275A81C10F96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203364" cy="6858000"/>
          </a:xfrm>
          <a:prstGeom prst="rect">
            <a:avLst/>
          </a:prstGeom>
        </p:spPr>
      </p:pic>
      <p:pic>
        <p:nvPicPr>
          <p:cNvPr id="5" name="Picture Placeholder 6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20A3125E-709A-54FF-CDE1-E6ED61823DD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 flipH="1">
            <a:off x="12699" y="0"/>
            <a:ext cx="6483963" cy="6858000"/>
          </a:xfrm>
          <a:prstGeom prst="rect">
            <a:avLst/>
          </a:prstGeom>
        </p:spPr>
      </p:pic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7379A544-2454-C20E-7DF8-B7CE112ACBE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182354" y="2902454"/>
            <a:ext cx="4335319" cy="3400910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rgbClr val="153DCF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1DBC28C7-68DA-93C2-B578-345AA17846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82354" y="986379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600" b="1" i="0">
                <a:solidFill>
                  <a:srgbClr val="153DCF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oject nam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A2256A95-FE52-0DE0-0B03-10A7B28EB5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182354" y="1612836"/>
            <a:ext cx="4335319" cy="734982"/>
          </a:xfrm>
        </p:spPr>
        <p:txBody>
          <a:bodyPr>
            <a:noAutofit/>
          </a:bodyPr>
          <a:lstStyle>
            <a:lvl1pPr marL="0" indent="0">
              <a:buNone/>
              <a:defRPr sz="32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title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2A69CF0-4402-BE32-A874-3CD7EF17F94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492" y="2081462"/>
            <a:ext cx="4776537" cy="477653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8963B79-4ED0-E8B7-4BDE-994AA662AF2A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5600" y="0"/>
            <a:ext cx="1680634" cy="121897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512C78B-4DD2-2DB2-C048-906F06F1D2CA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6602411-BC12-709F-5792-1CF5348A4E6D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D37D445-B98A-2797-753E-053486510E82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BC16B31-ACEF-6410-265F-10670599331D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8B0A1AD-951D-0EA8-3F15-9606E35A32E5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7FC1457-77F8-0B27-1CF3-04CEE71295CE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6FC750D-6868-4EA4-CBD7-2E9F4A64EF2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86E62E3-EA46-C6F5-5D6C-5C4F8D726658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C1F35D8-E021-1AE9-DD84-41A7B5F1F61B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69103FAE-F5D5-DFA8-8777-C67F9FC1FC6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FB1E62C-0A52-B03D-3506-77902CDAC06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50163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_Image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3C4071D4-D543-0738-38C4-2BE7FB318E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35873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4071D4-D543-0738-38C4-2BE7FB318E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7D2CC8C-D086-E69D-76FA-44C11EF0569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6DA1A9E-835C-A69B-4927-8B6D1AA2BEA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F18EC8C-7662-B711-CAA5-E1D541524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823" y="719168"/>
            <a:ext cx="4335318" cy="90949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67382EA-2EA4-B1C3-F91F-FA266352C8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4" y="1791479"/>
            <a:ext cx="4421226" cy="412814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DCFD9D5-3279-1C0B-5E04-A2BBCA0E039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181214" y="-73753"/>
            <a:ext cx="10449184" cy="6983162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8338DD5-F8E2-54AA-B735-D48D9332621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714050" y="0"/>
            <a:ext cx="4658264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7971ACDC-5FDF-95DA-42D4-1B68F7AE6263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CE3D7FD-266D-09A2-7054-51092402DE76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B8C3529-3A0E-5A61-10BE-D5C40257A56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8B5AA4D-E42A-CEEE-BA48-EF023D8FFE43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1A2A76-F80F-9C68-9263-78BAC1CD1B89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1BCB31-A2CB-5406-1D8D-B9D77A112200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503EEA1-B4F5-485B-DAB5-756F28DE58FD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66365B9-478F-1D2F-909D-FCD4ED8F224D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3FA46F2-87F6-642E-DCF4-FDD22AF98926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945D017-FB52-0351-F7AC-712BD744162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77820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A36D955-B3A7-C98D-63C4-65BC52F78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7795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A36D955-B3A7-C98D-63C4-65BC52F78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29" name="Picture 28" descr="A factory with smoke coming out of it&#10;&#10;Description automatically generated with low confidence">
            <a:extLst>
              <a:ext uri="{FF2B5EF4-FFF2-40B4-BE49-F238E27FC236}">
                <a16:creationId xmlns:a16="http://schemas.microsoft.com/office/drawing/2014/main" id="{2F135909-D065-DA8C-0640-7D08828C453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508" r="31393"/>
          <a:stretch/>
        </p:blipFill>
        <p:spPr>
          <a:xfrm>
            <a:off x="1" y="0"/>
            <a:ext cx="6483964" cy="6858000"/>
          </a:xfrm>
          <a:custGeom>
            <a:avLst/>
            <a:gdLst>
              <a:gd name="connsiteX0" fmla="*/ 0 w 6483964"/>
              <a:gd name="connsiteY0" fmla="*/ 0 h 6858000"/>
              <a:gd name="connsiteX1" fmla="*/ 6483964 w 6483964"/>
              <a:gd name="connsiteY1" fmla="*/ 0 h 6858000"/>
              <a:gd name="connsiteX2" fmla="*/ 6483964 w 6483964"/>
              <a:gd name="connsiteY2" fmla="*/ 6858000 h 6858000"/>
              <a:gd name="connsiteX3" fmla="*/ 0 w 648396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3964" h="6858000">
                <a:moveTo>
                  <a:pt x="0" y="0"/>
                </a:moveTo>
                <a:lnTo>
                  <a:pt x="6483964" y="0"/>
                </a:lnTo>
                <a:lnTo>
                  <a:pt x="648396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359549-5A1F-9411-3B5D-0D48941C24F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6942174" y="5029200"/>
            <a:ext cx="2637118" cy="141828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53851"/>
            <a:ext cx="4882138" cy="608864"/>
          </a:xfrm>
        </p:spPr>
        <p:txBody>
          <a:bodyPr bIns="0" anchor="b">
            <a:no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</p:spTree>
    <p:extLst>
      <p:ext uri="{BB962C8B-B14F-4D97-AF65-F5344CB8AC3E}">
        <p14:creationId xmlns:p14="http://schemas.microsoft.com/office/powerpoint/2010/main" val="400209109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_Image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818612A1-0BDE-ADF5-F3D7-AB150AEEF8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21649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8612A1-0BDE-ADF5-F3D7-AB150AEEF8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7D2CC8C-D086-E69D-76FA-44C11EF0569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25F814B-27CF-808E-CCB6-2EB1B0274DE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835603" y="-320633"/>
            <a:ext cx="11751512" cy="783222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6DA1A9E-835C-A69B-4927-8B6D1AA2BEA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F18EC8C-7662-B711-CAA5-E1D541524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823" y="719168"/>
            <a:ext cx="4335318" cy="90949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67382EA-2EA4-B1C3-F91F-FA266352C8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4" y="1791479"/>
            <a:ext cx="4421226" cy="412814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8338DD5-F8E2-54AA-B735-D48D9332621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714050" y="0"/>
            <a:ext cx="4658264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7BCD5E67-0949-70E2-4EE3-A020D7DA6C43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C36EA9-C765-4B3F-FA81-EE9D8F92C8BA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A165CC4-E468-124A-EC3E-17459D93E846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F897FF5-4834-1D9E-B64F-04F20B18F519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534DFB0-995D-AAC8-38B7-E7E87F655FB2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878B708A-2170-2E29-89C3-EA1F491C986A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A4D5C75-5F88-B5FC-88B5-05C040E08A94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EDB02D0-710D-891F-72D7-0780CD88288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BA7D715-197C-A667-4CA6-59FFE6D7BAB5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810EB9-08A0-9995-CD9F-9E329244DF3D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279304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rcle_Image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4977751D-82DF-7339-D063-8864CE2C70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1688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977751D-82DF-7339-D063-8864CE2C70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7D2CC8C-D086-E69D-76FA-44C11EF05697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6DA1A9E-835C-A69B-4927-8B6D1AA2BEA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2F18EC8C-7662-B711-CAA5-E1D5415249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2823" y="719168"/>
            <a:ext cx="4335318" cy="909493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67382EA-2EA4-B1C3-F91F-FA266352C83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92824" y="1791479"/>
            <a:ext cx="4421226" cy="4128148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1670FF"/>
              </a:buClr>
              <a:buSzTx/>
              <a:buFont typeface="Arial" panose="020B0604020202020204" pitchFamily="34" charset="0"/>
              <a:buNone/>
              <a:tabLst/>
              <a:defRPr lang="en-US" sz="1800" b="0" i="0" u="none" strike="noStrike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FF7FB10-D837-4EF2-424B-6077A7E8B15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199621" y="-364696"/>
            <a:ext cx="11046469" cy="737707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8338DD5-F8E2-54AA-B735-D48D9332621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714050" y="0"/>
            <a:ext cx="4658264" cy="685800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45B158E-D345-CA93-3C0B-E40CF6D72872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994A80-8B9D-AA51-DD05-4943F7503F93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B1B00C5-0B1A-A28F-329A-185D4984EF02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BFF20F5-6A0A-A83E-F488-B396E016A5D4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BBC471A-2A6D-446A-306B-8D59BB0B3F08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6CFF13D-1CAA-A1D4-735D-EADE3F4C8E55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EE7CDA1-7D12-2F04-2592-AD4FACA553A9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51AE982-8F47-7F52-D388-07E6F58DE65B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8C5EC51-037B-9973-795F-05D5653ECF8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34406F4-4B8B-2B42-D980-B8AE7ACBC2A3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002271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oodby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F5B959CB-255C-AC28-CE4E-CD5EAC183C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0180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B959CB-255C-AC28-CE4E-CD5EAC183C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E618064-0F66-BAAA-B4E0-0AC4C5D4754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1390"/>
            <a:ext cx="12192000" cy="6855220"/>
          </a:xfrm>
          <a:prstGeom prst="rect">
            <a:avLst/>
          </a:prstGeom>
        </p:spPr>
      </p:pic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61D3EAD-6CD0-91BC-3B78-754BB6A067F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679" y="3552134"/>
            <a:ext cx="8550255" cy="608864"/>
          </a:xfrm>
        </p:spPr>
        <p:txBody>
          <a:bodyPr>
            <a:noAutofit/>
          </a:bodyPr>
          <a:lstStyle>
            <a:lvl1pPr marL="0" indent="0">
              <a:buNone/>
              <a:defRPr sz="44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77EEE86-88B9-8808-CCE5-9E257901E6E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679" y="4209738"/>
            <a:ext cx="8550255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 err="1"/>
              <a:t>Subtile</a:t>
            </a:r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0B9D558-03B9-1ABA-0F94-47A7A65092E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9863" y="2615623"/>
            <a:ext cx="4882137" cy="4242377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A5D16CC-EF58-27CF-BFEF-0C27AFAC5D8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CBB2E3CA-7552-A012-1870-4397459C7C8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4F10D44A-EB7C-7973-36FA-F975B7324E42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D670526-1979-579A-A409-95484C4875B3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4C72DFD-D886-24BD-6230-886F82DE16A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4E99B4D-21B0-8531-F323-F63E0C2EB473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A44CC03-7A96-8CAB-310A-886735E9B79C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F7A176D-195A-FEE7-B890-611A264398CF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E56D298-0D65-C9D0-AB7A-EADBAC2AB668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4E678CD-DFE7-E032-BDCB-09624B153D80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984EAAC-F7C7-EE92-59FC-32F6C27CDB5C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1" name="Picture 20" descr="Logo&#10;&#10;Description automatically generated">
            <a:extLst>
              <a:ext uri="{FF2B5EF4-FFF2-40B4-BE49-F238E27FC236}">
                <a16:creationId xmlns:a16="http://schemas.microsoft.com/office/drawing/2014/main" id="{FC7A50D9-B630-28EB-D082-1D57B9D15680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38320"/>
            <a:ext cx="3353777" cy="13758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88856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ogos 3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EF5C1D8-4420-1BE1-F914-52E43C5A3C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241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EF5C1D8-4420-1BE1-F914-52E43C5A3C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2">
            <a:extLst>
              <a:ext uri="{FF2B5EF4-FFF2-40B4-BE49-F238E27FC236}">
                <a16:creationId xmlns:a16="http://schemas.microsoft.com/office/drawing/2014/main" id="{9BF6C6E8-B7A4-924C-9E6C-3C4CC13FD576}"/>
              </a:ext>
            </a:extLst>
          </p:cNvPr>
          <p:cNvSpPr/>
          <p:nvPr userDrawn="1"/>
        </p:nvSpPr>
        <p:spPr>
          <a:xfrm>
            <a:off x="8109647" y="0"/>
            <a:ext cx="4082352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F8D48D0B-58D4-874E-A7BB-FCE1D81EA330}"/>
              </a:ext>
            </a:extLst>
          </p:cNvPr>
          <p:cNvSpPr/>
          <p:nvPr userDrawn="1"/>
        </p:nvSpPr>
        <p:spPr>
          <a:xfrm>
            <a:off x="4027296" y="0"/>
            <a:ext cx="4082352" cy="6858000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pPr algn="ctr"/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8A25AA2-46CF-1D75-674A-2F5F6448A0B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CF34C85-87CB-CC6F-A2C8-9F0BD60AF9CA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03A80E6-B572-07A1-C8A9-5F1450819E6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8BB134-C9BE-5C29-71BB-48F045B520ED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70F6F6-6A6F-AD07-4335-7BA30C1FDC1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9D7B21A-979E-2673-E16C-0A3F276A67D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08D8BB2-685E-A5F6-90C0-616C798CD65F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3169A2-8799-ED03-DCD7-6B5C54FF48B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F27A52F-08BE-2F13-F71D-1082D7F1488D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166267B-380A-3666-2BE9-A3CB5CB1688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28" name="Picture 27" descr="A screenshot of a video game&#10;&#10;Description automatically generated with medium confidence">
            <a:extLst>
              <a:ext uri="{FF2B5EF4-FFF2-40B4-BE49-F238E27FC236}">
                <a16:creationId xmlns:a16="http://schemas.microsoft.com/office/drawing/2014/main" id="{5D99359B-1DA2-ACA9-FCFC-709C715B5A5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53829" y="2607275"/>
            <a:ext cx="4383762" cy="1798332"/>
          </a:xfrm>
          <a:prstGeom prst="rect">
            <a:avLst/>
          </a:prstGeom>
        </p:spPr>
      </p:pic>
      <p:pic>
        <p:nvPicPr>
          <p:cNvPr id="30" name="Picture 29" descr="Logo&#10;&#10;Description automatically generated">
            <a:extLst>
              <a:ext uri="{FF2B5EF4-FFF2-40B4-BE49-F238E27FC236}">
                <a16:creationId xmlns:a16="http://schemas.microsoft.com/office/drawing/2014/main" id="{E0FCB790-63CC-0661-06AA-3C1D8D2A0C6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8524" y="2597710"/>
            <a:ext cx="4383762" cy="1798332"/>
          </a:xfrm>
          <a:prstGeom prst="rect">
            <a:avLst/>
          </a:prstGeom>
        </p:spPr>
      </p:pic>
      <p:pic>
        <p:nvPicPr>
          <p:cNvPr id="32" name="Picture 31" descr="A picture containing text, aircraft&#10;&#10;Description automatically generated">
            <a:extLst>
              <a:ext uri="{FF2B5EF4-FFF2-40B4-BE49-F238E27FC236}">
                <a16:creationId xmlns:a16="http://schemas.microsoft.com/office/drawing/2014/main" id="{24A1C81E-CBB8-4BC4-25D7-668625CC425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0877" y="2607275"/>
            <a:ext cx="4383762" cy="1798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14014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 3 Colo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think-cell data - do not delete" hidden="1">
            <a:extLst>
              <a:ext uri="{FF2B5EF4-FFF2-40B4-BE49-F238E27FC236}">
                <a16:creationId xmlns:a16="http://schemas.microsoft.com/office/drawing/2014/main" id="{D65EB4BC-39AE-BF8A-30E2-E3F2B99AF9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688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5EB4BC-39AE-BF8A-30E2-E3F2B99AF9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object 2">
            <a:extLst>
              <a:ext uri="{FF2B5EF4-FFF2-40B4-BE49-F238E27FC236}">
                <a16:creationId xmlns:a16="http://schemas.microsoft.com/office/drawing/2014/main" id="{9BF6C6E8-B7A4-924C-9E6C-3C4CC13FD576}"/>
              </a:ext>
            </a:extLst>
          </p:cNvPr>
          <p:cNvSpPr/>
          <p:nvPr userDrawn="1"/>
        </p:nvSpPr>
        <p:spPr>
          <a:xfrm>
            <a:off x="8109647" y="0"/>
            <a:ext cx="4082352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F8D48D0B-58D4-874E-A7BB-FCE1D81EA330}"/>
              </a:ext>
            </a:extLst>
          </p:cNvPr>
          <p:cNvSpPr/>
          <p:nvPr userDrawn="1"/>
        </p:nvSpPr>
        <p:spPr>
          <a:xfrm>
            <a:off x="4027296" y="0"/>
            <a:ext cx="4082352" cy="6858000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 lIns="0" tIns="0" rIns="0" bIns="0" rtlCol="0"/>
          <a:lstStyle/>
          <a:p>
            <a:pPr algn="ctr"/>
            <a:endParaRPr>
              <a:latin typeface="+mn-lt"/>
              <a:ea typeface="+mn-ea"/>
              <a:cs typeface="+mn-cs"/>
            </a:endParaRPr>
          </a:p>
        </p:txBody>
      </p:sp>
      <p:sp>
        <p:nvSpPr>
          <p:cNvPr id="26" name="object 2">
            <a:extLst>
              <a:ext uri="{FF2B5EF4-FFF2-40B4-BE49-F238E27FC236}">
                <a16:creationId xmlns:a16="http://schemas.microsoft.com/office/drawing/2014/main" id="{126C8BFA-8CF8-DD4D-A574-D97E28367D5B}"/>
              </a:ext>
            </a:extLst>
          </p:cNvPr>
          <p:cNvSpPr/>
          <p:nvPr userDrawn="1"/>
        </p:nvSpPr>
        <p:spPr>
          <a:xfrm>
            <a:off x="-9939" y="0"/>
            <a:ext cx="4082353" cy="6865257"/>
          </a:xfrm>
          <a:custGeom>
            <a:avLst/>
            <a:gdLst/>
            <a:ahLst/>
            <a:cxnLst/>
            <a:rect l="l" t="t" r="r" b="b"/>
            <a:pathLst>
              <a:path w="4222750" h="8229600">
                <a:moveTo>
                  <a:pt x="0" y="8229600"/>
                </a:moveTo>
                <a:lnTo>
                  <a:pt x="4222267" y="8229600"/>
                </a:lnTo>
                <a:lnTo>
                  <a:pt x="4222267" y="0"/>
                </a:lnTo>
                <a:lnTo>
                  <a:pt x="0" y="0"/>
                </a:lnTo>
                <a:lnTo>
                  <a:pt x="0" y="82296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0" tIns="0" rIns="0" bIns="0" rtlCol="0"/>
          <a:lstStyle/>
          <a:p>
            <a:pPr algn="ctr"/>
            <a:endParaRPr>
              <a:solidFill>
                <a:schemeClr val="accent3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8992ED-A25F-A944-989E-3B1F04EA8F7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5CD41380-D63B-7242-8AF0-C3B636CCE21E}"/>
              </a:ext>
            </a:extLst>
          </p:cNvPr>
          <p:cNvSpPr/>
          <p:nvPr userDrawn="1"/>
        </p:nvSpPr>
        <p:spPr>
          <a:xfrm>
            <a:off x="5974813" y="3244334"/>
            <a:ext cx="2423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0" i="0">
                <a:solidFill>
                  <a:srgbClr val="000000"/>
                </a:solidFill>
                <a:effectLst/>
                <a:latin typeface="+mn-lt"/>
                <a:ea typeface="+mn-ea"/>
                <a:cs typeface="+mn-cs"/>
              </a:rPr>
              <a:t> </a:t>
            </a:r>
            <a:endParaRPr lang="en-US">
              <a:latin typeface="+mn-lt"/>
              <a:ea typeface="+mn-ea"/>
              <a:cs typeface="+mn-cs"/>
            </a:endParaRP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61019D1A-7232-164B-BB34-6BBBA1B1C36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8649" y="2544620"/>
            <a:ext cx="3779646" cy="1768759"/>
          </a:xfrm>
          <a:prstGeom prst="rect">
            <a:avLst/>
          </a:prstGeom>
        </p:spPr>
      </p:pic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AF8A2D02-8425-9D45-945B-87B48D4D26F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61000" y="2544619"/>
            <a:ext cx="3779646" cy="1768760"/>
          </a:xfrm>
          <a:prstGeom prst="rect">
            <a:avLst/>
          </a:prstGeom>
        </p:spPr>
      </p:pic>
      <p:pic>
        <p:nvPicPr>
          <p:cNvPr id="11" name="Picture 10" descr="A picture containing text, transport, aircraft&#10;&#10;Description automatically generated">
            <a:extLst>
              <a:ext uri="{FF2B5EF4-FFF2-40B4-BE49-F238E27FC236}">
                <a16:creationId xmlns:a16="http://schemas.microsoft.com/office/drawing/2014/main" id="{9FB004AB-393C-CA4E-8BB3-CC7B126DE79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1415" y="2544619"/>
            <a:ext cx="3779646" cy="1768759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F8A25AA2-46CF-1D75-674A-2F5F6448A0B0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CF34C85-87CB-CC6F-A2C8-9F0BD60AF9CA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03A80E6-B572-07A1-C8A9-5F1450819E64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8BB134-C9BE-5C29-71BB-48F045B520ED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970F6F6-6A6F-AD07-4335-7BA30C1FDC1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9D7B21A-979E-2673-E16C-0A3F276A67D4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08D8BB2-685E-A5F6-90C0-616C798CD65F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3169A2-8799-ED03-DCD7-6B5C54FF48B2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F27A52F-08BE-2F13-F71D-1082D7F1488D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166267B-380A-3666-2BE9-A3CB5CB16889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362059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A556D0FD-26B3-CA9A-DC69-D7DB706D97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89734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556D0FD-26B3-CA9A-DC69-D7DB706D97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89FC93A2-116A-4043-A08A-70DACBFC980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931" y="1668026"/>
            <a:ext cx="3240594" cy="3240594"/>
          </a:xfrm>
          <a:prstGeom prst="rect">
            <a:avLst/>
          </a:prstGeom>
        </p:spPr>
      </p:pic>
      <p:pic>
        <p:nvPicPr>
          <p:cNvPr id="7" name="Picture 6" descr="Logo&#10;&#10;Description automatically generated">
            <a:extLst>
              <a:ext uri="{FF2B5EF4-FFF2-40B4-BE49-F238E27FC236}">
                <a16:creationId xmlns:a16="http://schemas.microsoft.com/office/drawing/2014/main" id="{E793A380-0825-AA49-9D61-F2A67DD1230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26475" y="1668026"/>
            <a:ext cx="3240594" cy="3240594"/>
          </a:xfrm>
          <a:prstGeom prst="rect">
            <a:avLst/>
          </a:prstGeom>
        </p:spPr>
      </p:pic>
      <p:pic>
        <p:nvPicPr>
          <p:cNvPr id="9" name="Picture 8" descr="Logo&#10;&#10;Description automatically generated">
            <a:extLst>
              <a:ext uri="{FF2B5EF4-FFF2-40B4-BE49-F238E27FC236}">
                <a16:creationId xmlns:a16="http://schemas.microsoft.com/office/drawing/2014/main" id="{197DB6B1-D1BE-FB4A-ACF1-76FB8564F44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5703" y="1668026"/>
            <a:ext cx="3240594" cy="324059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38283F43-D135-1B03-81D0-DA32CCF40D0C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996EFFF-1352-22DB-27D9-B66196031021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510D126-9184-8D21-08CC-C89F3FA3285E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E18CF8A-77CC-50E0-07B5-204A0F2057C1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C1DD3F9-9717-B911-5E3B-C8C86ACADE95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4E5D102-6EFE-D768-920B-E34375052A3B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3BA59CE-6FEB-84D8-75D1-13A2112C4C8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2209B78-0B65-3383-65A2-47D1FD8F0AFF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2F88EB9-07AB-0619-B2F1-4E85DA67C61C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7D2A894-8743-B412-41F7-6510C125B041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6375923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1B384FDD-0A43-EEB7-01FB-CAF9A69D58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17456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B384FDD-0A43-EEB7-01FB-CAF9A69D58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1E9B4D0-B29D-84B4-88A6-499A9C7C51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IN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3FE03E0-73C4-C134-154E-945B990B87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endParaRPr lang="en-IN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66235A4-27A2-A3FE-8347-38B99E865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  <a:ea typeface="+mn-ea"/>
                <a:cs typeface="+mn-cs"/>
              </a:defRPr>
            </a:lvl1pPr>
          </a:lstStyle>
          <a:p>
            <a:fld id="{A6154F28-3B2D-4ADA-8E68-4485CBF7EBEF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24138029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0CDC52A-E02E-4A50-B4CF-180098F98B79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7" name="Picture 6" descr="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4922E65C-C383-4B19-A0BC-8495CD0BA9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06" t="9" r="3806"/>
          <a:stretch/>
        </p:blipFill>
        <p:spPr>
          <a:xfrm>
            <a:off x="0" y="0"/>
            <a:ext cx="12192000" cy="6858605"/>
          </a:xfrm>
          <a:prstGeom prst="rect">
            <a:avLst/>
          </a:prstGeom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8E7D77CC-7D0A-4A73-B78F-C317B9C06D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4194940" y="127001"/>
            <a:ext cx="3802120" cy="1093018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D6C41C7-97E5-4EEA-8F2D-741738D2499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27200" y="1600200"/>
            <a:ext cx="8737600" cy="6604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3600" spc="2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  <a:endParaRPr lang="en-IN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DAC29FD-7DFF-4A79-98A3-E7B0B00F59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27200" y="2323363"/>
            <a:ext cx="8737600" cy="6604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ctr">
              <a:buNone/>
              <a:defRPr sz="1333" b="1">
                <a:solidFill>
                  <a:schemeClr val="accent2"/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pic>
        <p:nvPicPr>
          <p:cNvPr id="12" name="Picture 11" descr="A picture containing text, kitchen appliance&#10;&#10;Description automatically generated">
            <a:extLst>
              <a:ext uri="{FF2B5EF4-FFF2-40B4-BE49-F238E27FC236}">
                <a16:creationId xmlns:a16="http://schemas.microsoft.com/office/drawing/2014/main" id="{7817C22B-CBE0-48D5-B9AE-063418AE9BF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7329"/>
          <a:stretch/>
        </p:blipFill>
        <p:spPr>
          <a:xfrm>
            <a:off x="4452880" y="2953284"/>
            <a:ext cx="3286240" cy="3904717"/>
          </a:xfrm>
          <a:prstGeom prst="rect">
            <a:avLst/>
          </a:prstGeom>
        </p:spPr>
      </p:pic>
      <p:sp>
        <p:nvSpPr>
          <p:cNvPr id="14" name="TextBox 17">
            <a:extLst>
              <a:ext uri="{FF2B5EF4-FFF2-40B4-BE49-F238E27FC236}">
                <a16:creationId xmlns:a16="http://schemas.microsoft.com/office/drawing/2014/main" id="{B529597E-75DB-4B49-BD8C-50F4003B907A}"/>
              </a:ext>
            </a:extLst>
          </p:cNvPr>
          <p:cNvSpPr txBox="1"/>
          <p:nvPr userDrawn="1"/>
        </p:nvSpPr>
        <p:spPr>
          <a:xfrm>
            <a:off x="260047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rgbClr val="808285"/>
                </a:solidFill>
                <a:latin typeface="Helvetica Neue"/>
              </a:rPr>
              <a:t>CONFIDENTIA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E420E3F1-D203-449B-B4CE-FD1432C6EF66}"/>
              </a:ext>
            </a:extLst>
          </p:cNvPr>
          <p:cNvCxnSpPr>
            <a:cxnSpLocks/>
          </p:cNvCxnSpPr>
          <p:nvPr userDrawn="1"/>
        </p:nvCxnSpPr>
        <p:spPr>
          <a:xfrm>
            <a:off x="1066800" y="2297963"/>
            <a:ext cx="10058401" cy="0"/>
          </a:xfrm>
          <a:prstGeom prst="line">
            <a:avLst/>
          </a:prstGeom>
          <a:ln w="28575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479420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0CDC52A-E02E-4A50-B4CF-180098F98B79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7" name="Picture 6" descr="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4922E65C-C383-4B19-A0BC-8495CD0BA9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06" t="9" r="3806"/>
          <a:stretch/>
        </p:blipFill>
        <p:spPr>
          <a:xfrm>
            <a:off x="0" y="0"/>
            <a:ext cx="12192000" cy="6858605"/>
          </a:xfrm>
          <a:prstGeom prst="rect">
            <a:avLst/>
          </a:prstGeom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8E7D77CC-7D0A-4A73-B78F-C317B9C06D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4560452" y="130067"/>
            <a:ext cx="3071095" cy="882866"/>
          </a:xfrm>
          <a:prstGeom prst="rect">
            <a:avLst/>
          </a:prstGeom>
        </p:spPr>
      </p:pic>
      <p:sp>
        <p:nvSpPr>
          <p:cNvPr id="14" name="TextBox 17">
            <a:extLst>
              <a:ext uri="{FF2B5EF4-FFF2-40B4-BE49-F238E27FC236}">
                <a16:creationId xmlns:a16="http://schemas.microsoft.com/office/drawing/2014/main" id="{B529597E-75DB-4B49-BD8C-50F4003B907A}"/>
              </a:ext>
            </a:extLst>
          </p:cNvPr>
          <p:cNvSpPr txBox="1"/>
          <p:nvPr userDrawn="1"/>
        </p:nvSpPr>
        <p:spPr>
          <a:xfrm>
            <a:off x="260047" y="6596786"/>
            <a:ext cx="1216328" cy="119520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rgbClr val="808285"/>
                </a:solidFill>
                <a:latin typeface="Helvetica Neue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9871350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A0CDC52A-E02E-4A50-B4CF-180098F98B79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7" name="Picture 6" descr="Background pattern&#10;&#10;Description automatically generated with medium confidence">
            <a:extLst>
              <a:ext uri="{FF2B5EF4-FFF2-40B4-BE49-F238E27FC236}">
                <a16:creationId xmlns:a16="http://schemas.microsoft.com/office/drawing/2014/main" id="{4922E65C-C383-4B19-A0BC-8495CD0BA9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06" t="9" r="3806"/>
          <a:stretch/>
        </p:blipFill>
        <p:spPr>
          <a:xfrm>
            <a:off x="0" y="-605"/>
            <a:ext cx="12192000" cy="6858605"/>
          </a:xfrm>
          <a:prstGeom prst="rect">
            <a:avLst/>
          </a:prstGeom>
        </p:spPr>
      </p:pic>
      <p:pic>
        <p:nvPicPr>
          <p:cNvPr id="8" name="Picture 3">
            <a:extLst>
              <a:ext uri="{FF2B5EF4-FFF2-40B4-BE49-F238E27FC236}">
                <a16:creationId xmlns:a16="http://schemas.microsoft.com/office/drawing/2014/main" id="{8E7D77CC-7D0A-4A73-B78F-C317B9C06D9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0358257" y="142875"/>
            <a:ext cx="1833743" cy="527157"/>
          </a:xfrm>
          <a:prstGeom prst="rect">
            <a:avLst/>
          </a:prstGeom>
        </p:spPr>
      </p:pic>
      <p:sp>
        <p:nvSpPr>
          <p:cNvPr id="14" name="TextBox 17">
            <a:extLst>
              <a:ext uri="{FF2B5EF4-FFF2-40B4-BE49-F238E27FC236}">
                <a16:creationId xmlns:a16="http://schemas.microsoft.com/office/drawing/2014/main" id="{B529597E-75DB-4B49-BD8C-50F4003B907A}"/>
              </a:ext>
            </a:extLst>
          </p:cNvPr>
          <p:cNvSpPr txBox="1"/>
          <p:nvPr userDrawn="1"/>
        </p:nvSpPr>
        <p:spPr>
          <a:xfrm>
            <a:off x="260047" y="6596786"/>
            <a:ext cx="1216328" cy="119520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rgbClr val="808285"/>
                </a:solidFill>
                <a:latin typeface="Helvetica Neue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2638864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A36D955-B3A7-C98D-63C4-65BC52F78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7156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A36D955-B3A7-C98D-63C4-65BC52F78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359549-5A1F-9411-3B5D-0D48941C24F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42174" y="5029200"/>
            <a:ext cx="2637118" cy="141828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53851"/>
            <a:ext cx="4882138" cy="608864"/>
          </a:xfrm>
        </p:spPr>
        <p:txBody>
          <a:bodyPr bIns="0" anchor="b">
            <a:no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11" name="Picture 10" descr="A picture containing sky, grass, outdoor, windmill&#10;&#10;Description automatically generated">
            <a:extLst>
              <a:ext uri="{FF2B5EF4-FFF2-40B4-BE49-F238E27FC236}">
                <a16:creationId xmlns:a16="http://schemas.microsoft.com/office/drawing/2014/main" id="{9AE9C199-8DD4-BDD3-1546-6409DF2DED3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71" r="33298"/>
          <a:stretch/>
        </p:blipFill>
        <p:spPr>
          <a:xfrm>
            <a:off x="1" y="0"/>
            <a:ext cx="6483964" cy="6858000"/>
          </a:xfrm>
          <a:custGeom>
            <a:avLst/>
            <a:gdLst>
              <a:gd name="connsiteX0" fmla="*/ 0 w 6483964"/>
              <a:gd name="connsiteY0" fmla="*/ 0 h 6858000"/>
              <a:gd name="connsiteX1" fmla="*/ 6483964 w 6483964"/>
              <a:gd name="connsiteY1" fmla="*/ 0 h 6858000"/>
              <a:gd name="connsiteX2" fmla="*/ 6483964 w 6483964"/>
              <a:gd name="connsiteY2" fmla="*/ 6858000 h 6858000"/>
              <a:gd name="connsiteX3" fmla="*/ 0 w 648396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3964" h="6858000">
                <a:moveTo>
                  <a:pt x="0" y="0"/>
                </a:moveTo>
                <a:lnTo>
                  <a:pt x="6483964" y="0"/>
                </a:lnTo>
                <a:lnTo>
                  <a:pt x="648396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40133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20F87DA0-F75A-431D-A639-A8712A0A7A81}"/>
              </a:ext>
            </a:extLst>
          </p:cNvPr>
          <p:cNvSpPr/>
          <p:nvPr userDrawn="1"/>
        </p:nvSpPr>
        <p:spPr>
          <a:xfrm>
            <a:off x="31450" y="7962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76000">
                <a:schemeClr val="bg1"/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22" name="Picture 21" descr="A picture containing nature, white, night sky&#10;&#10;Description automatically generated">
            <a:extLst>
              <a:ext uri="{FF2B5EF4-FFF2-40B4-BE49-F238E27FC236}">
                <a16:creationId xmlns:a16="http://schemas.microsoft.com/office/drawing/2014/main" id="{D3A35129-DBA0-442C-ABE7-10B4E0B885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5287541" y="-3039651"/>
            <a:ext cx="12192000" cy="6731557"/>
          </a:xfrm>
          <a:prstGeom prst="rect">
            <a:avLst/>
          </a:prstGeom>
        </p:spPr>
      </p:pic>
      <p:pic>
        <p:nvPicPr>
          <p:cNvPr id="24" name="Picture 3">
            <a:extLst>
              <a:ext uri="{FF2B5EF4-FFF2-40B4-BE49-F238E27FC236}">
                <a16:creationId xmlns:a16="http://schemas.microsoft.com/office/drawing/2014/main" id="{82B5A569-DBE5-48DF-962A-FC0D2ACE504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279400" y="326128"/>
            <a:ext cx="2311400" cy="664472"/>
          </a:xfrm>
          <a:prstGeom prst="rect">
            <a:avLst/>
          </a:prstGeom>
        </p:spPr>
      </p:pic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562EC2A-FA8A-4510-94F7-F9EA0832FB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8380" y="2718949"/>
            <a:ext cx="4979161" cy="1166107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933" b="1" spc="200" dirty="0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  <a:endParaRPr lang="en-IN"/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617407"/>
            <a:ext cx="1190625" cy="119520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rgbClr val="808285"/>
                </a:solidFill>
                <a:latin typeface="Helvetica Neue"/>
              </a:rPr>
              <a:t>CONFIDENTIA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A6CA2F5-CF9C-4F92-8F46-EFC73A160007}"/>
              </a:ext>
            </a:extLst>
          </p:cNvPr>
          <p:cNvGrpSpPr/>
          <p:nvPr userDrawn="1"/>
        </p:nvGrpSpPr>
        <p:grpSpPr>
          <a:xfrm>
            <a:off x="8007409" y="649480"/>
            <a:ext cx="3801423" cy="5717137"/>
            <a:chOff x="7785419" y="452462"/>
            <a:chExt cx="4023413" cy="6071901"/>
          </a:xfrm>
        </p:grpSpPr>
        <p:pic>
          <p:nvPicPr>
            <p:cNvPr id="20" name="Picture 19" descr="A picture containing nature, rain&#10;&#10;Description automatically generated">
              <a:extLst>
                <a:ext uri="{FF2B5EF4-FFF2-40B4-BE49-F238E27FC236}">
                  <a16:creationId xmlns:a16="http://schemas.microsoft.com/office/drawing/2014/main" id="{61E12821-F711-44E1-9D54-02CE6A82AA4A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489"/>
            <a:stretch/>
          </p:blipFill>
          <p:spPr>
            <a:xfrm>
              <a:off x="7785419" y="1756909"/>
              <a:ext cx="1554413" cy="1391367"/>
            </a:xfrm>
            <a:prstGeom prst="rect">
              <a:avLst/>
            </a:prstGeom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FC1A106B-F95E-4286-B179-7F0B47031F6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9421694">
              <a:off x="7819845" y="2805345"/>
              <a:ext cx="1449776" cy="1449776"/>
            </a:xfrm>
            <a:prstGeom prst="rect">
              <a:avLst/>
            </a:prstGeom>
          </p:spPr>
        </p:pic>
        <p:pic>
          <p:nvPicPr>
            <p:cNvPr id="28" name="Picture 27" descr="A picture containing sushi, orange&#10;&#10;Description automatically generated">
              <a:extLst>
                <a:ext uri="{FF2B5EF4-FFF2-40B4-BE49-F238E27FC236}">
                  <a16:creationId xmlns:a16="http://schemas.microsoft.com/office/drawing/2014/main" id="{4485B8CF-99BD-4D8D-BBBE-9446A141CB1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8130"/>
            <a:stretch/>
          </p:blipFill>
          <p:spPr>
            <a:xfrm>
              <a:off x="9217843" y="5192466"/>
              <a:ext cx="1449776" cy="1331897"/>
            </a:xfrm>
            <a:prstGeom prst="rect">
              <a:avLst/>
            </a:prstGeom>
          </p:spPr>
        </p:pic>
        <p:pic>
          <p:nvPicPr>
            <p:cNvPr id="12" name="Picture 11" descr="A plate of lemons&#10;&#10;Description automatically generated with low confidence">
              <a:extLst>
                <a:ext uri="{FF2B5EF4-FFF2-40B4-BE49-F238E27FC236}">
                  <a16:creationId xmlns:a16="http://schemas.microsoft.com/office/drawing/2014/main" id="{CA33B51E-A3B6-4674-8B19-7A3F32868E5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028790">
              <a:off x="10364663" y="2497988"/>
              <a:ext cx="1386717" cy="1386717"/>
            </a:xfrm>
            <a:prstGeom prst="rect">
              <a:avLst/>
            </a:prstGeom>
          </p:spPr>
        </p:pic>
        <p:pic>
          <p:nvPicPr>
            <p:cNvPr id="30" name="Picture 29" descr="A plate of lemons&#10;&#10;Description automatically generated with low confidence">
              <a:extLst>
                <a:ext uri="{FF2B5EF4-FFF2-40B4-BE49-F238E27FC236}">
                  <a16:creationId xmlns:a16="http://schemas.microsoft.com/office/drawing/2014/main" id="{08DF0ADB-6DD8-4DB1-BCFE-065EFA88B9F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028790">
              <a:off x="7802800" y="3975665"/>
              <a:ext cx="1386717" cy="1386717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C0D7EFEF-EED9-4819-B062-86DB654E61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330311" y="4887404"/>
              <a:ext cx="1565789" cy="1565789"/>
            </a:xfrm>
            <a:prstGeom prst="rect">
              <a:avLst/>
            </a:prstGeom>
          </p:spPr>
        </p:pic>
        <p:pic>
          <p:nvPicPr>
            <p:cNvPr id="32" name="Picture 31" descr="A picture containing nature, rain&#10;&#10;Description automatically generated">
              <a:extLst>
                <a:ext uri="{FF2B5EF4-FFF2-40B4-BE49-F238E27FC236}">
                  <a16:creationId xmlns:a16="http://schemas.microsoft.com/office/drawing/2014/main" id="{9189A3A1-272F-41AE-B941-AE019BF7FC0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10489"/>
            <a:stretch/>
          </p:blipFill>
          <p:spPr>
            <a:xfrm>
              <a:off x="10129850" y="4887404"/>
              <a:ext cx="1554413" cy="1391367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63CEDDB8-068A-4D1C-BEF4-489C9F371D0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9421694">
              <a:off x="10359056" y="3625584"/>
              <a:ext cx="1449776" cy="1449776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3CA38693-C617-4CB8-8285-FD6472A2F87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9758262">
              <a:off x="9892780" y="539205"/>
              <a:ext cx="1565789" cy="1565789"/>
            </a:xfrm>
            <a:prstGeom prst="rect">
              <a:avLst/>
            </a:prstGeom>
          </p:spPr>
        </p:pic>
        <p:pic>
          <p:nvPicPr>
            <p:cNvPr id="36" name="Picture 35" descr="A plate of lemons&#10;&#10;Description automatically generated with low confidence">
              <a:extLst>
                <a:ext uri="{FF2B5EF4-FFF2-40B4-BE49-F238E27FC236}">
                  <a16:creationId xmlns:a16="http://schemas.microsoft.com/office/drawing/2014/main" id="{CBD95879-EAAE-477A-80ED-4EE6885094F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3627908">
              <a:off x="8277893" y="635673"/>
              <a:ext cx="1386717" cy="1386717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B56A3E6F-E2A0-4077-AC00-60212BFECC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7338035">
              <a:off x="9118189" y="452462"/>
              <a:ext cx="1449776" cy="1449776"/>
            </a:xfrm>
            <a:prstGeom prst="rect">
              <a:avLst/>
            </a:prstGeom>
          </p:spPr>
        </p:pic>
        <p:pic>
          <p:nvPicPr>
            <p:cNvPr id="34" name="Picture 33" descr="A picture containing sushi, orange&#10;&#10;Description automatically generated">
              <a:extLst>
                <a:ext uri="{FF2B5EF4-FFF2-40B4-BE49-F238E27FC236}">
                  <a16:creationId xmlns:a16="http://schemas.microsoft.com/office/drawing/2014/main" id="{4804CB5B-1C95-487C-ADA7-B4E0B97B73B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8130"/>
            <a:stretch/>
          </p:blipFill>
          <p:spPr>
            <a:xfrm>
              <a:off x="10434997" y="1551373"/>
              <a:ext cx="1313719" cy="1206903"/>
            </a:xfrm>
            <a:prstGeom prst="rect">
              <a:avLst/>
            </a:prstGeom>
          </p:spPr>
        </p:pic>
      </p:grpSp>
      <p:pic>
        <p:nvPicPr>
          <p:cNvPr id="19" name="Picture 15">
            <a:extLst>
              <a:ext uri="{FF2B5EF4-FFF2-40B4-BE49-F238E27FC236}">
                <a16:creationId xmlns:a16="http://schemas.microsoft.com/office/drawing/2014/main" id="{C32C2A12-C0EA-4ECB-8A85-0C3C9DD4ECB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78375" y="1879313"/>
            <a:ext cx="1354522" cy="311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257489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CADFD20-6533-498C-B60C-998B79CE8197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EBE6E2"/>
              </a:gs>
              <a:gs pos="47000">
                <a:srgbClr val="F8F6F5"/>
              </a:gs>
              <a:gs pos="81000">
                <a:srgbClr val="F9F7F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F0105E8-40EF-482C-80FE-BF73EEDA761C}"/>
              </a:ext>
            </a:extLst>
          </p:cNvPr>
          <p:cNvSpPr/>
          <p:nvPr userDrawn="1"/>
        </p:nvSpPr>
        <p:spPr>
          <a:xfrm>
            <a:off x="0" y="6476653"/>
            <a:ext cx="12192000" cy="3813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562EC2A-FA8A-4510-94F7-F9EA0832FB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0" y="244952"/>
            <a:ext cx="11480800" cy="730728"/>
          </a:xfrm>
          <a:prstGeom prst="rect">
            <a:avLst/>
          </a:prstGeom>
        </p:spPr>
        <p:txBody>
          <a:bodyPr lIns="0" rIns="0" anchor="ctr"/>
          <a:lstStyle>
            <a:lvl1pPr marL="0" indent="0" algn="ctr">
              <a:buNone/>
              <a:defRPr lang="en-IN" sz="2667" spc="200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</a:p>
          <a:p>
            <a:pPr lvl="0"/>
            <a:r>
              <a:rPr lang="en-US"/>
              <a:t>Can be used for double lines</a:t>
            </a:r>
            <a:endParaRPr lang="en-IN"/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bg1"/>
                </a:solidFill>
                <a:latin typeface="Helvetica Neue"/>
              </a:rPr>
              <a:t>CONFIDENTIA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B693222A-C2BA-4051-914E-3F30CF7B2E4A}"/>
              </a:ext>
            </a:extLst>
          </p:cNvPr>
          <p:cNvCxnSpPr>
            <a:cxnSpLocks/>
          </p:cNvCxnSpPr>
          <p:nvPr userDrawn="1"/>
        </p:nvCxnSpPr>
        <p:spPr>
          <a:xfrm>
            <a:off x="355600" y="1041400"/>
            <a:ext cx="11480800" cy="0"/>
          </a:xfrm>
          <a:prstGeom prst="line">
            <a:avLst/>
          </a:prstGeom>
          <a:ln w="28575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23">
            <a:extLst>
              <a:ext uri="{FF2B5EF4-FFF2-40B4-BE49-F238E27FC236}">
                <a16:creationId xmlns:a16="http://schemas.microsoft.com/office/drawing/2014/main" id="{E2DE98D9-692D-4D5A-B7EE-0941234497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6197" y="6567893"/>
            <a:ext cx="304800" cy="24198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E2DFF185-2E58-4E88-AF12-33A8B26E27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1013112" y="6503209"/>
            <a:ext cx="1066773" cy="30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3123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orient="horz" pos="1224">
          <p15:clr>
            <a:srgbClr val="FBAE40"/>
          </p15:clr>
        </p15:guide>
        <p15:guide id="3" orient="horz" pos="1080">
          <p15:clr>
            <a:srgbClr val="FBAE40"/>
          </p15:clr>
        </p15:guide>
        <p15:guide id="4" orient="horz" pos="5976">
          <p15:clr>
            <a:srgbClr val="FBAE40"/>
          </p15:clr>
        </p15:guide>
        <p15:guide id="5" pos="5760">
          <p15:clr>
            <a:srgbClr val="FBAE40"/>
          </p15:clr>
        </p15:guide>
        <p15:guide id="6" pos="11184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CADFD20-6533-498C-B60C-998B79CE8197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EBE6E2"/>
              </a:gs>
              <a:gs pos="47000">
                <a:srgbClr val="F8F6F5"/>
              </a:gs>
              <a:gs pos="81000">
                <a:srgbClr val="F9F7F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F0105E8-40EF-482C-80FE-BF73EEDA761C}"/>
              </a:ext>
            </a:extLst>
          </p:cNvPr>
          <p:cNvSpPr/>
          <p:nvPr userDrawn="1"/>
        </p:nvSpPr>
        <p:spPr>
          <a:xfrm>
            <a:off x="0" y="6476653"/>
            <a:ext cx="12192000" cy="3813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bg1"/>
                </a:solidFill>
                <a:latin typeface="Helvetica Neue"/>
              </a:rPr>
              <a:t>CONFIDENTIAL</a:t>
            </a:r>
          </a:p>
        </p:txBody>
      </p:sp>
      <p:sp>
        <p:nvSpPr>
          <p:cNvPr id="10" name="Slide Number Placeholder 23">
            <a:extLst>
              <a:ext uri="{FF2B5EF4-FFF2-40B4-BE49-F238E27FC236}">
                <a16:creationId xmlns:a16="http://schemas.microsoft.com/office/drawing/2014/main" id="{2AC58960-0761-4A7A-8796-B074C0FFB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6197" y="6567893"/>
            <a:ext cx="304800" cy="24198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C652C831-46C9-4F25-9DF3-68DD7678E95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1013112" y="6503209"/>
            <a:ext cx="1066773" cy="306671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619420D-D240-4D48-A787-FE65242586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376555"/>
            <a:ext cx="12192000" cy="6286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 spc="3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2633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orient="horz" pos="1224">
          <p15:clr>
            <a:srgbClr val="FBAE40"/>
          </p15:clr>
        </p15:guide>
        <p15:guide id="3" orient="horz" pos="1080">
          <p15:clr>
            <a:srgbClr val="FBAE40"/>
          </p15:clr>
        </p15:guide>
        <p15:guide id="4" orient="horz" pos="5976">
          <p15:clr>
            <a:srgbClr val="FBAE40"/>
          </p15:clr>
        </p15:guide>
        <p15:guide id="5" pos="5760">
          <p15:clr>
            <a:srgbClr val="FBAE40"/>
          </p15:clr>
        </p15:guide>
        <p15:guide id="6" pos="1118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CADFD20-6533-498C-B60C-998B79CE8197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EBE6E2"/>
              </a:gs>
              <a:gs pos="47000">
                <a:srgbClr val="F8F6F5"/>
              </a:gs>
              <a:gs pos="81000">
                <a:srgbClr val="F9F7F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F0105E8-40EF-482C-80FE-BF73EEDA761C}"/>
              </a:ext>
            </a:extLst>
          </p:cNvPr>
          <p:cNvSpPr/>
          <p:nvPr userDrawn="1"/>
        </p:nvSpPr>
        <p:spPr>
          <a:xfrm>
            <a:off x="0" y="6476653"/>
            <a:ext cx="12192000" cy="3813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bg1"/>
                </a:solidFill>
                <a:latin typeface="Helvetica Neue"/>
              </a:rPr>
              <a:t>CONFIDENTI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B34394-388C-4983-9069-73C25C50D4F6}"/>
              </a:ext>
            </a:extLst>
          </p:cNvPr>
          <p:cNvSpPr/>
          <p:nvPr userDrawn="1"/>
        </p:nvSpPr>
        <p:spPr>
          <a:xfrm>
            <a:off x="0" y="-18571"/>
            <a:ext cx="12192000" cy="3813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8" name="Slide Number Placeholder 23">
            <a:extLst>
              <a:ext uri="{FF2B5EF4-FFF2-40B4-BE49-F238E27FC236}">
                <a16:creationId xmlns:a16="http://schemas.microsoft.com/office/drawing/2014/main" id="{97C14FDE-0172-4447-99CE-0A57E5741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6197" y="6567893"/>
            <a:ext cx="304800" cy="24198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0D227435-919D-4214-8017-853015C643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1013112" y="6503209"/>
            <a:ext cx="1066773" cy="306671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0728C0F-1C0B-473B-9953-44DDD1A5ECF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376555"/>
            <a:ext cx="12192000" cy="6286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 spc="3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5935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orient="horz" pos="1224">
          <p15:clr>
            <a:srgbClr val="FBAE40"/>
          </p15:clr>
        </p15:guide>
        <p15:guide id="3" orient="horz" pos="1080">
          <p15:clr>
            <a:srgbClr val="FBAE40"/>
          </p15:clr>
        </p15:guide>
        <p15:guide id="4" orient="horz" pos="5976">
          <p15:clr>
            <a:srgbClr val="FBAE40"/>
          </p15:clr>
        </p15:guide>
        <p15:guide id="5" pos="5760">
          <p15:clr>
            <a:srgbClr val="FBAE40"/>
          </p15:clr>
        </p15:guide>
        <p15:guide id="6" pos="11184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CADFD20-6533-498C-B60C-998B79CE8197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EBE6E2"/>
              </a:gs>
              <a:gs pos="47000">
                <a:srgbClr val="F8F6F5"/>
              </a:gs>
              <a:gs pos="81000">
                <a:srgbClr val="F9F7F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F0105E8-40EF-482C-80FE-BF73EEDA761C}"/>
              </a:ext>
            </a:extLst>
          </p:cNvPr>
          <p:cNvSpPr/>
          <p:nvPr userDrawn="1"/>
        </p:nvSpPr>
        <p:spPr>
          <a:xfrm>
            <a:off x="0" y="6476653"/>
            <a:ext cx="12192000" cy="38134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bg1"/>
                </a:solidFill>
                <a:latin typeface="Helvetica Neue"/>
              </a:rPr>
              <a:t>CONFIDENTI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B34394-388C-4983-9069-73C25C50D4F6}"/>
              </a:ext>
            </a:extLst>
          </p:cNvPr>
          <p:cNvSpPr/>
          <p:nvPr userDrawn="1"/>
        </p:nvSpPr>
        <p:spPr>
          <a:xfrm>
            <a:off x="0" y="-18571"/>
            <a:ext cx="12192000" cy="121810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8" name="Slide Number Placeholder 23">
            <a:extLst>
              <a:ext uri="{FF2B5EF4-FFF2-40B4-BE49-F238E27FC236}">
                <a16:creationId xmlns:a16="http://schemas.microsoft.com/office/drawing/2014/main" id="{E773DDD8-AD5A-4182-AF5B-3C9EFE8E82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6197" y="6567893"/>
            <a:ext cx="304800" cy="24198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62677DCA-9481-4543-A4A8-A1630BEBE0B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1013112" y="6503209"/>
            <a:ext cx="1066773" cy="306671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38D0908-609A-43C5-A417-55F691B26CF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42875"/>
            <a:ext cx="12192000" cy="6286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 spc="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43605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orient="horz" pos="1224">
          <p15:clr>
            <a:srgbClr val="FBAE40"/>
          </p15:clr>
        </p15:guide>
        <p15:guide id="3" orient="horz" pos="1080">
          <p15:clr>
            <a:srgbClr val="FBAE40"/>
          </p15:clr>
        </p15:guide>
        <p15:guide id="4" orient="horz" pos="5976">
          <p15:clr>
            <a:srgbClr val="FBAE40"/>
          </p15:clr>
        </p15:guide>
        <p15:guide id="5" pos="5760">
          <p15:clr>
            <a:srgbClr val="FBAE40"/>
          </p15:clr>
        </p15:guide>
        <p15:guide id="6" pos="1118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 slide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CADFD20-6533-498C-B60C-998B79CE8197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EBE6E2"/>
              </a:gs>
              <a:gs pos="47000">
                <a:srgbClr val="F8F6F5"/>
              </a:gs>
              <a:gs pos="81000">
                <a:srgbClr val="F9F7F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B34394-388C-4983-9069-73C25C50D4F6}"/>
              </a:ext>
            </a:extLst>
          </p:cNvPr>
          <p:cNvSpPr/>
          <p:nvPr userDrawn="1"/>
        </p:nvSpPr>
        <p:spPr>
          <a:xfrm>
            <a:off x="0" y="-18572"/>
            <a:ext cx="12192000" cy="14895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41A157-0EA6-47B6-BE48-684AACC88210}"/>
              </a:ext>
            </a:extLst>
          </p:cNvPr>
          <p:cNvSpPr/>
          <p:nvPr userDrawn="1"/>
        </p:nvSpPr>
        <p:spPr>
          <a:xfrm>
            <a:off x="0" y="5368413"/>
            <a:ext cx="12192000" cy="148958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bg1"/>
                </a:solidFill>
                <a:latin typeface="Helvetica Neue"/>
              </a:rPr>
              <a:t>CONFIDENTIAL</a:t>
            </a:r>
          </a:p>
        </p:txBody>
      </p:sp>
      <p:sp>
        <p:nvSpPr>
          <p:cNvPr id="17" name="Slide Number Placeholder 23">
            <a:extLst>
              <a:ext uri="{FF2B5EF4-FFF2-40B4-BE49-F238E27FC236}">
                <a16:creationId xmlns:a16="http://schemas.microsoft.com/office/drawing/2014/main" id="{C7DB4156-10DC-4A46-813F-E4FE77B51E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6197" y="6567893"/>
            <a:ext cx="304800" cy="24198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1" name="Picture 3">
            <a:extLst>
              <a:ext uri="{FF2B5EF4-FFF2-40B4-BE49-F238E27FC236}">
                <a16:creationId xmlns:a16="http://schemas.microsoft.com/office/drawing/2014/main" id="{38844CB5-B570-4AC3-A0EC-AA18757986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1013112" y="6503209"/>
            <a:ext cx="1066773" cy="306671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E857BA-BC5C-4BDE-ADD1-B5C6F051FD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0" y="142875"/>
            <a:ext cx="12192000" cy="62865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800" b="1" spc="3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7633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orient="horz" pos="1224">
          <p15:clr>
            <a:srgbClr val="FBAE40"/>
          </p15:clr>
        </p15:guide>
        <p15:guide id="3" orient="horz" pos="1080">
          <p15:clr>
            <a:srgbClr val="FBAE40"/>
          </p15:clr>
        </p15:guide>
        <p15:guide id="4" orient="horz" pos="5976">
          <p15:clr>
            <a:srgbClr val="FBAE40"/>
          </p15:clr>
        </p15:guide>
        <p15:guide id="5" pos="5760">
          <p15:clr>
            <a:srgbClr val="FBAE40"/>
          </p15:clr>
        </p15:guide>
        <p15:guide id="6" pos="11184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>
            <a:extLst>
              <a:ext uri="{FF2B5EF4-FFF2-40B4-BE49-F238E27FC236}">
                <a16:creationId xmlns:a16="http://schemas.microsoft.com/office/drawing/2014/main" id="{7CADFD20-6533-498C-B60C-998B79CE8197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EBE6E2"/>
              </a:gs>
              <a:gs pos="47000">
                <a:srgbClr val="F8F6F5"/>
              </a:gs>
              <a:gs pos="81000">
                <a:srgbClr val="F9F7F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562EC2A-FA8A-4510-94F7-F9EA0832FB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77372" y="2108200"/>
            <a:ext cx="5283200" cy="867289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667" spc="200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607324"/>
            <a:ext cx="1168400" cy="119007"/>
          </a:xfrm>
          <a:prstGeom prst="rect">
            <a:avLst/>
          </a:prstGeom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tx2"/>
                </a:solidFill>
                <a:latin typeface="+mj-lt"/>
              </a:rPr>
              <a:t>CONFIDENTIAL</a:t>
            </a:r>
          </a:p>
        </p:txBody>
      </p:sp>
      <p:sp>
        <p:nvSpPr>
          <p:cNvPr id="17" name="Slide Number Placeholder 23">
            <a:extLst>
              <a:ext uri="{FF2B5EF4-FFF2-40B4-BE49-F238E27FC236}">
                <a16:creationId xmlns:a16="http://schemas.microsoft.com/office/drawing/2014/main" id="{C7DB4156-10DC-4A46-813F-E4FE77B51E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33981" y="6546333"/>
            <a:ext cx="304800" cy="24198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tx2"/>
                </a:solidFill>
                <a:latin typeface="+mj-lt"/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1" name="Picture 3">
            <a:extLst>
              <a:ext uri="{FF2B5EF4-FFF2-40B4-BE49-F238E27FC236}">
                <a16:creationId xmlns:a16="http://schemas.microsoft.com/office/drawing/2014/main" id="{38844CB5-B570-4AC3-A0EC-AA18757986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304800" y="149691"/>
            <a:ext cx="1609245" cy="462619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B8E4B04-9AC1-410C-927F-125B2D12D1B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482600"/>
            <a:ext cx="2692400" cy="27432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0">
                <a:latin typeface="+mj-lt"/>
              </a:defRPr>
            </a:lvl1pPr>
          </a:lstStyle>
          <a:p>
            <a:endParaRPr lang="en-IN"/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ED2CD378-3C99-43E2-8607-A398F67A042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141581" y="487680"/>
            <a:ext cx="2692400" cy="593852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0">
                <a:latin typeface="+mj-lt"/>
              </a:defRPr>
            </a:lvl1pPr>
          </a:lstStyle>
          <a:p>
            <a:endParaRPr lang="en-IN"/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8DCF0EA-6193-4516-B5B8-E09AA3DBDA6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530600"/>
            <a:ext cx="2692400" cy="2895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b="0">
                <a:latin typeface="+mj-lt"/>
              </a:defRPr>
            </a:lvl1pPr>
          </a:lstStyle>
          <a:p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425518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orient="horz" pos="1224">
          <p15:clr>
            <a:srgbClr val="FBAE40"/>
          </p15:clr>
        </p15:guide>
        <p15:guide id="3" orient="horz" pos="1080">
          <p15:clr>
            <a:srgbClr val="FBAE40"/>
          </p15:clr>
        </p15:guide>
        <p15:guide id="4" orient="horz" pos="5976">
          <p15:clr>
            <a:srgbClr val="FBAE40"/>
          </p15:clr>
        </p15:guide>
        <p15:guide id="5" pos="5760">
          <p15:clr>
            <a:srgbClr val="FBAE40"/>
          </p15:clr>
        </p15:guide>
        <p15:guide id="6" pos="11184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stain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tree, plant&#10;&#10;Description automatically generated">
            <a:extLst>
              <a:ext uri="{FF2B5EF4-FFF2-40B4-BE49-F238E27FC236}">
                <a16:creationId xmlns:a16="http://schemas.microsoft.com/office/drawing/2014/main" id="{CA6CA334-2E79-4D6C-93DE-AB825092AF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277" r="1327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4DED9FD-DED4-44D4-9CED-17EE9E89AB7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52387">
                <a:srgbClr val="E7E6E6">
                  <a:alpha val="60000"/>
                </a:srgbClr>
              </a:gs>
              <a:gs pos="27000">
                <a:schemeClr val="bg2"/>
              </a:gs>
              <a:gs pos="80000">
                <a:schemeClr val="bg2">
                  <a:alpha val="0"/>
                </a:schemeClr>
              </a:gs>
            </a:gsLst>
            <a:lin ang="54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D73CDD90-CEDE-44EB-9B6E-EDB1D020EC9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0" y="244952"/>
            <a:ext cx="11531601" cy="796449"/>
          </a:xfrm>
          <a:prstGeom prst="rect">
            <a:avLst/>
          </a:prstGeom>
        </p:spPr>
        <p:txBody>
          <a:bodyPr lIns="0" rIns="0" anchor="ctr"/>
          <a:lstStyle>
            <a:lvl1pPr marL="0" indent="0" algn="ctr">
              <a:buNone/>
              <a:defRPr lang="en-IN" sz="2667" spc="200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</a:p>
          <a:p>
            <a:pPr lvl="0"/>
            <a:r>
              <a:rPr lang="en-US"/>
              <a:t>Can be used for double lines</a:t>
            </a:r>
            <a:endParaRPr lang="en-IN"/>
          </a:p>
        </p:txBody>
      </p:sp>
      <p:pic>
        <p:nvPicPr>
          <p:cNvPr id="7" name="Picture 6" descr="A picture containing text&#10;&#10;Description automatically generated">
            <a:extLst>
              <a:ext uri="{FF2B5EF4-FFF2-40B4-BE49-F238E27FC236}">
                <a16:creationId xmlns:a16="http://schemas.microsoft.com/office/drawing/2014/main" id="{468E02EC-005F-4BE4-B2CC-F2B3949371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0275" y="6324600"/>
            <a:ext cx="1691116" cy="38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91796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123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lide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nature, white, night sky&#10;&#10;Description automatically generated">
            <a:extLst>
              <a:ext uri="{FF2B5EF4-FFF2-40B4-BE49-F238E27FC236}">
                <a16:creationId xmlns:a16="http://schemas.microsoft.com/office/drawing/2014/main" id="{502B50D5-0403-4852-A918-5DEE20B48B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3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52" y="905653"/>
            <a:ext cx="12192000" cy="5930785"/>
          </a:xfrm>
          <a:prstGeom prst="rect">
            <a:avLst/>
          </a:prstGeom>
        </p:spPr>
      </p:pic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0562EC2A-FA8A-4510-94F7-F9EA0832FB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0" y="244952"/>
            <a:ext cx="10363201" cy="867289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400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6EC46E8-19A8-4634-B6E8-901A9CA1315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5600" y="1310322"/>
            <a:ext cx="10363200" cy="5027863"/>
          </a:xfrm>
          <a:prstGeom prst="rect">
            <a:avLst/>
          </a:prstGeom>
        </p:spPr>
        <p:txBody>
          <a:bodyPr lIns="0" rIns="0" anchor="t"/>
          <a:lstStyle>
            <a:lvl1pPr marL="0" indent="0" algn="l">
              <a:buNone/>
              <a:defRPr lang="en-IN" sz="1200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sp>
        <p:nvSpPr>
          <p:cNvPr id="27" name="TextBox 17">
            <a:extLst>
              <a:ext uri="{FF2B5EF4-FFF2-40B4-BE49-F238E27FC236}">
                <a16:creationId xmlns:a16="http://schemas.microsoft.com/office/drawing/2014/main" id="{1E86468C-FC5A-4026-BAA7-53C2686DE492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tx2"/>
                </a:solidFill>
                <a:latin typeface="Helvetica Neue"/>
              </a:rPr>
              <a:t>CONFIDENTIAL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E1C1E7F5-9465-4377-B3FC-76EFE8879D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2143"/>
          <a:stretch/>
        </p:blipFill>
        <p:spPr>
          <a:xfrm>
            <a:off x="10678134" y="2992351"/>
            <a:ext cx="1513866" cy="3998872"/>
          </a:xfrm>
          <a:prstGeom prst="rect">
            <a:avLst/>
          </a:prstGeom>
        </p:spPr>
      </p:pic>
      <p:pic>
        <p:nvPicPr>
          <p:cNvPr id="12" name="Picture 3">
            <a:extLst>
              <a:ext uri="{FF2B5EF4-FFF2-40B4-BE49-F238E27FC236}">
                <a16:creationId xmlns:a16="http://schemas.microsoft.com/office/drawing/2014/main" id="{0BF1BF52-2682-4468-80DA-B9FE2F895E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5085"/>
          <a:stretch/>
        </p:blipFill>
        <p:spPr>
          <a:xfrm>
            <a:off x="10452045" y="-312501"/>
            <a:ext cx="1739955" cy="3873901"/>
          </a:xfrm>
          <a:prstGeom prst="rect">
            <a:avLst/>
          </a:prstGeom>
        </p:spPr>
      </p:pic>
      <p:sp>
        <p:nvSpPr>
          <p:cNvPr id="10" name="Slide Number Placeholder 23">
            <a:extLst>
              <a:ext uri="{FF2B5EF4-FFF2-40B4-BE49-F238E27FC236}">
                <a16:creationId xmlns:a16="http://schemas.microsoft.com/office/drawing/2014/main" id="{27B8243F-85CB-4753-8DD7-BE1E1B2C0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596197" y="6567893"/>
            <a:ext cx="304800" cy="241987"/>
          </a:xfrm>
          <a:prstGeom prst="rect">
            <a:avLst/>
          </a:prstGeom>
        </p:spPr>
        <p:txBody>
          <a:bodyPr anchor="ctr"/>
          <a:lstStyle>
            <a:lvl1pPr algn="ctr">
              <a:defRPr sz="800">
                <a:solidFill>
                  <a:schemeClr val="bg1"/>
                </a:solidFill>
              </a:defRPr>
            </a:lvl1pPr>
          </a:lstStyle>
          <a:p>
            <a:fld id="{D8DA9DAA-006C-4F4B-980E-E3DF019B24E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4" name="Picture 3">
            <a:extLst>
              <a:ext uri="{FF2B5EF4-FFF2-40B4-BE49-F238E27FC236}">
                <a16:creationId xmlns:a16="http://schemas.microsoft.com/office/drawing/2014/main" id="{DCE09F1F-DF3C-4749-B694-8F2324E687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1013112" y="6503209"/>
            <a:ext cx="1066773" cy="3066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488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40">
          <p15:clr>
            <a:srgbClr val="FBAE40"/>
          </p15:clr>
        </p15:guide>
        <p15:guide id="2" orient="horz" pos="1224">
          <p15:clr>
            <a:srgbClr val="FBAE40"/>
          </p15:clr>
        </p15:guide>
        <p15:guide id="3" orient="horz" pos="1080">
          <p15:clr>
            <a:srgbClr val="FBAE40"/>
          </p15:clr>
        </p15:guide>
        <p15:guide id="4" orient="horz" pos="5976">
          <p15:clr>
            <a:srgbClr val="FBAE40"/>
          </p15:clr>
        </p15:guide>
        <p15:guide id="5" pos="5760">
          <p15:clr>
            <a:srgbClr val="FBAE40"/>
          </p15:clr>
        </p15:guide>
        <p15:guide id="6" pos="11184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3F16810-5DD0-4311-8A76-26216C252738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EBE6E2"/>
              </a:gs>
              <a:gs pos="47000">
                <a:srgbClr val="F8F6F5"/>
              </a:gs>
              <a:gs pos="81000">
                <a:srgbClr val="F9F7F6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34519DE1-6660-44C2-9B8B-16E706858B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5066"/>
          <a:stretch/>
        </p:blipFill>
        <p:spPr>
          <a:xfrm>
            <a:off x="1371600" y="215976"/>
            <a:ext cx="10820400" cy="6642024"/>
          </a:xfrm>
          <a:prstGeom prst="rect">
            <a:avLst/>
          </a:prstGeom>
        </p:spPr>
      </p:pic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9A2BFD2D-0E6C-436B-889D-E3C3A765BB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0" y="244952"/>
            <a:ext cx="7518401" cy="867289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400" dirty="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en-US"/>
              <a:t>Agenda </a:t>
            </a:r>
          </a:p>
        </p:txBody>
      </p:sp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D3893CE5-719B-42B6-9DD4-BEB10C85B50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5600" y="1310322"/>
            <a:ext cx="5740400" cy="5027863"/>
          </a:xfrm>
          <a:prstGeom prst="rect">
            <a:avLst/>
          </a:prstGeom>
        </p:spPr>
        <p:txBody>
          <a:bodyPr lIns="0" rIns="0" anchor="t"/>
          <a:lstStyle>
            <a:lvl1pPr marL="0" indent="0" algn="l">
              <a:buNone/>
              <a:defRPr lang="en-IN" sz="1200" dirty="0"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C35E95DB-144B-4BC8-B197-A72BF212E3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0498378" y="215976"/>
            <a:ext cx="1609245" cy="462619"/>
          </a:xfrm>
          <a:prstGeom prst="rect">
            <a:avLst/>
          </a:prstGeom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4517FA7-3E54-4C21-A98C-C940457C67EF}"/>
              </a:ext>
            </a:extLst>
          </p:cNvPr>
          <p:cNvCxnSpPr>
            <a:cxnSpLocks/>
          </p:cNvCxnSpPr>
          <p:nvPr userDrawn="1"/>
        </p:nvCxnSpPr>
        <p:spPr>
          <a:xfrm flipV="1">
            <a:off x="355600" y="1112240"/>
            <a:ext cx="5740401" cy="30760"/>
          </a:xfrm>
          <a:prstGeom prst="line">
            <a:avLst/>
          </a:prstGeom>
          <a:ln w="28575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17">
            <a:extLst>
              <a:ext uri="{FF2B5EF4-FFF2-40B4-BE49-F238E27FC236}">
                <a16:creationId xmlns:a16="http://schemas.microsoft.com/office/drawing/2014/main" id="{27CC3CFB-DA52-49EA-97FD-9835223D0820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tx2"/>
                </a:solidFill>
                <a:latin typeface="Helvetica Neue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8593000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A36D955-B3A7-C98D-63C4-65BC52F78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57152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A36D955-B3A7-C98D-63C4-65BC52F78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359549-5A1F-9411-3B5D-0D48941C24F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942174" y="5029200"/>
            <a:ext cx="2637118" cy="141828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53851"/>
            <a:ext cx="4882138" cy="608864"/>
          </a:xfrm>
        </p:spPr>
        <p:txBody>
          <a:bodyPr bIns="0" anchor="b">
            <a:no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510BA45-F7AE-2CF4-3BE8-49E1D68BAA8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25048" t="8274" r="24218" b="5809"/>
          <a:stretch/>
        </p:blipFill>
        <p:spPr>
          <a:xfrm>
            <a:off x="1" y="0"/>
            <a:ext cx="6483964" cy="6858000"/>
          </a:xfrm>
          <a:custGeom>
            <a:avLst/>
            <a:gdLst>
              <a:gd name="connsiteX0" fmla="*/ 0 w 6483964"/>
              <a:gd name="connsiteY0" fmla="*/ 0 h 6858000"/>
              <a:gd name="connsiteX1" fmla="*/ 6483964 w 6483964"/>
              <a:gd name="connsiteY1" fmla="*/ 0 h 6858000"/>
              <a:gd name="connsiteX2" fmla="*/ 6483964 w 6483964"/>
              <a:gd name="connsiteY2" fmla="*/ 6858000 h 6858000"/>
              <a:gd name="connsiteX3" fmla="*/ 0 w 648396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3964" h="6858000">
                <a:moveTo>
                  <a:pt x="0" y="0"/>
                </a:moveTo>
                <a:lnTo>
                  <a:pt x="6483964" y="0"/>
                </a:lnTo>
                <a:lnTo>
                  <a:pt x="648396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12498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text, table&#10;&#10;Description automatically generated">
            <a:extLst>
              <a:ext uri="{FF2B5EF4-FFF2-40B4-BE49-F238E27FC236}">
                <a16:creationId xmlns:a16="http://schemas.microsoft.com/office/drawing/2014/main" id="{A6B20D15-DE5D-48C0-B8BE-98565177AB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72" b="1006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 Placeholder 9">
            <a:extLst>
              <a:ext uri="{FF2B5EF4-FFF2-40B4-BE49-F238E27FC236}">
                <a16:creationId xmlns:a16="http://schemas.microsoft.com/office/drawing/2014/main" id="{A40E5C83-D0EF-41C9-B25A-9036BE3D67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7600" y="5308600"/>
            <a:ext cx="6858000" cy="6604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buNone/>
              <a:defRPr sz="4000" b="1">
                <a:ln>
                  <a:solidFill>
                    <a:schemeClr val="accent1">
                      <a:shade val="50000"/>
                      <a:alpha val="64000"/>
                    </a:schemeClr>
                  </a:solidFill>
                </a:ln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  <a:endParaRPr lang="en-IN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D5CF3250-2101-4ED2-B02A-FF110E99783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7600" y="5838092"/>
            <a:ext cx="6858000" cy="660400"/>
          </a:xfrm>
          <a:prstGeom prst="rect">
            <a:avLst/>
          </a:prstGeom>
        </p:spPr>
        <p:txBody>
          <a:bodyPr lIns="0" tIns="0" rIns="0" bIns="0" anchor="ctr"/>
          <a:lstStyle>
            <a:lvl1pPr marL="0" indent="0" algn="r">
              <a:buNone/>
              <a:defRPr sz="160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sp>
        <p:nvSpPr>
          <p:cNvPr id="10" name="TextBox 17">
            <a:extLst>
              <a:ext uri="{FF2B5EF4-FFF2-40B4-BE49-F238E27FC236}">
                <a16:creationId xmlns:a16="http://schemas.microsoft.com/office/drawing/2014/main" id="{F760C52C-F3B2-4C74-94AC-542F4896CDF1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tx2"/>
                </a:solidFill>
                <a:latin typeface="Helvetica Neue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56119976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86B4904-4373-4149-AEF8-6DF534E9FC0B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rgbClr val="FDF8D7"/>
              </a:gs>
              <a:gs pos="28000">
                <a:schemeClr val="bg1"/>
              </a:gs>
              <a:gs pos="72000">
                <a:srgbClr val="FDF8D7"/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15" name="Picture 14" descr="A plate of lemons&#10;&#10;Description automatically generated with low confidence">
            <a:extLst>
              <a:ext uri="{FF2B5EF4-FFF2-40B4-BE49-F238E27FC236}">
                <a16:creationId xmlns:a16="http://schemas.microsoft.com/office/drawing/2014/main" id="{305B8EC6-D016-47A1-AD87-C5B278E826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3200" y="698098"/>
            <a:ext cx="4365453" cy="4365453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5B75F74-CEBA-4D0B-A428-623FD2C94E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1" y="2384495"/>
            <a:ext cx="4631267" cy="1166107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933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  <a:endParaRPr lang="en-IN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BED4FF79-F2A0-4575-A0C1-486791E2898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5601" y="3537297"/>
            <a:ext cx="4631267" cy="660400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pic>
        <p:nvPicPr>
          <p:cNvPr id="13" name="Picture 3">
            <a:extLst>
              <a:ext uri="{FF2B5EF4-FFF2-40B4-BE49-F238E27FC236}">
                <a16:creationId xmlns:a16="http://schemas.microsoft.com/office/drawing/2014/main" id="{1BD4F3EB-CBB7-49A7-A868-C258360027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0918653" y="181148"/>
            <a:ext cx="1143400" cy="328700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D36A170A-6C4E-4EE9-A434-BE6649BA45EB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tx2"/>
                </a:solidFill>
                <a:latin typeface="Helvetica Neue"/>
              </a:rPr>
              <a:t>CONFIDENTIAL</a:t>
            </a:r>
          </a:p>
        </p:txBody>
      </p:sp>
      <p:pic>
        <p:nvPicPr>
          <p:cNvPr id="9" name="Picture 8" descr="A hand holding a bottle of milk&#10;&#10;Description automatically generated with low confidence">
            <a:extLst>
              <a:ext uri="{FF2B5EF4-FFF2-40B4-BE49-F238E27FC236}">
                <a16:creationId xmlns:a16="http://schemas.microsoft.com/office/drawing/2014/main" id="{BA827291-3ECF-461D-B860-37FB9259D109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9524" y="1426676"/>
            <a:ext cx="3962476" cy="5431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6829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05556E-6 -1.7284E-6 L 0.00018 0.06513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9" y="325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86B4904-4373-4149-AEF8-6DF534E9FC0B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28000">
                <a:schemeClr val="bg1"/>
              </a:gs>
              <a:gs pos="72000">
                <a:srgbClr val="FCC5AA"/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13" name="Picture 12" descr="A picture containing citrus, fruit, orange, half&#10;&#10;Description automatically generated">
            <a:extLst>
              <a:ext uri="{FF2B5EF4-FFF2-40B4-BE49-F238E27FC236}">
                <a16:creationId xmlns:a16="http://schemas.microsoft.com/office/drawing/2014/main" id="{E6439537-5BDE-4674-9ECC-395CDE1925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82478" y="633656"/>
            <a:ext cx="4445000" cy="4445000"/>
          </a:xfrm>
          <a:prstGeom prst="rect">
            <a:avLst/>
          </a:prstGeom>
        </p:spPr>
      </p:pic>
      <p:sp>
        <p:nvSpPr>
          <p:cNvPr id="14" name="TextBox 17">
            <a:extLst>
              <a:ext uri="{FF2B5EF4-FFF2-40B4-BE49-F238E27FC236}">
                <a16:creationId xmlns:a16="http://schemas.microsoft.com/office/drawing/2014/main" id="{2E045464-6F97-4EE4-8694-A57A97322163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rgbClr val="808285"/>
                </a:solidFill>
                <a:latin typeface="Helvetica Neue"/>
              </a:rPr>
              <a:t>CONFIDENTIA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C20EBC86-0DC5-479C-AB19-C8812BF145D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1" y="2384495"/>
            <a:ext cx="4631267" cy="1166107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933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  <a:endParaRPr lang="en-IN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BC8666C-E785-4D31-AB5B-6C1A5969BF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5601" y="3537297"/>
            <a:ext cx="4631267" cy="660400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pic>
        <p:nvPicPr>
          <p:cNvPr id="15" name="Picture 14" descr="A hand holding a bottle of milk&#10;&#10;Description automatically generated with low confidence">
            <a:extLst>
              <a:ext uri="{FF2B5EF4-FFF2-40B4-BE49-F238E27FC236}">
                <a16:creationId xmlns:a16="http://schemas.microsoft.com/office/drawing/2014/main" id="{9C76B0F0-10C7-49B4-A1D1-BB27C21098A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9524" y="1426676"/>
            <a:ext cx="3962476" cy="5431325"/>
          </a:xfrm>
          <a:prstGeom prst="rect">
            <a:avLst/>
          </a:prstGeom>
        </p:spPr>
      </p:pic>
      <p:pic>
        <p:nvPicPr>
          <p:cNvPr id="11" name="Picture 3">
            <a:extLst>
              <a:ext uri="{FF2B5EF4-FFF2-40B4-BE49-F238E27FC236}">
                <a16:creationId xmlns:a16="http://schemas.microsoft.com/office/drawing/2014/main" id="{21D01F89-B501-439D-A25A-6D5717BC35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0918653" y="181148"/>
            <a:ext cx="1143400" cy="32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956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94444E-6 -2.34568E-6 L -0.00121 0.05386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61" y="268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86B4904-4373-4149-AEF8-6DF534E9FC0B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28000">
                <a:schemeClr val="bg1"/>
              </a:gs>
              <a:gs pos="72000">
                <a:srgbClr val="DFE9AD"/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7" name="Picture 6" descr="A picture containing nature, rain&#10;&#10;Description automatically generated">
            <a:extLst>
              <a:ext uri="{FF2B5EF4-FFF2-40B4-BE49-F238E27FC236}">
                <a16:creationId xmlns:a16="http://schemas.microsoft.com/office/drawing/2014/main" id="{FC34D523-E27D-4D5E-8134-83A9763ECE8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16486" y="660400"/>
            <a:ext cx="4546600" cy="4546600"/>
          </a:xfrm>
          <a:prstGeom prst="rect">
            <a:avLst/>
          </a:prstGeom>
        </p:spPr>
      </p:pic>
      <p:sp>
        <p:nvSpPr>
          <p:cNvPr id="13" name="TextBox 17">
            <a:extLst>
              <a:ext uri="{FF2B5EF4-FFF2-40B4-BE49-F238E27FC236}">
                <a16:creationId xmlns:a16="http://schemas.microsoft.com/office/drawing/2014/main" id="{CB9DE1A8-74CD-4EBC-9849-1CCB02EACA68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rgbClr val="808285"/>
                </a:solidFill>
                <a:latin typeface="Helvetica Neue"/>
              </a:rPr>
              <a:t>CONFIDENTIAL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A308AB1-D206-4CAC-9316-5FA54E985A3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1" y="2384495"/>
            <a:ext cx="4631267" cy="1166107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933" dirty="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  <a:endParaRPr lang="en-IN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3FA3692-5CFD-4C3F-AE42-969D372B34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5601" y="3537297"/>
            <a:ext cx="4631267" cy="660400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dirty="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pic>
        <p:nvPicPr>
          <p:cNvPr id="15" name="Picture 14" descr="A hand holding a bottle of milk&#10;&#10;Description automatically generated with low confidence">
            <a:extLst>
              <a:ext uri="{FF2B5EF4-FFF2-40B4-BE49-F238E27FC236}">
                <a16:creationId xmlns:a16="http://schemas.microsoft.com/office/drawing/2014/main" id="{CC837DAF-A6F5-4156-94EE-F9D8523EE68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9524" y="1426676"/>
            <a:ext cx="3962476" cy="5431325"/>
          </a:xfrm>
          <a:prstGeom prst="rect">
            <a:avLst/>
          </a:prstGeom>
        </p:spPr>
      </p:pic>
      <p:pic>
        <p:nvPicPr>
          <p:cNvPr id="11" name="Picture 3">
            <a:extLst>
              <a:ext uri="{FF2B5EF4-FFF2-40B4-BE49-F238E27FC236}">
                <a16:creationId xmlns:a16="http://schemas.microsoft.com/office/drawing/2014/main" id="{84A9C1DF-EA15-468F-923D-39BDA4D69D0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0918653" y="181148"/>
            <a:ext cx="1143400" cy="32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904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16667E-7 2.22222E-6 L -0.00026 0.04259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" y="213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86B4904-4373-4149-AEF8-6DF534E9FC0B}"/>
              </a:ext>
            </a:extLst>
          </p:cNvPr>
          <p:cNvSpPr/>
          <p:nvPr userDrawn="1"/>
        </p:nvSpPr>
        <p:spPr>
          <a:xfrm>
            <a:off x="0" y="-1"/>
            <a:ext cx="12192000" cy="6858001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28000">
                <a:srgbClr val="F4A2AA"/>
              </a:gs>
              <a:gs pos="72000">
                <a:schemeClr val="accent6"/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B6B344A8-F42D-4A90-9BC4-754143BDAA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53200" y="718417"/>
            <a:ext cx="4140200" cy="4140200"/>
          </a:xfrm>
          <a:prstGeom prst="rect">
            <a:avLst/>
          </a:prstGeom>
        </p:spPr>
      </p:pic>
      <p:pic>
        <p:nvPicPr>
          <p:cNvPr id="6" name="Picture 5" descr="A hand holding a bottle of milk&#10;&#10;Description automatically generated with low confidence">
            <a:extLst>
              <a:ext uri="{FF2B5EF4-FFF2-40B4-BE49-F238E27FC236}">
                <a16:creationId xmlns:a16="http://schemas.microsoft.com/office/drawing/2014/main" id="{6224FCB5-DD79-4B7D-8500-5B5169EF835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9524" y="1426676"/>
            <a:ext cx="3962476" cy="5431325"/>
          </a:xfrm>
          <a:prstGeom prst="rect">
            <a:avLst/>
          </a:prstGeom>
        </p:spPr>
      </p:pic>
      <p:sp>
        <p:nvSpPr>
          <p:cNvPr id="10" name="TextBox 17">
            <a:extLst>
              <a:ext uri="{FF2B5EF4-FFF2-40B4-BE49-F238E27FC236}">
                <a16:creationId xmlns:a16="http://schemas.microsoft.com/office/drawing/2014/main" id="{F623FEA3-6A4A-40E5-8F70-09B35126B155}"/>
              </a:ext>
            </a:extLst>
          </p:cNvPr>
          <p:cNvSpPr txBox="1"/>
          <p:nvPr userDrawn="1"/>
        </p:nvSpPr>
        <p:spPr>
          <a:xfrm>
            <a:off x="304800" y="6597683"/>
            <a:ext cx="964623" cy="117725"/>
          </a:xfrm>
          <a:prstGeom prst="rect">
            <a:avLst/>
          </a:prstGeom>
        </p:spPr>
        <p:txBody>
          <a:bodyPr lIns="0" tIns="0" rIns="0" bIns="0" rtlCol="0" anchor="ctr">
            <a:spAutoFit/>
          </a:bodyPr>
          <a:lstStyle/>
          <a:p>
            <a:pPr algn="ctr">
              <a:lnSpc>
                <a:spcPts val="1040"/>
              </a:lnSpc>
            </a:pPr>
            <a:r>
              <a:rPr lang="en-US" sz="800" spc="200">
                <a:solidFill>
                  <a:schemeClr val="bg1"/>
                </a:solidFill>
                <a:latin typeface="Helvetica Neue"/>
              </a:rPr>
              <a:t>CONFIDENTIAL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68E42F84-B82B-4939-9B75-218CFA9A0A2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5601" y="2384495"/>
            <a:ext cx="4631267" cy="1166107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sz="2933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ADD YOUR TEXT HERE</a:t>
            </a:r>
            <a:endParaRPr lang="en-IN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88F974B-CD6C-47A8-A81A-77A2F78D5B4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55601" y="3537297"/>
            <a:ext cx="4631267" cy="660400"/>
          </a:xfrm>
          <a:prstGeom prst="rect">
            <a:avLst/>
          </a:prstGeom>
        </p:spPr>
        <p:txBody>
          <a:bodyPr lIns="0" rIns="0" anchor="ctr"/>
          <a:lstStyle>
            <a:lvl1pPr marL="0" indent="0" algn="l">
              <a:buNone/>
              <a:defRPr lang="en-IN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Your Subtext Goes here</a:t>
            </a:r>
            <a:endParaRPr lang="en-IN"/>
          </a:p>
        </p:txBody>
      </p:sp>
      <p:pic>
        <p:nvPicPr>
          <p:cNvPr id="11" name="Picture 3">
            <a:extLst>
              <a:ext uri="{FF2B5EF4-FFF2-40B4-BE49-F238E27FC236}">
                <a16:creationId xmlns:a16="http://schemas.microsoft.com/office/drawing/2014/main" id="{5E2BEB36-9DD5-4895-A4C1-9FC0E97E74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1728" b="34815"/>
          <a:stretch/>
        </p:blipFill>
        <p:spPr>
          <a:xfrm>
            <a:off x="10918653" y="181148"/>
            <a:ext cx="1143400" cy="328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6726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12 0.07855 L -0.00312 0.1304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9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0314025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-Cov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06A473-E852-43C8-8FFD-BB83C54C89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35050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06A473-E852-43C8-8FFD-BB83C54C89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1DB7FFB-0514-4ED8-B320-3C5958DF4B7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7600" y="2539904"/>
            <a:ext cx="4876800" cy="1218795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7938" indent="-7938" algn="ctr" rtl="0">
              <a:spcBef>
                <a:spcPts val="0"/>
              </a:spcBef>
              <a:buNone/>
              <a:tabLst/>
              <a:defRPr sz="44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FF61DBF5-B6A6-46F1-B618-2D00C743E24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64837" y="4082711"/>
            <a:ext cx="2062327" cy="9662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295810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-Base-PeP+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BEE2250-657D-4F69-894E-9C87094AE8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63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BEE2250-657D-4F69-894E-9C87094AE8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" name="Rectangle 75">
            <a:extLst>
              <a:ext uri="{FF2B5EF4-FFF2-40B4-BE49-F238E27FC236}">
                <a16:creationId xmlns:a16="http://schemas.microsoft.com/office/drawing/2014/main" id="{8CF62913-298D-4A3A-895A-E4D7FE557420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EB672B73-403A-432D-BFC7-AE9B433332D4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Box 84">
            <a:extLst>
              <a:ext uri="{FF2B5EF4-FFF2-40B4-BE49-F238E27FC236}">
                <a16:creationId xmlns:a16="http://schemas.microsoft.com/office/drawing/2014/main" id="{E40EDA1A-1770-4988-9A3E-57325F8B11FC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86" name="Rectangle 85">
            <a:hlinkClick r:id="" action="ppaction://noaction"/>
            <a:extLst>
              <a:ext uri="{FF2B5EF4-FFF2-40B4-BE49-F238E27FC236}">
                <a16:creationId xmlns:a16="http://schemas.microsoft.com/office/drawing/2014/main" id="{939A9B91-04AD-4E05-8A47-D1A7C8452C6B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endParaRPr lang="en-GB" sz="800" b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87" name="Rectangle 86">
            <a:hlinkClick r:id="" action="ppaction://noaction"/>
            <a:extLst>
              <a:ext uri="{FF2B5EF4-FFF2-40B4-BE49-F238E27FC236}">
                <a16:creationId xmlns:a16="http://schemas.microsoft.com/office/drawing/2014/main" id="{A0F5AC8F-3CF6-4E2B-B0CD-C48EEF10E2D5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US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88" name="Rectangle 87">
            <a:hlinkClick r:id="" action="ppaction://noaction"/>
            <a:extLst>
              <a:ext uri="{FF2B5EF4-FFF2-40B4-BE49-F238E27FC236}">
                <a16:creationId xmlns:a16="http://schemas.microsoft.com/office/drawing/2014/main" id="{73696A33-7E5D-4F31-8FFC-6DD76ECB2A87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US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89" name="Rectangle 88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BE4274D9-295C-4257-85A3-CCE74A83C527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GB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4CE33E81-AAA9-49D0-AFF3-00995E309745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0B79AA2F-7511-4B5D-BF3D-23BE51776746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6F437D9E-7B16-4865-891E-506A9F36DB9C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2348AAAB-CDC2-4EE8-BFCE-AD29B4B83C8E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B0B46C1B-37C4-4E96-A89C-628666F643DE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5" name="Group 94">
            <a:extLst>
              <a:ext uri="{FF2B5EF4-FFF2-40B4-BE49-F238E27FC236}">
                <a16:creationId xmlns:a16="http://schemas.microsoft.com/office/drawing/2014/main" id="{6F6ED942-05F7-43B4-BC92-3BFD53192058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69DFAEA4-E5F6-49B2-8610-E5815CBDA667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2BE639AC-5476-4FD0-9F45-775EF51FDDAA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A9252995-26E5-476F-A977-6D9FA77EC977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BA13A009-8F57-47B4-B6F2-DAD5D52ACC34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47638F60-A68F-4741-9026-78AD112F30A1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47086162-B4BF-4AC1-B29A-B2575E3F8FA5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1787D161-5033-4576-A179-169C99392EDE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4536ED49-8E69-42D8-A061-08D7133CF57F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630E1761-B7E4-43F3-9509-2B38081ED3FE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958A50CF-96AF-4F67-A222-FDBDF65402BE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09AAB5C6-278A-4919-8781-16C4C9BC969C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283B1A20-E1C2-4CCA-BA19-02D8DCA6D49F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E8FAB82B-5A71-40F7-A8D3-CA4E6876C86A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132B733B-47EA-4B88-8950-40A7BDC86BEE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0C1BC727-1ECC-4AB1-990A-70C9B3E850B7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0B742EAB-5EA2-4366-A7C5-F3A1E980CC02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C14C4953-C4EA-4B2B-85F2-F9614CBA0BB8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A83D7C64-7EDB-4673-88B7-C4A6EA1EF6A2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4ECD1A07-726C-4FAC-AF8A-779EC4DB3C0E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79B23DE3-910B-4A05-91FA-B830F65654D3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59C4096F-18C9-4E46-9F00-D4D8A7FDD986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DEE240D6-B769-4332-8AA9-239B43A8A98A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85F83BE3-0772-4679-B745-B82C8569F46B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28A4C074-449D-42DB-9572-8F44F140AD7A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B955EF6C-614F-41FE-9895-338B2627DBE6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DB17ADFE-4148-4ADF-90D3-8CC1166A84F9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54272747-B177-4E0F-9944-464B94753D8B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E3C413E4-B9EB-4B12-9F1A-BA74481EC0C5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06522550-CE2F-4F7B-8A32-E1BFCEEF29DC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D97BDD66-B965-4DFA-901B-B902B4ACEF3D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3A244223-DD8A-4719-943C-C9DEA1EEE1C9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34B63145-4493-4044-880A-1F1DDC255A14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5CF83A57-E57A-411D-BD11-B7F5F999F9C0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5163B5F5-741C-43DA-817A-D4838E380787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86AB888A-210E-4A97-865E-99FA28C32B5F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6FF3A098-A6BF-474D-A4C3-0C8F0F6ADC71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BD864B0A-39EC-4F09-9541-51639A9BFC8A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BE5593F5-9CE2-4DE0-92C5-1EE26E889574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2" name="Freeform: Shape 141">
              <a:extLst>
                <a:ext uri="{FF2B5EF4-FFF2-40B4-BE49-F238E27FC236}">
                  <a16:creationId xmlns:a16="http://schemas.microsoft.com/office/drawing/2014/main" id="{66175ED4-0874-4C0D-9C7C-6595139BD439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3" name="Freeform: Shape 142">
              <a:extLst>
                <a:ext uri="{FF2B5EF4-FFF2-40B4-BE49-F238E27FC236}">
                  <a16:creationId xmlns:a16="http://schemas.microsoft.com/office/drawing/2014/main" id="{9D9D9DA8-EF83-412D-BFA9-51B41C7705D8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144" name="Freeform: Shape 143">
              <a:extLst>
                <a:ext uri="{FF2B5EF4-FFF2-40B4-BE49-F238E27FC236}">
                  <a16:creationId xmlns:a16="http://schemas.microsoft.com/office/drawing/2014/main" id="{E1CC2A40-FD01-43C2-AD0F-00F67837E3E7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96" name="Group 95">
            <a:extLst>
              <a:ext uri="{FF2B5EF4-FFF2-40B4-BE49-F238E27FC236}">
                <a16:creationId xmlns:a16="http://schemas.microsoft.com/office/drawing/2014/main" id="{6EF68DC9-6FDA-4CB1-99C7-FD5AABDF02A1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101" name="Rectangle: Rounded Corners 100">
              <a:hlinkClick r:id="" action="ppaction://noaction"/>
              <a:extLst>
                <a:ext uri="{FF2B5EF4-FFF2-40B4-BE49-F238E27FC236}">
                  <a16:creationId xmlns:a16="http://schemas.microsoft.com/office/drawing/2014/main" id="{45BAD32F-7C57-4934-90A5-547E75FC3529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02" name="Rectangle: Rounded Corners 101">
              <a:hlinkClick r:id="" action="ppaction://noaction"/>
              <a:extLst>
                <a:ext uri="{FF2B5EF4-FFF2-40B4-BE49-F238E27FC236}">
                  <a16:creationId xmlns:a16="http://schemas.microsoft.com/office/drawing/2014/main" id="{50F7372E-FEC1-489C-BC45-B261038CED33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103" name="Rectangle: Rounded Corners 102">
              <a:hlinkClick r:id="" action="ppaction://noaction"/>
              <a:extLst>
                <a:ext uri="{FF2B5EF4-FFF2-40B4-BE49-F238E27FC236}">
                  <a16:creationId xmlns:a16="http://schemas.microsoft.com/office/drawing/2014/main" id="{15FCEE39-0EAD-427C-B6CE-D2861D50EFA5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97" name="Rectangle 96">
            <a:hlinkClick r:id="" action="ppaction://noaction"/>
            <a:extLst>
              <a:ext uri="{FF2B5EF4-FFF2-40B4-BE49-F238E27FC236}">
                <a16:creationId xmlns:a16="http://schemas.microsoft.com/office/drawing/2014/main" id="{6E18E4C8-19C4-492F-B0F7-2E55F36ED283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81877F37-9FA2-4AE3-94B9-144B441F5DC2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9" name="Rectangle 98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4B9C2ADE-5A3C-4E75-BD44-3DDC9A62E0E7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GB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65730CC7-5E3B-4FF4-9C32-6155A9E38E6B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 Placeholder 13">
            <a:extLst>
              <a:ext uri="{FF2B5EF4-FFF2-40B4-BE49-F238E27FC236}">
                <a16:creationId xmlns:a16="http://schemas.microsoft.com/office/drawing/2014/main" id="{C5C2C756-4887-4DBC-9325-80D683CDBE55}"/>
              </a:ext>
            </a:extLst>
          </p:cNvPr>
          <p:cNvSpPr>
            <a:spLocks noGrp="1"/>
          </p:cNvSpPr>
          <p:nvPr userDrawn="1">
            <p:ph type="body" sz="quarter" idx="16"/>
          </p:nvPr>
        </p:nvSpPr>
        <p:spPr>
          <a:xfrm>
            <a:off x="300038" y="1323077"/>
            <a:ext cx="11591925" cy="498564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rtl="0">
              <a:buNone/>
              <a:defRPr sz="1200">
                <a:solidFill>
                  <a:schemeClr val="accent2">
                    <a:lumMod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77" name="Title 76">
            <a:extLst>
              <a:ext uri="{FF2B5EF4-FFF2-40B4-BE49-F238E27FC236}">
                <a16:creationId xmlns:a16="http://schemas.microsoft.com/office/drawing/2014/main" id="{18A436BD-7AF5-481F-8E93-328F1A4F9248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00037" y="296863"/>
            <a:ext cx="11591925" cy="3877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defRPr lang="pl-PL" sz="2800" b="1" i="0" kern="1200" dirty="0">
                <a:solidFill>
                  <a:schemeClr val="accent2">
                    <a:lumMod val="50000"/>
                  </a:schemeClr>
                </a:solidFill>
                <a:latin typeface="Leelawadee" panose="020B0502040204020203" pitchFamily="34" charset="-34"/>
                <a:ea typeface="+mn-ea"/>
                <a:cs typeface="Leelawadee" panose="020B0502040204020203" pitchFamily="34" charset="-34"/>
              </a:defRPr>
            </a:lvl1pPr>
          </a:lstStyle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DBFEDF0-EADA-4411-9FF7-F85A7F0E7EBC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498783801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pos="189">
          <p15:clr>
            <a:srgbClr val="FBAE40"/>
          </p15:clr>
        </p15:guide>
        <p15:guide id="4" pos="7491">
          <p15:clr>
            <a:srgbClr val="FBAE40"/>
          </p15:clr>
        </p15:guide>
        <p15:guide id="5" orient="horz" pos="187">
          <p15:clr>
            <a:srgbClr val="FBAE40"/>
          </p15:clr>
        </p15:guide>
        <p15:guide id="6" orient="horz" pos="3974">
          <p15:clr>
            <a:srgbClr val="FBAE40"/>
          </p15:clr>
        </p15:guide>
        <p15:guide id="7" orient="horz" pos="822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-Base-PeP+-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5BEE2250-657D-4F69-894E-9C87094AE8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133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5BEE2250-657D-4F69-894E-9C87094AE8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41AE193C-3E02-4E71-9164-FCB51E1FAE7B}"/>
              </a:ext>
            </a:extLst>
          </p:cNvPr>
          <p:cNvGrpSpPr/>
          <p:nvPr userDrawn="1"/>
        </p:nvGrpSpPr>
        <p:grpSpPr>
          <a:xfrm>
            <a:off x="-433" y="-2180"/>
            <a:ext cx="843047" cy="6860180"/>
            <a:chOff x="-433" y="-2180"/>
            <a:chExt cx="843047" cy="6860180"/>
          </a:xfrm>
        </p:grpSpPr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EA11ACCD-D2C0-4B60-A5BF-8B8F95A5DD8A}"/>
                </a:ext>
              </a:extLst>
            </p:cNvPr>
            <p:cNvSpPr/>
            <p:nvPr userDrawn="1"/>
          </p:nvSpPr>
          <p:spPr>
            <a:xfrm rot="16200000">
              <a:off x="-711389" y="5304430"/>
              <a:ext cx="2264961" cy="842180"/>
            </a:xfrm>
            <a:prstGeom prst="rect">
              <a:avLst/>
            </a:prstGeom>
            <a:solidFill>
              <a:srgbClr val="91DA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noProof="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4426DA49-4A1D-4D9A-8EEE-4BC761E803D0}"/>
                </a:ext>
              </a:extLst>
            </p:cNvPr>
            <p:cNvSpPr/>
            <p:nvPr userDrawn="1"/>
          </p:nvSpPr>
          <p:spPr>
            <a:xfrm rot="16200000">
              <a:off x="-470776" y="5548671"/>
              <a:ext cx="1780103" cy="838550"/>
            </a:xfrm>
            <a:custGeom>
              <a:avLst/>
              <a:gdLst>
                <a:gd name="connsiteX0" fmla="*/ 1780103 w 1780103"/>
                <a:gd name="connsiteY0" fmla="*/ 0 h 838550"/>
                <a:gd name="connsiteX1" fmla="*/ 1773789 w 1780103"/>
                <a:gd name="connsiteY1" fmla="*/ 8444 h 838550"/>
                <a:gd name="connsiteX2" fmla="*/ 263954 w 1780103"/>
                <a:gd name="connsiteY2" fmla="*/ 829967 h 838550"/>
                <a:gd name="connsiteX3" fmla="*/ 163651 w 1780103"/>
                <a:gd name="connsiteY3" fmla="*/ 838550 h 838550"/>
                <a:gd name="connsiteX4" fmla="*/ 0 w 1780103"/>
                <a:gd name="connsiteY4" fmla="*/ 838550 h 838550"/>
                <a:gd name="connsiteX5" fmla="*/ 0 w 1780103"/>
                <a:gd name="connsiteY5" fmla="*/ 0 h 838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80103" h="838550">
                  <a:moveTo>
                    <a:pt x="1780103" y="0"/>
                  </a:moveTo>
                  <a:lnTo>
                    <a:pt x="1773789" y="8444"/>
                  </a:lnTo>
                  <a:cubicBezTo>
                    <a:pt x="1404876" y="455463"/>
                    <a:pt x="870248" y="760654"/>
                    <a:pt x="263954" y="829967"/>
                  </a:cubicBezTo>
                  <a:lnTo>
                    <a:pt x="163651" y="838550"/>
                  </a:lnTo>
                  <a:lnTo>
                    <a:pt x="0" y="8385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FE2F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noProof="0"/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0B8C6E6-C586-4F5C-B65B-F46B5E5D797E}"/>
                </a:ext>
              </a:extLst>
            </p:cNvPr>
            <p:cNvSpPr/>
            <p:nvPr userDrawn="1"/>
          </p:nvSpPr>
          <p:spPr>
            <a:xfrm>
              <a:off x="-1" y="-2180"/>
              <a:ext cx="838551" cy="2298700"/>
            </a:xfrm>
            <a:prstGeom prst="rect">
              <a:avLst/>
            </a:prstGeom>
            <a:solidFill>
              <a:srgbClr val="FFC42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noProof="0"/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E441711E-6DFB-4FDA-8571-0BFB25421CBA}"/>
                </a:ext>
              </a:extLst>
            </p:cNvPr>
            <p:cNvSpPr/>
            <p:nvPr userDrawn="1"/>
          </p:nvSpPr>
          <p:spPr>
            <a:xfrm rot="16200000">
              <a:off x="-729032" y="3026188"/>
              <a:ext cx="2300248" cy="842180"/>
            </a:xfrm>
            <a:prstGeom prst="rect">
              <a:avLst/>
            </a:prstGeom>
            <a:solidFill>
              <a:srgbClr val="006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en-US" noProof="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28953365-91F1-4F6D-A3EE-D82C649ABF8A}"/>
                </a:ext>
              </a:extLst>
            </p:cNvPr>
            <p:cNvSpPr/>
            <p:nvPr userDrawn="1"/>
          </p:nvSpPr>
          <p:spPr>
            <a:xfrm rot="16200000">
              <a:off x="-295536" y="2592693"/>
              <a:ext cx="1433258" cy="842183"/>
            </a:xfrm>
            <a:custGeom>
              <a:avLst/>
              <a:gdLst>
                <a:gd name="connsiteX0" fmla="*/ 1433258 w 1433258"/>
                <a:gd name="connsiteY0" fmla="*/ 0 h 855327"/>
                <a:gd name="connsiteX1" fmla="*/ 1433258 w 1433258"/>
                <a:gd name="connsiteY1" fmla="*/ 855327 h 855327"/>
                <a:gd name="connsiteX2" fmla="*/ 1408956 w 1433258"/>
                <a:gd name="connsiteY2" fmla="*/ 855327 h 855327"/>
                <a:gd name="connsiteX3" fmla="*/ 0 w 1433258"/>
                <a:gd name="connsiteY3" fmla="*/ 0 h 8553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33258" h="855327">
                  <a:moveTo>
                    <a:pt x="1433258" y="0"/>
                  </a:moveTo>
                  <a:lnTo>
                    <a:pt x="1433258" y="855327"/>
                  </a:lnTo>
                  <a:lnTo>
                    <a:pt x="1408956" y="8553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C1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noProof="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7F73D5CE-CC04-4409-AB0F-DD4549864671}"/>
                </a:ext>
              </a:extLst>
            </p:cNvPr>
            <p:cNvSpPr/>
            <p:nvPr userDrawn="1"/>
          </p:nvSpPr>
          <p:spPr>
            <a:xfrm>
              <a:off x="-433" y="0"/>
              <a:ext cx="843047" cy="2298700"/>
            </a:xfrm>
            <a:custGeom>
              <a:avLst/>
              <a:gdLst>
                <a:gd name="connsiteX0" fmla="*/ 0 w 873660"/>
                <a:gd name="connsiteY0" fmla="*/ 0 h 2298700"/>
                <a:gd name="connsiteX1" fmla="*/ 873660 w 873660"/>
                <a:gd name="connsiteY1" fmla="*/ 0 h 2298700"/>
                <a:gd name="connsiteX2" fmla="*/ 873660 w 873660"/>
                <a:gd name="connsiteY2" fmla="*/ 2298700 h 2298700"/>
                <a:gd name="connsiteX3" fmla="*/ 0 w 873660"/>
                <a:gd name="connsiteY3" fmla="*/ 2298700 h 2298700"/>
                <a:gd name="connsiteX4" fmla="*/ 0 w 873660"/>
                <a:gd name="connsiteY4" fmla="*/ 1797162 h 2298700"/>
                <a:gd name="connsiteX5" fmla="*/ 29186 w 873660"/>
                <a:gd name="connsiteY5" fmla="*/ 1775338 h 2298700"/>
                <a:gd name="connsiteX6" fmla="*/ 865699 w 873660"/>
                <a:gd name="connsiteY6" fmla="*/ 1549 h 2298700"/>
                <a:gd name="connsiteX7" fmla="*/ 0 w 873660"/>
                <a:gd name="connsiteY7" fmla="*/ 1549 h 2298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873660" h="2298700">
                  <a:moveTo>
                    <a:pt x="0" y="0"/>
                  </a:moveTo>
                  <a:lnTo>
                    <a:pt x="873660" y="0"/>
                  </a:lnTo>
                  <a:lnTo>
                    <a:pt x="873660" y="2298700"/>
                  </a:lnTo>
                  <a:lnTo>
                    <a:pt x="0" y="2298700"/>
                  </a:lnTo>
                  <a:lnTo>
                    <a:pt x="0" y="1797162"/>
                  </a:lnTo>
                  <a:lnTo>
                    <a:pt x="29186" y="1775338"/>
                  </a:lnTo>
                  <a:cubicBezTo>
                    <a:pt x="540065" y="1353722"/>
                    <a:pt x="865699" y="715664"/>
                    <a:pt x="865699" y="1549"/>
                  </a:cubicBezTo>
                  <a:lnTo>
                    <a:pt x="0" y="1549"/>
                  </a:lnTo>
                  <a:close/>
                </a:path>
              </a:pathLst>
            </a:custGeom>
            <a:solidFill>
              <a:srgbClr val="91DA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noProof="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BC70A6FA-494A-4E9A-947A-2291668C5A68}"/>
                </a:ext>
              </a:extLst>
            </p:cNvPr>
            <p:cNvSpPr/>
            <p:nvPr userDrawn="1"/>
          </p:nvSpPr>
          <p:spPr>
            <a:xfrm>
              <a:off x="0" y="1"/>
              <a:ext cx="827060" cy="171741"/>
            </a:xfrm>
            <a:custGeom>
              <a:avLst/>
              <a:gdLst>
                <a:gd name="connsiteX0" fmla="*/ 0 w 800000"/>
                <a:gd name="connsiteY0" fmla="*/ 0 h 174984"/>
                <a:gd name="connsiteX1" fmla="*/ 800000 w 800000"/>
                <a:gd name="connsiteY1" fmla="*/ 0 h 174984"/>
                <a:gd name="connsiteX2" fmla="*/ 656959 w 800000"/>
                <a:gd name="connsiteY2" fmla="*/ 7223 h 174984"/>
                <a:gd name="connsiteX3" fmla="*/ 208425 w 800000"/>
                <a:gd name="connsiteY3" fmla="*/ 98700 h 174984"/>
                <a:gd name="connsiteX4" fmla="*/ 0 w 800000"/>
                <a:gd name="connsiteY4" fmla="*/ 174984 h 174984"/>
                <a:gd name="connsiteX5" fmla="*/ 0 w 800000"/>
                <a:gd name="connsiteY5" fmla="*/ 0 h 1749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00000" h="174984">
                  <a:moveTo>
                    <a:pt x="0" y="0"/>
                  </a:moveTo>
                  <a:lnTo>
                    <a:pt x="800000" y="0"/>
                  </a:lnTo>
                  <a:lnTo>
                    <a:pt x="656959" y="7223"/>
                  </a:lnTo>
                  <a:cubicBezTo>
                    <a:pt x="502408" y="22918"/>
                    <a:pt x="352383" y="53924"/>
                    <a:pt x="208425" y="98700"/>
                  </a:cubicBezTo>
                  <a:lnTo>
                    <a:pt x="0" y="17498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1DA4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 rtl="0"/>
              <a:endParaRPr lang="en-US" noProof="0"/>
            </a:p>
          </p:txBody>
        </p:sp>
      </p:grp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08BDE832-F45A-42CD-81EE-6B4384BECDE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27125" y="1323077"/>
            <a:ext cx="10764837" cy="4985648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rtl="0">
              <a:buNone/>
              <a:defRPr sz="1200">
                <a:solidFill>
                  <a:schemeClr val="accent2">
                    <a:lumMod val="50000"/>
                  </a:schemeClr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endParaRPr lang="en-US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49FCE2A-9753-4545-A158-BD1998A6C2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23517" y="296863"/>
            <a:ext cx="10768445" cy="387798"/>
          </a:xfrm>
          <a:prstGeom prst="rect">
            <a:avLst/>
          </a:prstGeom>
        </p:spPr>
        <p:txBody>
          <a:bodyPr vert="horz" wrap="square" lIns="0" tIns="0" rIns="0" bIns="0">
            <a:spAutoFit/>
          </a:bodyPr>
          <a:lstStyle>
            <a:lvl1pPr>
              <a:defRPr lang="pl-PL" sz="2800" b="1" i="0" kern="1200" dirty="0">
                <a:solidFill>
                  <a:schemeClr val="accent2">
                    <a:lumMod val="50000"/>
                  </a:schemeClr>
                </a:solidFill>
                <a:latin typeface="Leelawadee" panose="020B0502040204020203" pitchFamily="34" charset="-34"/>
                <a:ea typeface="+mn-ea"/>
                <a:cs typeface="Leelawadee" panose="020B0502040204020203" pitchFamily="34" charset="-34"/>
              </a:defRPr>
            </a:lvl1pPr>
          </a:lstStyle>
          <a:p>
            <a:r>
              <a:rPr lang="en-US"/>
              <a:t>Click to edit Master title style</a:t>
            </a:r>
            <a:endParaRPr lang="pl-PL"/>
          </a:p>
        </p:txBody>
      </p:sp>
      <p:sp>
        <p:nvSpPr>
          <p:cNvPr id="168" name="Rectangle 167">
            <a:extLst>
              <a:ext uri="{FF2B5EF4-FFF2-40B4-BE49-F238E27FC236}">
                <a16:creationId xmlns:a16="http://schemas.microsoft.com/office/drawing/2014/main" id="{2196F8FD-2DB2-4BEC-8C23-D5B9E899C4AE}"/>
              </a:ext>
            </a:extLst>
          </p:cNvPr>
          <p:cNvSpPr/>
          <p:nvPr userDrawn="1"/>
        </p:nvSpPr>
        <p:spPr>
          <a:xfrm>
            <a:off x="0" y="6570000"/>
            <a:ext cx="12192000" cy="28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sz="1100" noProof="0"/>
          </a:p>
        </p:txBody>
      </p:sp>
      <p:cxnSp>
        <p:nvCxnSpPr>
          <p:cNvPr id="169" name="Straight Connector 168">
            <a:extLst>
              <a:ext uri="{FF2B5EF4-FFF2-40B4-BE49-F238E27FC236}">
                <a16:creationId xmlns:a16="http://schemas.microsoft.com/office/drawing/2014/main" id="{67FFE990-C28C-46D3-8237-7FF55858B44A}"/>
              </a:ext>
            </a:extLst>
          </p:cNvPr>
          <p:cNvCxnSpPr/>
          <p:nvPr userDrawn="1"/>
        </p:nvCxnSpPr>
        <p:spPr>
          <a:xfrm>
            <a:off x="634587" y="6570000"/>
            <a:ext cx="0" cy="28800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TextBox 169">
            <a:extLst>
              <a:ext uri="{FF2B5EF4-FFF2-40B4-BE49-F238E27FC236}">
                <a16:creationId xmlns:a16="http://schemas.microsoft.com/office/drawing/2014/main" id="{C48AFF10-1546-4780-8419-38693288A1FD}"/>
              </a:ext>
            </a:extLst>
          </p:cNvPr>
          <p:cNvSpPr txBox="1"/>
          <p:nvPr userDrawn="1"/>
        </p:nvSpPr>
        <p:spPr>
          <a:xfrm>
            <a:off x="806034" y="6650942"/>
            <a:ext cx="389659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rtl="0"/>
            <a:r>
              <a:rPr lang="en-US" sz="800" spc="300" baseline="0" noProof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CONFIDENTIAL &amp; PROPRIETARY</a:t>
            </a:r>
          </a:p>
        </p:txBody>
      </p:sp>
      <p:sp>
        <p:nvSpPr>
          <p:cNvPr id="208" name="Rectangle 207">
            <a:hlinkClick r:id="" action="ppaction://noaction"/>
            <a:extLst>
              <a:ext uri="{FF2B5EF4-FFF2-40B4-BE49-F238E27FC236}">
                <a16:creationId xmlns:a16="http://schemas.microsoft.com/office/drawing/2014/main" id="{DF9E46A6-AB95-4FFE-8E79-829B6BCB9D96}"/>
              </a:ext>
            </a:extLst>
          </p:cNvPr>
          <p:cNvSpPr/>
          <p:nvPr userDrawn="1"/>
        </p:nvSpPr>
        <p:spPr>
          <a:xfrm>
            <a:off x="5214721" y="6579908"/>
            <a:ext cx="114793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lnSpc>
                <a:spcPct val="90000"/>
              </a:lnSpc>
            </a:pPr>
            <a:endParaRPr lang="en-GB" sz="800" b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210" name="Rectangle 209">
            <a:hlinkClick r:id="" action="ppaction://noaction"/>
            <a:extLst>
              <a:ext uri="{FF2B5EF4-FFF2-40B4-BE49-F238E27FC236}">
                <a16:creationId xmlns:a16="http://schemas.microsoft.com/office/drawing/2014/main" id="{3D649761-33E5-4CC7-8AA8-E67031581F73}"/>
              </a:ext>
            </a:extLst>
          </p:cNvPr>
          <p:cNvSpPr/>
          <p:nvPr userDrawn="1"/>
        </p:nvSpPr>
        <p:spPr>
          <a:xfrm>
            <a:off x="6367021" y="6579908"/>
            <a:ext cx="112605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US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211" name="Rectangle 210">
            <a:hlinkClick r:id="" action="ppaction://noaction"/>
            <a:extLst>
              <a:ext uri="{FF2B5EF4-FFF2-40B4-BE49-F238E27FC236}">
                <a16:creationId xmlns:a16="http://schemas.microsoft.com/office/drawing/2014/main" id="{8DA402D8-8F30-4D7E-BCAA-DC8C11701083}"/>
              </a:ext>
            </a:extLst>
          </p:cNvPr>
          <p:cNvSpPr/>
          <p:nvPr userDrawn="1"/>
        </p:nvSpPr>
        <p:spPr>
          <a:xfrm>
            <a:off x="7510981" y="6579908"/>
            <a:ext cx="967705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US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sp>
        <p:nvSpPr>
          <p:cNvPr id="212" name="Rectangle 211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B627BCE0-AB58-4188-A1D0-C2E22239E599}"/>
              </a:ext>
            </a:extLst>
          </p:cNvPr>
          <p:cNvSpPr/>
          <p:nvPr userDrawn="1"/>
        </p:nvSpPr>
        <p:spPr>
          <a:xfrm>
            <a:off x="8544692" y="6579908"/>
            <a:ext cx="994577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GB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cxnSp>
        <p:nvCxnSpPr>
          <p:cNvPr id="213" name="Straight Connector 212">
            <a:extLst>
              <a:ext uri="{FF2B5EF4-FFF2-40B4-BE49-F238E27FC236}">
                <a16:creationId xmlns:a16="http://schemas.microsoft.com/office/drawing/2014/main" id="{187D52BA-BDE3-415A-AEFB-83CC1724F62C}"/>
              </a:ext>
            </a:extLst>
          </p:cNvPr>
          <p:cNvCxnSpPr/>
          <p:nvPr userDrawn="1"/>
        </p:nvCxnSpPr>
        <p:spPr>
          <a:xfrm>
            <a:off x="9539270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>
            <a:extLst>
              <a:ext uri="{FF2B5EF4-FFF2-40B4-BE49-F238E27FC236}">
                <a16:creationId xmlns:a16="http://schemas.microsoft.com/office/drawing/2014/main" id="{F8642A9C-6F6A-4ED1-BED4-9AF84CA129F5}"/>
              </a:ext>
            </a:extLst>
          </p:cNvPr>
          <p:cNvCxnSpPr/>
          <p:nvPr userDrawn="1"/>
        </p:nvCxnSpPr>
        <p:spPr>
          <a:xfrm>
            <a:off x="848143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5" name="Straight Connector 214">
            <a:extLst>
              <a:ext uri="{FF2B5EF4-FFF2-40B4-BE49-F238E27FC236}">
                <a16:creationId xmlns:a16="http://schemas.microsoft.com/office/drawing/2014/main" id="{C1B97F16-3396-4342-801B-3DBEDB58DCC8}"/>
              </a:ext>
            </a:extLst>
          </p:cNvPr>
          <p:cNvCxnSpPr/>
          <p:nvPr userDrawn="1"/>
        </p:nvCxnSpPr>
        <p:spPr>
          <a:xfrm>
            <a:off x="749359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EE468229-F79B-496A-BFC1-68C828600411}"/>
              </a:ext>
            </a:extLst>
          </p:cNvPr>
          <p:cNvCxnSpPr/>
          <p:nvPr userDrawn="1"/>
        </p:nvCxnSpPr>
        <p:spPr>
          <a:xfrm>
            <a:off x="63670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Straight Connector 216">
            <a:extLst>
              <a:ext uri="{FF2B5EF4-FFF2-40B4-BE49-F238E27FC236}">
                <a16:creationId xmlns:a16="http://schemas.microsoft.com/office/drawing/2014/main" id="{8B1D5755-ADCB-472C-85AE-458992AD688F}"/>
              </a:ext>
            </a:extLst>
          </p:cNvPr>
          <p:cNvCxnSpPr/>
          <p:nvPr userDrawn="1"/>
        </p:nvCxnSpPr>
        <p:spPr>
          <a:xfrm>
            <a:off x="11186336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8" name="Group 217">
            <a:extLst>
              <a:ext uri="{FF2B5EF4-FFF2-40B4-BE49-F238E27FC236}">
                <a16:creationId xmlns:a16="http://schemas.microsoft.com/office/drawing/2014/main" id="{5B2B6E0C-D500-4A56-B6B8-2C6547905786}"/>
              </a:ext>
            </a:extLst>
          </p:cNvPr>
          <p:cNvGrpSpPr/>
          <p:nvPr userDrawn="1"/>
        </p:nvGrpSpPr>
        <p:grpSpPr>
          <a:xfrm>
            <a:off x="11393217" y="6628477"/>
            <a:ext cx="473369" cy="183554"/>
            <a:chOff x="11393217" y="6628477"/>
            <a:chExt cx="473369" cy="183554"/>
          </a:xfrm>
        </p:grpSpPr>
        <p:sp>
          <p:nvSpPr>
            <p:cNvPr id="219" name="Freeform: Shape 218">
              <a:extLst>
                <a:ext uri="{FF2B5EF4-FFF2-40B4-BE49-F238E27FC236}">
                  <a16:creationId xmlns:a16="http://schemas.microsoft.com/office/drawing/2014/main" id="{6603F098-5D88-4FE1-AA36-1FD7A7E6E091}"/>
                </a:ext>
              </a:extLst>
            </p:cNvPr>
            <p:cNvSpPr/>
            <p:nvPr/>
          </p:nvSpPr>
          <p:spPr>
            <a:xfrm>
              <a:off x="11432435" y="6628477"/>
              <a:ext cx="90651" cy="18332"/>
            </a:xfrm>
            <a:custGeom>
              <a:avLst/>
              <a:gdLst>
                <a:gd name="connsiteX0" fmla="*/ 11746 w 160635"/>
                <a:gd name="connsiteY0" fmla="*/ 19438 h 32484"/>
                <a:gd name="connsiteX1" fmla="*/ 53842 w 160635"/>
                <a:gd name="connsiteY1" fmla="*/ 32138 h 32484"/>
                <a:gd name="connsiteX2" fmla="*/ 96443 w 160635"/>
                <a:gd name="connsiteY2" fmla="*/ 19438 h 32484"/>
                <a:gd name="connsiteX3" fmla="*/ 138646 w 160635"/>
                <a:gd name="connsiteY3" fmla="*/ 32138 h 32484"/>
                <a:gd name="connsiteX4" fmla="*/ 161624 w 160635"/>
                <a:gd name="connsiteY4" fmla="*/ 25721 h 32484"/>
                <a:gd name="connsiteX5" fmla="*/ 78205 w 160635"/>
                <a:gd name="connsiteY5" fmla="*/ -345 h 32484"/>
                <a:gd name="connsiteX6" fmla="*/ 989 w 160635"/>
                <a:gd name="connsiteY6" fmla="*/ 21648 h 32484"/>
                <a:gd name="connsiteX7" fmla="*/ 11879 w 160635"/>
                <a:gd name="connsiteY7" fmla="*/ 19438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635" h="32484">
                  <a:moveTo>
                    <a:pt x="11746" y="19438"/>
                  </a:moveTo>
                  <a:cubicBezTo>
                    <a:pt x="29798" y="19438"/>
                    <a:pt x="34671" y="32138"/>
                    <a:pt x="53842" y="32138"/>
                  </a:cubicBezTo>
                  <a:cubicBezTo>
                    <a:pt x="73012" y="32138"/>
                    <a:pt x="77645" y="19438"/>
                    <a:pt x="96443" y="19438"/>
                  </a:cubicBezTo>
                  <a:cubicBezTo>
                    <a:pt x="113644" y="19438"/>
                    <a:pt x="120700" y="32138"/>
                    <a:pt x="138646" y="32138"/>
                  </a:cubicBezTo>
                  <a:cubicBezTo>
                    <a:pt x="146732" y="32029"/>
                    <a:pt x="154651" y="29819"/>
                    <a:pt x="161624" y="25721"/>
                  </a:cubicBezTo>
                  <a:cubicBezTo>
                    <a:pt x="137136" y="8707"/>
                    <a:pt x="108023" y="-388"/>
                    <a:pt x="78205" y="-345"/>
                  </a:cubicBezTo>
                  <a:cubicBezTo>
                    <a:pt x="50915" y="-377"/>
                    <a:pt x="24164" y="7240"/>
                    <a:pt x="989" y="21648"/>
                  </a:cubicBezTo>
                  <a:cubicBezTo>
                    <a:pt x="4440" y="20210"/>
                    <a:pt x="8140" y="19459"/>
                    <a:pt x="11879" y="19438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0" name="Freeform: Shape 219">
              <a:extLst>
                <a:ext uri="{FF2B5EF4-FFF2-40B4-BE49-F238E27FC236}">
                  <a16:creationId xmlns:a16="http://schemas.microsoft.com/office/drawing/2014/main" id="{CF6F68CE-AABE-4486-920B-AAE6C04D37A6}"/>
                </a:ext>
              </a:extLst>
            </p:cNvPr>
            <p:cNvSpPr/>
            <p:nvPr/>
          </p:nvSpPr>
          <p:spPr>
            <a:xfrm>
              <a:off x="11432374" y="6628522"/>
              <a:ext cx="90726" cy="18332"/>
            </a:xfrm>
            <a:custGeom>
              <a:avLst/>
              <a:gdLst>
                <a:gd name="connsiteX0" fmla="*/ 78205 w 160768"/>
                <a:gd name="connsiteY0" fmla="*/ -345 h 32484"/>
                <a:gd name="connsiteX1" fmla="*/ 989 w 160768"/>
                <a:gd name="connsiteY1" fmla="*/ 21648 h 32484"/>
                <a:gd name="connsiteX2" fmla="*/ 11879 w 160768"/>
                <a:gd name="connsiteY2" fmla="*/ 19438 h 32484"/>
                <a:gd name="connsiteX3" fmla="*/ 53975 w 160768"/>
                <a:gd name="connsiteY3" fmla="*/ 32138 h 32484"/>
                <a:gd name="connsiteX4" fmla="*/ 96577 w 160768"/>
                <a:gd name="connsiteY4" fmla="*/ 19438 h 32484"/>
                <a:gd name="connsiteX5" fmla="*/ 138806 w 160768"/>
                <a:gd name="connsiteY5" fmla="*/ 32138 h 32484"/>
                <a:gd name="connsiteX6" fmla="*/ 161757 w 160768"/>
                <a:gd name="connsiteY6" fmla="*/ 25722 h 32484"/>
                <a:gd name="connsiteX7" fmla="*/ 78338 w 160768"/>
                <a:gd name="connsiteY7" fmla="*/ -345 h 324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0768" h="32484">
                  <a:moveTo>
                    <a:pt x="78205" y="-345"/>
                  </a:moveTo>
                  <a:cubicBezTo>
                    <a:pt x="50915" y="-377"/>
                    <a:pt x="24164" y="7240"/>
                    <a:pt x="989" y="21648"/>
                  </a:cubicBezTo>
                  <a:cubicBezTo>
                    <a:pt x="4439" y="20210"/>
                    <a:pt x="8140" y="19459"/>
                    <a:pt x="11879" y="19438"/>
                  </a:cubicBezTo>
                  <a:cubicBezTo>
                    <a:pt x="29931" y="19438"/>
                    <a:pt x="34804" y="32138"/>
                    <a:pt x="53975" y="32138"/>
                  </a:cubicBezTo>
                  <a:cubicBezTo>
                    <a:pt x="73146" y="32138"/>
                    <a:pt x="77778" y="19438"/>
                    <a:pt x="96577" y="19438"/>
                  </a:cubicBezTo>
                  <a:cubicBezTo>
                    <a:pt x="113777" y="19438"/>
                    <a:pt x="120833" y="32138"/>
                    <a:pt x="138806" y="32138"/>
                  </a:cubicBezTo>
                  <a:cubicBezTo>
                    <a:pt x="146884" y="32027"/>
                    <a:pt x="154792" y="29814"/>
                    <a:pt x="161757" y="25722"/>
                  </a:cubicBezTo>
                  <a:cubicBezTo>
                    <a:pt x="137269" y="8707"/>
                    <a:pt x="108156" y="-388"/>
                    <a:pt x="78338" y="-345"/>
                  </a:cubicBezTo>
                </a:path>
              </a:pathLst>
            </a:custGeom>
            <a:solidFill>
              <a:srgbClr val="BAF2FA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1" name="Freeform: Shape 220">
              <a:extLst>
                <a:ext uri="{FF2B5EF4-FFF2-40B4-BE49-F238E27FC236}">
                  <a16:creationId xmlns:a16="http://schemas.microsoft.com/office/drawing/2014/main" id="{34CD57F0-B8C5-4A4E-8D94-A66B166798BC}"/>
                </a:ext>
              </a:extLst>
            </p:cNvPr>
            <p:cNvSpPr/>
            <p:nvPr/>
          </p:nvSpPr>
          <p:spPr>
            <a:xfrm>
              <a:off x="11427415" y="6639597"/>
              <a:ext cx="108562" cy="21802"/>
            </a:xfrm>
            <a:custGeom>
              <a:avLst/>
              <a:gdLst>
                <a:gd name="connsiteX0" fmla="*/ 105230 w 192373"/>
                <a:gd name="connsiteY0" fmla="*/ -266 h 38634"/>
                <a:gd name="connsiteX1" fmla="*/ 62628 w 192373"/>
                <a:gd name="connsiteY1" fmla="*/ 12435 h 38634"/>
                <a:gd name="connsiteX2" fmla="*/ 20532 w 192373"/>
                <a:gd name="connsiteY2" fmla="*/ -266 h 38634"/>
                <a:gd name="connsiteX3" fmla="*/ 9642 w 192373"/>
                <a:gd name="connsiteY3" fmla="*/ 1944 h 38634"/>
                <a:gd name="connsiteX4" fmla="*/ 989 w 192373"/>
                <a:gd name="connsiteY4" fmla="*/ 7775 h 38634"/>
                <a:gd name="connsiteX5" fmla="*/ 21171 w 192373"/>
                <a:gd name="connsiteY5" fmla="*/ 25615 h 38634"/>
                <a:gd name="connsiteX6" fmla="*/ 62628 w 192373"/>
                <a:gd name="connsiteY6" fmla="*/ 38289 h 38634"/>
                <a:gd name="connsiteX7" fmla="*/ 105230 w 192373"/>
                <a:gd name="connsiteY7" fmla="*/ 25588 h 38634"/>
                <a:gd name="connsiteX8" fmla="*/ 147459 w 192373"/>
                <a:gd name="connsiteY8" fmla="*/ 38289 h 38634"/>
                <a:gd name="connsiteX9" fmla="*/ 190700 w 192373"/>
                <a:gd name="connsiteY9" fmla="*/ 25588 h 38634"/>
                <a:gd name="connsiteX10" fmla="*/ 193363 w 192373"/>
                <a:gd name="connsiteY10" fmla="*/ 25588 h 38634"/>
                <a:gd name="connsiteX11" fmla="*/ 170438 w 192373"/>
                <a:gd name="connsiteY11" fmla="*/ 5938 h 38634"/>
                <a:gd name="connsiteX12" fmla="*/ 147486 w 192373"/>
                <a:gd name="connsiteY12" fmla="*/ 12355 h 38634"/>
                <a:gd name="connsiteX13" fmla="*/ 105257 w 192373"/>
                <a:gd name="connsiteY13" fmla="*/ -346 h 386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2373" h="38634">
                  <a:moveTo>
                    <a:pt x="105230" y="-266"/>
                  </a:moveTo>
                  <a:cubicBezTo>
                    <a:pt x="86592" y="-266"/>
                    <a:pt x="81799" y="12435"/>
                    <a:pt x="62628" y="12435"/>
                  </a:cubicBezTo>
                  <a:cubicBezTo>
                    <a:pt x="43457" y="12435"/>
                    <a:pt x="38665" y="-266"/>
                    <a:pt x="20532" y="-266"/>
                  </a:cubicBezTo>
                  <a:cubicBezTo>
                    <a:pt x="16794" y="-244"/>
                    <a:pt x="13093" y="506"/>
                    <a:pt x="9642" y="1944"/>
                  </a:cubicBezTo>
                  <a:cubicBezTo>
                    <a:pt x="6687" y="3781"/>
                    <a:pt x="3785" y="5725"/>
                    <a:pt x="989" y="7775"/>
                  </a:cubicBezTo>
                  <a:cubicBezTo>
                    <a:pt x="8031" y="13356"/>
                    <a:pt x="14768" y="19312"/>
                    <a:pt x="21171" y="25615"/>
                  </a:cubicBezTo>
                  <a:cubicBezTo>
                    <a:pt x="38691" y="25908"/>
                    <a:pt x="43697" y="38289"/>
                    <a:pt x="62628" y="38289"/>
                  </a:cubicBezTo>
                  <a:cubicBezTo>
                    <a:pt x="81559" y="38289"/>
                    <a:pt x="86432" y="25588"/>
                    <a:pt x="105230" y="25588"/>
                  </a:cubicBezTo>
                  <a:cubicBezTo>
                    <a:pt x="122431" y="25588"/>
                    <a:pt x="129487" y="38289"/>
                    <a:pt x="147459" y="38289"/>
                  </a:cubicBezTo>
                  <a:cubicBezTo>
                    <a:pt x="167456" y="38289"/>
                    <a:pt x="173872" y="25588"/>
                    <a:pt x="190700" y="25588"/>
                  </a:cubicBezTo>
                  <a:cubicBezTo>
                    <a:pt x="191632" y="25588"/>
                    <a:pt x="192484" y="25588"/>
                    <a:pt x="193363" y="25588"/>
                  </a:cubicBezTo>
                  <a:cubicBezTo>
                    <a:pt x="186416" y="18269"/>
                    <a:pt x="178734" y="11684"/>
                    <a:pt x="170438" y="5938"/>
                  </a:cubicBezTo>
                  <a:cubicBezTo>
                    <a:pt x="163472" y="10031"/>
                    <a:pt x="155564" y="12243"/>
                    <a:pt x="147486" y="12355"/>
                  </a:cubicBezTo>
                  <a:cubicBezTo>
                    <a:pt x="129513" y="12355"/>
                    <a:pt x="122457" y="-346"/>
                    <a:pt x="105257" y="-346"/>
                  </a:cubicBezTo>
                </a:path>
              </a:pathLst>
            </a:custGeom>
            <a:solidFill>
              <a:srgbClr val="4FE3F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2" name="Freeform: Shape 221">
              <a:extLst>
                <a:ext uri="{FF2B5EF4-FFF2-40B4-BE49-F238E27FC236}">
                  <a16:creationId xmlns:a16="http://schemas.microsoft.com/office/drawing/2014/main" id="{FE126DE7-1FFD-40AA-8223-8DC5E5D3255C}"/>
                </a:ext>
              </a:extLst>
            </p:cNvPr>
            <p:cNvSpPr/>
            <p:nvPr/>
          </p:nvSpPr>
          <p:spPr>
            <a:xfrm>
              <a:off x="11438745" y="6654277"/>
              <a:ext cx="111537" cy="22389"/>
            </a:xfrm>
            <a:custGeom>
              <a:avLst/>
              <a:gdLst>
                <a:gd name="connsiteX0" fmla="*/ 127250 w 197645"/>
                <a:gd name="connsiteY0" fmla="*/ 12355 h 39673"/>
                <a:gd name="connsiteX1" fmla="*/ 85048 w 197645"/>
                <a:gd name="connsiteY1" fmla="*/ -346 h 39673"/>
                <a:gd name="connsiteX2" fmla="*/ 42446 w 197645"/>
                <a:gd name="connsiteY2" fmla="*/ 12355 h 39673"/>
                <a:gd name="connsiteX3" fmla="*/ 989 w 197645"/>
                <a:gd name="connsiteY3" fmla="*/ -319 h 39673"/>
                <a:gd name="connsiteX4" fmla="*/ 24233 w 197645"/>
                <a:gd name="connsiteY4" fmla="*/ 25881 h 39673"/>
                <a:gd name="connsiteX5" fmla="*/ 33100 w 197645"/>
                <a:gd name="connsiteY5" fmla="*/ 38209 h 39673"/>
                <a:gd name="connsiteX6" fmla="*/ 42446 w 197645"/>
                <a:gd name="connsiteY6" fmla="*/ 39327 h 39673"/>
                <a:gd name="connsiteX7" fmla="*/ 85048 w 197645"/>
                <a:gd name="connsiteY7" fmla="*/ 26627 h 39673"/>
                <a:gd name="connsiteX8" fmla="*/ 127250 w 197645"/>
                <a:gd name="connsiteY8" fmla="*/ 39327 h 39673"/>
                <a:gd name="connsiteX9" fmla="*/ 170517 w 197645"/>
                <a:gd name="connsiteY9" fmla="*/ 26627 h 39673"/>
                <a:gd name="connsiteX10" fmla="*/ 198635 w 197645"/>
                <a:gd name="connsiteY10" fmla="*/ 36478 h 39673"/>
                <a:gd name="connsiteX11" fmla="*/ 173153 w 197645"/>
                <a:gd name="connsiteY11" fmla="*/ -266 h 39673"/>
                <a:gd name="connsiteX12" fmla="*/ 170491 w 197645"/>
                <a:gd name="connsiteY12" fmla="*/ -266 h 39673"/>
                <a:gd name="connsiteX13" fmla="*/ 127223 w 197645"/>
                <a:gd name="connsiteY13" fmla="*/ 12435 h 396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97645" h="39673">
                  <a:moveTo>
                    <a:pt x="127250" y="12355"/>
                  </a:moveTo>
                  <a:cubicBezTo>
                    <a:pt x="109304" y="12355"/>
                    <a:pt x="102248" y="-346"/>
                    <a:pt x="85048" y="-346"/>
                  </a:cubicBezTo>
                  <a:cubicBezTo>
                    <a:pt x="66409" y="-346"/>
                    <a:pt x="61616" y="12355"/>
                    <a:pt x="42446" y="12355"/>
                  </a:cubicBezTo>
                  <a:cubicBezTo>
                    <a:pt x="23275" y="12355"/>
                    <a:pt x="18482" y="-26"/>
                    <a:pt x="989" y="-319"/>
                  </a:cubicBezTo>
                  <a:cubicBezTo>
                    <a:pt x="9333" y="7866"/>
                    <a:pt x="17100" y="16621"/>
                    <a:pt x="24233" y="25881"/>
                  </a:cubicBezTo>
                  <a:cubicBezTo>
                    <a:pt x="27295" y="29902"/>
                    <a:pt x="30277" y="34002"/>
                    <a:pt x="33100" y="38209"/>
                  </a:cubicBezTo>
                  <a:cubicBezTo>
                    <a:pt x="36157" y="38971"/>
                    <a:pt x="39296" y="39346"/>
                    <a:pt x="42446" y="39327"/>
                  </a:cubicBezTo>
                  <a:cubicBezTo>
                    <a:pt x="61510" y="39327"/>
                    <a:pt x="66249" y="26627"/>
                    <a:pt x="85048" y="26627"/>
                  </a:cubicBezTo>
                  <a:cubicBezTo>
                    <a:pt x="102248" y="26627"/>
                    <a:pt x="109304" y="39327"/>
                    <a:pt x="127250" y="39327"/>
                  </a:cubicBezTo>
                  <a:cubicBezTo>
                    <a:pt x="147273" y="39327"/>
                    <a:pt x="153690" y="26627"/>
                    <a:pt x="170517" y="26627"/>
                  </a:cubicBezTo>
                  <a:cubicBezTo>
                    <a:pt x="184283" y="26627"/>
                    <a:pt x="189635" y="32245"/>
                    <a:pt x="198635" y="36478"/>
                  </a:cubicBezTo>
                  <a:cubicBezTo>
                    <a:pt x="192063" y="23003"/>
                    <a:pt x="183471" y="10611"/>
                    <a:pt x="173153" y="-266"/>
                  </a:cubicBezTo>
                  <a:cubicBezTo>
                    <a:pt x="172301" y="-266"/>
                    <a:pt x="171449" y="-266"/>
                    <a:pt x="170491" y="-266"/>
                  </a:cubicBezTo>
                  <a:cubicBezTo>
                    <a:pt x="153663" y="-266"/>
                    <a:pt x="147246" y="12435"/>
                    <a:pt x="127223" y="12435"/>
                  </a:cubicBezTo>
                </a:path>
              </a:pathLst>
            </a:custGeom>
            <a:solidFill>
              <a:srgbClr val="0066E5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3" name="Freeform: Shape 222">
              <a:extLst>
                <a:ext uri="{FF2B5EF4-FFF2-40B4-BE49-F238E27FC236}">
                  <a16:creationId xmlns:a16="http://schemas.microsoft.com/office/drawing/2014/main" id="{B4358C46-F35C-4880-824C-A4D50C1E2A87}"/>
                </a:ext>
              </a:extLst>
            </p:cNvPr>
            <p:cNvSpPr/>
            <p:nvPr/>
          </p:nvSpPr>
          <p:spPr>
            <a:xfrm>
              <a:off x="11456867" y="6669498"/>
              <a:ext cx="99186" cy="29390"/>
            </a:xfrm>
            <a:custGeom>
              <a:avLst/>
              <a:gdLst>
                <a:gd name="connsiteX0" fmla="*/ 95139 w 175759"/>
                <a:gd name="connsiteY0" fmla="*/ 12355 h 52080"/>
                <a:gd name="connsiteX1" fmla="*/ 52936 w 175759"/>
                <a:gd name="connsiteY1" fmla="*/ -346 h 52080"/>
                <a:gd name="connsiteX2" fmla="*/ 10335 w 175759"/>
                <a:gd name="connsiteY2" fmla="*/ 12355 h 52080"/>
                <a:gd name="connsiteX3" fmla="*/ 989 w 175759"/>
                <a:gd name="connsiteY3" fmla="*/ 11210 h 52080"/>
                <a:gd name="connsiteX4" fmla="*/ 23248 w 175759"/>
                <a:gd name="connsiteY4" fmla="*/ 51735 h 52080"/>
                <a:gd name="connsiteX5" fmla="*/ 22929 w 175759"/>
                <a:gd name="connsiteY5" fmla="*/ 50963 h 52080"/>
                <a:gd name="connsiteX6" fmla="*/ 110183 w 175759"/>
                <a:gd name="connsiteY6" fmla="*/ 22633 h 52080"/>
                <a:gd name="connsiteX7" fmla="*/ 176748 w 175759"/>
                <a:gd name="connsiteY7" fmla="*/ 38262 h 52080"/>
                <a:gd name="connsiteX8" fmla="*/ 166310 w 175759"/>
                <a:gd name="connsiteY8" fmla="*/ 9506 h 52080"/>
                <a:gd name="connsiteX9" fmla="*/ 138193 w 175759"/>
                <a:gd name="connsiteY9" fmla="*/ -346 h 52080"/>
                <a:gd name="connsiteX10" fmla="*/ 94926 w 175759"/>
                <a:gd name="connsiteY10" fmla="*/ 12355 h 520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5759" h="52080">
                  <a:moveTo>
                    <a:pt x="95139" y="12355"/>
                  </a:moveTo>
                  <a:cubicBezTo>
                    <a:pt x="77193" y="12355"/>
                    <a:pt x="70137" y="-346"/>
                    <a:pt x="52936" y="-346"/>
                  </a:cubicBezTo>
                  <a:cubicBezTo>
                    <a:pt x="34298" y="-346"/>
                    <a:pt x="29505" y="12355"/>
                    <a:pt x="10335" y="12355"/>
                  </a:cubicBezTo>
                  <a:cubicBezTo>
                    <a:pt x="7182" y="12379"/>
                    <a:pt x="4043" y="11993"/>
                    <a:pt x="989" y="11210"/>
                  </a:cubicBezTo>
                  <a:cubicBezTo>
                    <a:pt x="9634" y="24007"/>
                    <a:pt x="17087" y="37573"/>
                    <a:pt x="23248" y="51735"/>
                  </a:cubicBezTo>
                  <a:lnTo>
                    <a:pt x="22929" y="50963"/>
                  </a:lnTo>
                  <a:cubicBezTo>
                    <a:pt x="48205" y="32375"/>
                    <a:pt x="78806" y="22438"/>
                    <a:pt x="110183" y="22633"/>
                  </a:cubicBezTo>
                  <a:cubicBezTo>
                    <a:pt x="133286" y="22574"/>
                    <a:pt x="156083" y="27926"/>
                    <a:pt x="176748" y="38262"/>
                  </a:cubicBezTo>
                  <a:cubicBezTo>
                    <a:pt x="174298" y="28333"/>
                    <a:pt x="170800" y="18695"/>
                    <a:pt x="166310" y="9506"/>
                  </a:cubicBezTo>
                  <a:cubicBezTo>
                    <a:pt x="157311" y="5273"/>
                    <a:pt x="151959" y="-346"/>
                    <a:pt x="138193" y="-346"/>
                  </a:cubicBezTo>
                  <a:cubicBezTo>
                    <a:pt x="121365" y="-346"/>
                    <a:pt x="114949" y="12355"/>
                    <a:pt x="94926" y="12355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4" name="Freeform: Shape 223">
              <a:extLst>
                <a:ext uri="{FF2B5EF4-FFF2-40B4-BE49-F238E27FC236}">
                  <a16:creationId xmlns:a16="http://schemas.microsoft.com/office/drawing/2014/main" id="{3A994DF6-054F-40F6-869D-5DCF92AF54E8}"/>
                </a:ext>
              </a:extLst>
            </p:cNvPr>
            <p:cNvSpPr/>
            <p:nvPr/>
          </p:nvSpPr>
          <p:spPr>
            <a:xfrm>
              <a:off x="11469428" y="6682464"/>
              <a:ext cx="88352" cy="28821"/>
            </a:xfrm>
            <a:custGeom>
              <a:avLst/>
              <a:gdLst>
                <a:gd name="connsiteX0" fmla="*/ 154808 w 156561"/>
                <a:gd name="connsiteY0" fmla="*/ 15287 h 51071"/>
                <a:gd name="connsiteX1" fmla="*/ 88243 w 156561"/>
                <a:gd name="connsiteY1" fmla="*/ -343 h 51071"/>
                <a:gd name="connsiteX2" fmla="*/ 989 w 156561"/>
                <a:gd name="connsiteY2" fmla="*/ 27987 h 51071"/>
                <a:gd name="connsiteX3" fmla="*/ 1308 w 156561"/>
                <a:gd name="connsiteY3" fmla="*/ 28760 h 51071"/>
                <a:gd name="connsiteX4" fmla="*/ 2533 w 156561"/>
                <a:gd name="connsiteY4" fmla="*/ 31635 h 51071"/>
                <a:gd name="connsiteX5" fmla="*/ 3172 w 156561"/>
                <a:gd name="connsiteY5" fmla="*/ 33153 h 51071"/>
                <a:gd name="connsiteX6" fmla="*/ 5568 w 156561"/>
                <a:gd name="connsiteY6" fmla="*/ 39170 h 51071"/>
                <a:gd name="connsiteX7" fmla="*/ 5888 w 156561"/>
                <a:gd name="connsiteY7" fmla="*/ 40049 h 51071"/>
                <a:gd name="connsiteX8" fmla="*/ 6740 w 156561"/>
                <a:gd name="connsiteY8" fmla="*/ 42339 h 51071"/>
                <a:gd name="connsiteX9" fmla="*/ 7619 w 156561"/>
                <a:gd name="connsiteY9" fmla="*/ 44709 h 51071"/>
                <a:gd name="connsiteX10" fmla="*/ 8364 w 156561"/>
                <a:gd name="connsiteY10" fmla="*/ 46892 h 51071"/>
                <a:gd name="connsiteX11" fmla="*/ 9269 w 156561"/>
                <a:gd name="connsiteY11" fmla="*/ 49555 h 51071"/>
                <a:gd name="connsiteX12" fmla="*/ 9669 w 156561"/>
                <a:gd name="connsiteY12" fmla="*/ 50726 h 51071"/>
                <a:gd name="connsiteX13" fmla="*/ 88243 w 156561"/>
                <a:gd name="connsiteY13" fmla="*/ 28360 h 51071"/>
                <a:gd name="connsiteX14" fmla="*/ 109544 w 156561"/>
                <a:gd name="connsiteY14" fmla="*/ 29825 h 51071"/>
                <a:gd name="connsiteX15" fmla="*/ 112606 w 156561"/>
                <a:gd name="connsiteY15" fmla="*/ 30038 h 51071"/>
                <a:gd name="connsiteX16" fmla="*/ 112925 w 156561"/>
                <a:gd name="connsiteY16" fmla="*/ 30038 h 51071"/>
                <a:gd name="connsiteX17" fmla="*/ 113378 w 156561"/>
                <a:gd name="connsiteY17" fmla="*/ 30038 h 51071"/>
                <a:gd name="connsiteX18" fmla="*/ 116040 w 156561"/>
                <a:gd name="connsiteY18" fmla="*/ 30677 h 51071"/>
                <a:gd name="connsiteX19" fmla="*/ 116040 w 156561"/>
                <a:gd name="connsiteY19" fmla="*/ 30677 h 51071"/>
                <a:gd name="connsiteX20" fmla="*/ 123256 w 156561"/>
                <a:gd name="connsiteY20" fmla="*/ 18722 h 51071"/>
                <a:gd name="connsiteX21" fmla="*/ 139232 w 156561"/>
                <a:gd name="connsiteY21" fmla="*/ 15873 h 51071"/>
                <a:gd name="connsiteX22" fmla="*/ 139232 w 156561"/>
                <a:gd name="connsiteY22" fmla="*/ 15873 h 51071"/>
                <a:gd name="connsiteX23" fmla="*/ 140536 w 156561"/>
                <a:gd name="connsiteY23" fmla="*/ 37520 h 51071"/>
                <a:gd name="connsiteX24" fmla="*/ 150015 w 156561"/>
                <a:gd name="connsiteY24" fmla="*/ 29691 h 51071"/>
                <a:gd name="connsiteX25" fmla="*/ 157550 w 156561"/>
                <a:gd name="connsiteY25" fmla="*/ 29212 h 51071"/>
                <a:gd name="connsiteX26" fmla="*/ 154888 w 156561"/>
                <a:gd name="connsiteY26" fmla="*/ 15180 h 510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56561" h="51071">
                  <a:moveTo>
                    <a:pt x="154808" y="15287"/>
                  </a:moveTo>
                  <a:cubicBezTo>
                    <a:pt x="134143" y="4950"/>
                    <a:pt x="111346" y="-401"/>
                    <a:pt x="88243" y="-343"/>
                  </a:cubicBezTo>
                  <a:cubicBezTo>
                    <a:pt x="56866" y="-537"/>
                    <a:pt x="26265" y="9400"/>
                    <a:pt x="989" y="27987"/>
                  </a:cubicBezTo>
                  <a:lnTo>
                    <a:pt x="1308" y="28760"/>
                  </a:lnTo>
                  <a:cubicBezTo>
                    <a:pt x="1734" y="29718"/>
                    <a:pt x="2134" y="30677"/>
                    <a:pt x="2533" y="31635"/>
                  </a:cubicBezTo>
                  <a:lnTo>
                    <a:pt x="3172" y="33153"/>
                  </a:lnTo>
                  <a:cubicBezTo>
                    <a:pt x="3997" y="35150"/>
                    <a:pt x="4796" y="37147"/>
                    <a:pt x="5568" y="39170"/>
                  </a:cubicBezTo>
                  <a:lnTo>
                    <a:pt x="5888" y="40049"/>
                  </a:lnTo>
                  <a:cubicBezTo>
                    <a:pt x="6181" y="40821"/>
                    <a:pt x="6474" y="41593"/>
                    <a:pt x="6740" y="42339"/>
                  </a:cubicBezTo>
                  <a:lnTo>
                    <a:pt x="7619" y="44709"/>
                  </a:lnTo>
                  <a:cubicBezTo>
                    <a:pt x="7858" y="45454"/>
                    <a:pt x="8124" y="46173"/>
                    <a:pt x="8364" y="46892"/>
                  </a:cubicBezTo>
                  <a:cubicBezTo>
                    <a:pt x="8604" y="47611"/>
                    <a:pt x="8977" y="48649"/>
                    <a:pt x="9269" y="49555"/>
                  </a:cubicBezTo>
                  <a:lnTo>
                    <a:pt x="9669" y="50726"/>
                  </a:lnTo>
                  <a:cubicBezTo>
                    <a:pt x="33212" y="35978"/>
                    <a:pt x="60461" y="28222"/>
                    <a:pt x="88243" y="28360"/>
                  </a:cubicBezTo>
                  <a:cubicBezTo>
                    <a:pt x="95368" y="28358"/>
                    <a:pt x="102485" y="28847"/>
                    <a:pt x="109544" y="29825"/>
                  </a:cubicBezTo>
                  <a:cubicBezTo>
                    <a:pt x="110569" y="29835"/>
                    <a:pt x="111591" y="29907"/>
                    <a:pt x="112606" y="30038"/>
                  </a:cubicBezTo>
                  <a:lnTo>
                    <a:pt x="112925" y="30038"/>
                  </a:lnTo>
                  <a:lnTo>
                    <a:pt x="113378" y="30038"/>
                  </a:lnTo>
                  <a:cubicBezTo>
                    <a:pt x="114278" y="30189"/>
                    <a:pt x="115170" y="30402"/>
                    <a:pt x="116040" y="30677"/>
                  </a:cubicBezTo>
                  <a:lnTo>
                    <a:pt x="116040" y="30677"/>
                  </a:lnTo>
                  <a:cubicBezTo>
                    <a:pt x="116123" y="25684"/>
                    <a:pt x="118879" y="21121"/>
                    <a:pt x="123256" y="18722"/>
                  </a:cubicBezTo>
                  <a:cubicBezTo>
                    <a:pt x="129460" y="14994"/>
                    <a:pt x="139232" y="15873"/>
                    <a:pt x="139232" y="15873"/>
                  </a:cubicBezTo>
                  <a:lnTo>
                    <a:pt x="139232" y="15873"/>
                  </a:lnTo>
                  <a:cubicBezTo>
                    <a:pt x="140068" y="23059"/>
                    <a:pt x="140504" y="30285"/>
                    <a:pt x="140536" y="37520"/>
                  </a:cubicBezTo>
                  <a:cubicBezTo>
                    <a:pt x="142291" y="33566"/>
                    <a:pt x="145800" y="30666"/>
                    <a:pt x="150015" y="29691"/>
                  </a:cubicBezTo>
                  <a:cubicBezTo>
                    <a:pt x="152483" y="29124"/>
                    <a:pt x="155029" y="28962"/>
                    <a:pt x="157550" y="29212"/>
                  </a:cubicBezTo>
                  <a:cubicBezTo>
                    <a:pt x="156858" y="24446"/>
                    <a:pt x="155953" y="19787"/>
                    <a:pt x="154888" y="15180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5" name="Freeform: Shape 224">
              <a:extLst>
                <a:ext uri="{FF2B5EF4-FFF2-40B4-BE49-F238E27FC236}">
                  <a16:creationId xmlns:a16="http://schemas.microsoft.com/office/drawing/2014/main" id="{96BDED57-2C5E-4269-B465-D1303724C33A}"/>
                </a:ext>
              </a:extLst>
            </p:cNvPr>
            <p:cNvSpPr/>
            <p:nvPr/>
          </p:nvSpPr>
          <p:spPr>
            <a:xfrm>
              <a:off x="11474267" y="6698648"/>
              <a:ext cx="56271" cy="28174"/>
            </a:xfrm>
            <a:custGeom>
              <a:avLst/>
              <a:gdLst>
                <a:gd name="connsiteX0" fmla="*/ 79563 w 99714"/>
                <a:gd name="connsiteY0" fmla="*/ -344 h 49925"/>
                <a:gd name="connsiteX1" fmla="*/ 989 w 99714"/>
                <a:gd name="connsiteY1" fmla="*/ 22022 h 49925"/>
                <a:gd name="connsiteX2" fmla="*/ 1228 w 99714"/>
                <a:gd name="connsiteY2" fmla="*/ 22821 h 49925"/>
                <a:gd name="connsiteX3" fmla="*/ 2373 w 99714"/>
                <a:gd name="connsiteY3" fmla="*/ 26442 h 49925"/>
                <a:gd name="connsiteX4" fmla="*/ 2773 w 99714"/>
                <a:gd name="connsiteY4" fmla="*/ 27694 h 49925"/>
                <a:gd name="connsiteX5" fmla="*/ 4184 w 99714"/>
                <a:gd name="connsiteY5" fmla="*/ 32540 h 49925"/>
                <a:gd name="connsiteX6" fmla="*/ 4610 w 99714"/>
                <a:gd name="connsiteY6" fmla="*/ 34137 h 49925"/>
                <a:gd name="connsiteX7" fmla="*/ 5515 w 99714"/>
                <a:gd name="connsiteY7" fmla="*/ 37545 h 49925"/>
                <a:gd name="connsiteX8" fmla="*/ 6021 w 99714"/>
                <a:gd name="connsiteY8" fmla="*/ 39542 h 49925"/>
                <a:gd name="connsiteX9" fmla="*/ 6767 w 99714"/>
                <a:gd name="connsiteY9" fmla="*/ 42658 h 49925"/>
                <a:gd name="connsiteX10" fmla="*/ 7246 w 99714"/>
                <a:gd name="connsiteY10" fmla="*/ 44708 h 49925"/>
                <a:gd name="connsiteX11" fmla="*/ 8231 w 99714"/>
                <a:gd name="connsiteY11" fmla="*/ 49128 h 49925"/>
                <a:gd name="connsiteX12" fmla="*/ 8231 w 99714"/>
                <a:gd name="connsiteY12" fmla="*/ 49580 h 49925"/>
                <a:gd name="connsiteX13" fmla="*/ 61936 w 99714"/>
                <a:gd name="connsiteY13" fmla="*/ 32566 h 49925"/>
                <a:gd name="connsiteX14" fmla="*/ 65877 w 99714"/>
                <a:gd name="connsiteY14" fmla="*/ 29904 h 49925"/>
                <a:gd name="connsiteX15" fmla="*/ 78125 w 99714"/>
                <a:gd name="connsiteY15" fmla="*/ 28732 h 49925"/>
                <a:gd name="connsiteX16" fmla="*/ 81373 w 99714"/>
                <a:gd name="connsiteY16" fmla="*/ 29478 h 49925"/>
                <a:gd name="connsiteX17" fmla="*/ 82278 w 99714"/>
                <a:gd name="connsiteY17" fmla="*/ 24339 h 49925"/>
                <a:gd name="connsiteX18" fmla="*/ 88509 w 99714"/>
                <a:gd name="connsiteY18" fmla="*/ 6579 h 49925"/>
                <a:gd name="connsiteX19" fmla="*/ 100704 w 99714"/>
                <a:gd name="connsiteY19" fmla="*/ 1254 h 49925"/>
                <a:gd name="connsiteX20" fmla="*/ 79403 w 99714"/>
                <a:gd name="connsiteY20" fmla="*/ -211 h 49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99714" h="49925">
                  <a:moveTo>
                    <a:pt x="79563" y="-344"/>
                  </a:moveTo>
                  <a:cubicBezTo>
                    <a:pt x="51781" y="-482"/>
                    <a:pt x="24532" y="7274"/>
                    <a:pt x="989" y="22022"/>
                  </a:cubicBezTo>
                  <a:lnTo>
                    <a:pt x="1228" y="22821"/>
                  </a:lnTo>
                  <a:cubicBezTo>
                    <a:pt x="1628" y="24019"/>
                    <a:pt x="2001" y="25244"/>
                    <a:pt x="2373" y="26442"/>
                  </a:cubicBezTo>
                  <a:lnTo>
                    <a:pt x="2773" y="27694"/>
                  </a:lnTo>
                  <a:cubicBezTo>
                    <a:pt x="3252" y="29318"/>
                    <a:pt x="3731" y="30915"/>
                    <a:pt x="4184" y="32540"/>
                  </a:cubicBezTo>
                  <a:cubicBezTo>
                    <a:pt x="4317" y="33072"/>
                    <a:pt x="4450" y="33605"/>
                    <a:pt x="4610" y="34137"/>
                  </a:cubicBezTo>
                  <a:cubicBezTo>
                    <a:pt x="4903" y="35282"/>
                    <a:pt x="5222" y="36400"/>
                    <a:pt x="5515" y="37545"/>
                  </a:cubicBezTo>
                  <a:cubicBezTo>
                    <a:pt x="5675" y="38211"/>
                    <a:pt x="5861" y="38877"/>
                    <a:pt x="6021" y="39542"/>
                  </a:cubicBezTo>
                  <a:cubicBezTo>
                    <a:pt x="6181" y="40208"/>
                    <a:pt x="6527" y="41619"/>
                    <a:pt x="6767" y="42658"/>
                  </a:cubicBezTo>
                  <a:lnTo>
                    <a:pt x="7246" y="44708"/>
                  </a:lnTo>
                  <a:cubicBezTo>
                    <a:pt x="7592" y="46172"/>
                    <a:pt x="7912" y="47663"/>
                    <a:pt x="8231" y="49128"/>
                  </a:cubicBezTo>
                  <a:lnTo>
                    <a:pt x="8231" y="49580"/>
                  </a:lnTo>
                  <a:cubicBezTo>
                    <a:pt x="24862" y="40482"/>
                    <a:pt x="43101" y="34704"/>
                    <a:pt x="61936" y="32566"/>
                  </a:cubicBezTo>
                  <a:cubicBezTo>
                    <a:pt x="63078" y="31451"/>
                    <a:pt x="64415" y="30548"/>
                    <a:pt x="65877" y="29904"/>
                  </a:cubicBezTo>
                  <a:cubicBezTo>
                    <a:pt x="69748" y="28287"/>
                    <a:pt x="74016" y="27880"/>
                    <a:pt x="78125" y="28732"/>
                  </a:cubicBezTo>
                  <a:cubicBezTo>
                    <a:pt x="79227" y="28892"/>
                    <a:pt x="80313" y="29139"/>
                    <a:pt x="81373" y="29478"/>
                  </a:cubicBezTo>
                  <a:cubicBezTo>
                    <a:pt x="81719" y="27773"/>
                    <a:pt x="82012" y="26069"/>
                    <a:pt x="82278" y="24339"/>
                  </a:cubicBezTo>
                  <a:cubicBezTo>
                    <a:pt x="82278" y="24339"/>
                    <a:pt x="84355" y="11558"/>
                    <a:pt x="88509" y="6579"/>
                  </a:cubicBezTo>
                  <a:cubicBezTo>
                    <a:pt x="91555" y="3043"/>
                    <a:pt x="96042" y="1086"/>
                    <a:pt x="100704" y="1254"/>
                  </a:cubicBezTo>
                  <a:cubicBezTo>
                    <a:pt x="93645" y="277"/>
                    <a:pt x="86528" y="-213"/>
                    <a:pt x="79403" y="-211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6" name="Freeform: Shape 225">
              <a:extLst>
                <a:ext uri="{FF2B5EF4-FFF2-40B4-BE49-F238E27FC236}">
                  <a16:creationId xmlns:a16="http://schemas.microsoft.com/office/drawing/2014/main" id="{901F0EBD-5060-47E5-8380-3A634030A4BD}"/>
                </a:ext>
              </a:extLst>
            </p:cNvPr>
            <p:cNvSpPr/>
            <p:nvPr/>
          </p:nvSpPr>
          <p:spPr>
            <a:xfrm>
              <a:off x="11478444" y="6717190"/>
              <a:ext cx="30172" cy="26310"/>
            </a:xfrm>
            <a:custGeom>
              <a:avLst/>
              <a:gdLst>
                <a:gd name="connsiteX0" fmla="*/ 989 w 53465"/>
                <a:gd name="connsiteY0" fmla="*/ 16669 h 46622"/>
                <a:gd name="connsiteX1" fmla="*/ 1415 w 53465"/>
                <a:gd name="connsiteY1" fmla="*/ 18878 h 46622"/>
                <a:gd name="connsiteX2" fmla="*/ 1921 w 53465"/>
                <a:gd name="connsiteY2" fmla="*/ 21541 h 46622"/>
                <a:gd name="connsiteX3" fmla="*/ 2426 w 53465"/>
                <a:gd name="connsiteY3" fmla="*/ 24337 h 46622"/>
                <a:gd name="connsiteX4" fmla="*/ 2719 w 53465"/>
                <a:gd name="connsiteY4" fmla="*/ 26014 h 46622"/>
                <a:gd name="connsiteX5" fmla="*/ 2719 w 53465"/>
                <a:gd name="connsiteY5" fmla="*/ 26361 h 46622"/>
                <a:gd name="connsiteX6" fmla="*/ 2719 w 53465"/>
                <a:gd name="connsiteY6" fmla="*/ 26573 h 46622"/>
                <a:gd name="connsiteX7" fmla="*/ 3199 w 53465"/>
                <a:gd name="connsiteY7" fmla="*/ 29449 h 46622"/>
                <a:gd name="connsiteX8" fmla="*/ 3651 w 53465"/>
                <a:gd name="connsiteY8" fmla="*/ 32484 h 46622"/>
                <a:gd name="connsiteX9" fmla="*/ 3891 w 53465"/>
                <a:gd name="connsiteY9" fmla="*/ 34268 h 46622"/>
                <a:gd name="connsiteX10" fmla="*/ 4370 w 53465"/>
                <a:gd name="connsiteY10" fmla="*/ 38103 h 46622"/>
                <a:gd name="connsiteX11" fmla="*/ 4743 w 53465"/>
                <a:gd name="connsiteY11" fmla="*/ 41165 h 46622"/>
                <a:gd name="connsiteX12" fmla="*/ 4743 w 53465"/>
                <a:gd name="connsiteY12" fmla="*/ 41324 h 46622"/>
                <a:gd name="connsiteX13" fmla="*/ 4743 w 53465"/>
                <a:gd name="connsiteY13" fmla="*/ 41324 h 46622"/>
                <a:gd name="connsiteX14" fmla="*/ 4743 w 53465"/>
                <a:gd name="connsiteY14" fmla="*/ 41324 h 46622"/>
                <a:gd name="connsiteX15" fmla="*/ 4743 w 53465"/>
                <a:gd name="connsiteY15" fmla="*/ 41671 h 46622"/>
                <a:gd name="connsiteX16" fmla="*/ 4743 w 53465"/>
                <a:gd name="connsiteY16" fmla="*/ 42443 h 46622"/>
                <a:gd name="connsiteX17" fmla="*/ 4743 w 53465"/>
                <a:gd name="connsiteY17" fmla="*/ 42949 h 46622"/>
                <a:gd name="connsiteX18" fmla="*/ 5063 w 53465"/>
                <a:gd name="connsiteY18" fmla="*/ 46277 h 46622"/>
                <a:gd name="connsiteX19" fmla="*/ 5063 w 53465"/>
                <a:gd name="connsiteY19" fmla="*/ 46037 h 46622"/>
                <a:gd name="connsiteX20" fmla="*/ 24313 w 53465"/>
                <a:gd name="connsiteY20" fmla="*/ 38049 h 46622"/>
                <a:gd name="connsiteX21" fmla="*/ 36668 w 53465"/>
                <a:gd name="connsiteY21" fmla="*/ 34481 h 46622"/>
                <a:gd name="connsiteX22" fmla="*/ 44416 w 53465"/>
                <a:gd name="connsiteY22" fmla="*/ 21168 h 46622"/>
                <a:gd name="connsiteX23" fmla="*/ 50460 w 53465"/>
                <a:gd name="connsiteY23" fmla="*/ 6737 h 46622"/>
                <a:gd name="connsiteX24" fmla="*/ 50833 w 53465"/>
                <a:gd name="connsiteY24" fmla="*/ 5592 h 46622"/>
                <a:gd name="connsiteX25" fmla="*/ 54454 w 53465"/>
                <a:gd name="connsiteY25" fmla="*/ -346 h 46622"/>
                <a:gd name="connsiteX26" fmla="*/ 989 w 53465"/>
                <a:gd name="connsiteY26" fmla="*/ 16669 h 466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53465" h="46622">
                  <a:moveTo>
                    <a:pt x="989" y="16669"/>
                  </a:moveTo>
                  <a:cubicBezTo>
                    <a:pt x="1148" y="17414"/>
                    <a:pt x="1282" y="18160"/>
                    <a:pt x="1415" y="18878"/>
                  </a:cubicBezTo>
                  <a:cubicBezTo>
                    <a:pt x="1548" y="19597"/>
                    <a:pt x="1761" y="20609"/>
                    <a:pt x="1921" y="21541"/>
                  </a:cubicBezTo>
                  <a:cubicBezTo>
                    <a:pt x="2080" y="22473"/>
                    <a:pt x="2267" y="23405"/>
                    <a:pt x="2426" y="24337"/>
                  </a:cubicBezTo>
                  <a:cubicBezTo>
                    <a:pt x="2586" y="25269"/>
                    <a:pt x="2613" y="25455"/>
                    <a:pt x="2719" y="26014"/>
                  </a:cubicBezTo>
                  <a:cubicBezTo>
                    <a:pt x="2719" y="26147"/>
                    <a:pt x="2719" y="26254"/>
                    <a:pt x="2719" y="26361"/>
                  </a:cubicBezTo>
                  <a:lnTo>
                    <a:pt x="2719" y="26573"/>
                  </a:lnTo>
                  <a:lnTo>
                    <a:pt x="3199" y="29449"/>
                  </a:lnTo>
                  <a:cubicBezTo>
                    <a:pt x="3358" y="30461"/>
                    <a:pt x="3492" y="31473"/>
                    <a:pt x="3651" y="32484"/>
                  </a:cubicBezTo>
                  <a:lnTo>
                    <a:pt x="3891" y="34268"/>
                  </a:lnTo>
                  <a:cubicBezTo>
                    <a:pt x="4077" y="35546"/>
                    <a:pt x="4211" y="36931"/>
                    <a:pt x="4370" y="38103"/>
                  </a:cubicBezTo>
                  <a:cubicBezTo>
                    <a:pt x="4530" y="39274"/>
                    <a:pt x="4610" y="40153"/>
                    <a:pt x="4743" y="41165"/>
                  </a:cubicBezTo>
                  <a:lnTo>
                    <a:pt x="4743" y="41324"/>
                  </a:lnTo>
                  <a:lnTo>
                    <a:pt x="4743" y="41324"/>
                  </a:lnTo>
                  <a:lnTo>
                    <a:pt x="4743" y="41324"/>
                  </a:lnTo>
                  <a:cubicBezTo>
                    <a:pt x="4743" y="41324"/>
                    <a:pt x="4743" y="41564"/>
                    <a:pt x="4743" y="41671"/>
                  </a:cubicBezTo>
                  <a:lnTo>
                    <a:pt x="4743" y="42443"/>
                  </a:lnTo>
                  <a:cubicBezTo>
                    <a:pt x="4756" y="42610"/>
                    <a:pt x="4756" y="42781"/>
                    <a:pt x="4743" y="42949"/>
                  </a:cubicBezTo>
                  <a:cubicBezTo>
                    <a:pt x="4743" y="44067"/>
                    <a:pt x="4983" y="45185"/>
                    <a:pt x="5063" y="46277"/>
                  </a:cubicBezTo>
                  <a:lnTo>
                    <a:pt x="5063" y="46037"/>
                  </a:lnTo>
                  <a:cubicBezTo>
                    <a:pt x="11274" y="42906"/>
                    <a:pt x="17710" y="40235"/>
                    <a:pt x="24313" y="38049"/>
                  </a:cubicBezTo>
                  <a:cubicBezTo>
                    <a:pt x="28360" y="36691"/>
                    <a:pt x="32487" y="35387"/>
                    <a:pt x="36668" y="34481"/>
                  </a:cubicBezTo>
                  <a:cubicBezTo>
                    <a:pt x="39546" y="30224"/>
                    <a:pt x="42134" y="25775"/>
                    <a:pt x="44416" y="21168"/>
                  </a:cubicBezTo>
                  <a:cubicBezTo>
                    <a:pt x="46735" y="16493"/>
                    <a:pt x="48756" y="11671"/>
                    <a:pt x="50460" y="6737"/>
                  </a:cubicBezTo>
                  <a:cubicBezTo>
                    <a:pt x="50460" y="6338"/>
                    <a:pt x="50700" y="5965"/>
                    <a:pt x="50833" y="5592"/>
                  </a:cubicBezTo>
                  <a:cubicBezTo>
                    <a:pt x="51589" y="3371"/>
                    <a:pt x="52825" y="1343"/>
                    <a:pt x="54454" y="-346"/>
                  </a:cubicBezTo>
                  <a:cubicBezTo>
                    <a:pt x="35701" y="1822"/>
                    <a:pt x="17545" y="7600"/>
                    <a:pt x="989" y="16669"/>
                  </a:cubicBezTo>
                </a:path>
              </a:pathLst>
            </a:custGeom>
            <a:solidFill>
              <a:srgbClr val="00A65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7" name="Freeform: Shape 226">
              <a:extLst>
                <a:ext uri="{FF2B5EF4-FFF2-40B4-BE49-F238E27FC236}">
                  <a16:creationId xmlns:a16="http://schemas.microsoft.com/office/drawing/2014/main" id="{7621378C-C8E7-4BCC-955E-2148BC1DF58F}"/>
                </a:ext>
              </a:extLst>
            </p:cNvPr>
            <p:cNvSpPr/>
            <p:nvPr/>
          </p:nvSpPr>
          <p:spPr>
            <a:xfrm>
              <a:off x="11480833" y="6736694"/>
              <a:ext cx="17385" cy="17249"/>
            </a:xfrm>
            <a:custGeom>
              <a:avLst/>
              <a:gdLst>
                <a:gd name="connsiteX0" fmla="*/ 20239 w 30806"/>
                <a:gd name="connsiteY0" fmla="*/ 3409 h 30566"/>
                <a:gd name="connsiteX1" fmla="*/ 989 w 30806"/>
                <a:gd name="connsiteY1" fmla="*/ 11397 h 30566"/>
                <a:gd name="connsiteX2" fmla="*/ 989 w 30806"/>
                <a:gd name="connsiteY2" fmla="*/ 11636 h 30566"/>
                <a:gd name="connsiteX3" fmla="*/ 989 w 30806"/>
                <a:gd name="connsiteY3" fmla="*/ 13154 h 30566"/>
                <a:gd name="connsiteX4" fmla="*/ 989 w 30806"/>
                <a:gd name="connsiteY4" fmla="*/ 13314 h 30566"/>
                <a:gd name="connsiteX5" fmla="*/ 1122 w 30806"/>
                <a:gd name="connsiteY5" fmla="*/ 15550 h 30566"/>
                <a:gd name="connsiteX6" fmla="*/ 1122 w 30806"/>
                <a:gd name="connsiteY6" fmla="*/ 16029 h 30566"/>
                <a:gd name="connsiteX7" fmla="*/ 1122 w 30806"/>
                <a:gd name="connsiteY7" fmla="*/ 16029 h 30566"/>
                <a:gd name="connsiteX8" fmla="*/ 1122 w 30806"/>
                <a:gd name="connsiteY8" fmla="*/ 16269 h 30566"/>
                <a:gd name="connsiteX9" fmla="*/ 1122 w 30806"/>
                <a:gd name="connsiteY9" fmla="*/ 18186 h 30566"/>
                <a:gd name="connsiteX10" fmla="*/ 1122 w 30806"/>
                <a:gd name="connsiteY10" fmla="*/ 19731 h 30566"/>
                <a:gd name="connsiteX11" fmla="*/ 1122 w 30806"/>
                <a:gd name="connsiteY11" fmla="*/ 19917 h 30566"/>
                <a:gd name="connsiteX12" fmla="*/ 1122 w 30806"/>
                <a:gd name="connsiteY12" fmla="*/ 21674 h 30566"/>
                <a:gd name="connsiteX13" fmla="*/ 1122 w 30806"/>
                <a:gd name="connsiteY13" fmla="*/ 23219 h 30566"/>
                <a:gd name="connsiteX14" fmla="*/ 1122 w 30806"/>
                <a:gd name="connsiteY14" fmla="*/ 23538 h 30566"/>
                <a:gd name="connsiteX15" fmla="*/ 1122 w 30806"/>
                <a:gd name="connsiteY15" fmla="*/ 23538 h 30566"/>
                <a:gd name="connsiteX16" fmla="*/ 1122 w 30806"/>
                <a:gd name="connsiteY16" fmla="*/ 24710 h 30566"/>
                <a:gd name="connsiteX17" fmla="*/ 1122 w 30806"/>
                <a:gd name="connsiteY17" fmla="*/ 26174 h 30566"/>
                <a:gd name="connsiteX18" fmla="*/ 1122 w 30806"/>
                <a:gd name="connsiteY18" fmla="*/ 26174 h 30566"/>
                <a:gd name="connsiteX19" fmla="*/ 1122 w 30806"/>
                <a:gd name="connsiteY19" fmla="*/ 26307 h 30566"/>
                <a:gd name="connsiteX20" fmla="*/ 1122 w 30806"/>
                <a:gd name="connsiteY20" fmla="*/ 27266 h 30566"/>
                <a:gd name="connsiteX21" fmla="*/ 1122 w 30806"/>
                <a:gd name="connsiteY21" fmla="*/ 29023 h 30566"/>
                <a:gd name="connsiteX22" fmla="*/ 1122 w 30806"/>
                <a:gd name="connsiteY22" fmla="*/ 30221 h 30566"/>
                <a:gd name="connsiteX23" fmla="*/ 1122 w 30806"/>
                <a:gd name="connsiteY23" fmla="*/ 30221 h 30566"/>
                <a:gd name="connsiteX24" fmla="*/ 2852 w 30806"/>
                <a:gd name="connsiteY24" fmla="*/ 29050 h 30566"/>
                <a:gd name="connsiteX25" fmla="*/ 12172 w 30806"/>
                <a:gd name="connsiteY25" fmla="*/ 22020 h 30566"/>
                <a:gd name="connsiteX26" fmla="*/ 27988 w 30806"/>
                <a:gd name="connsiteY26" fmla="*/ 5060 h 30566"/>
                <a:gd name="connsiteX27" fmla="*/ 29345 w 30806"/>
                <a:gd name="connsiteY27" fmla="*/ 3222 h 30566"/>
                <a:gd name="connsiteX28" fmla="*/ 31795 w 30806"/>
                <a:gd name="connsiteY28" fmla="*/ -346 h 30566"/>
                <a:gd name="connsiteX29" fmla="*/ 19441 w 30806"/>
                <a:gd name="connsiteY29" fmla="*/ 3222 h 305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30806" h="30566">
                  <a:moveTo>
                    <a:pt x="20239" y="3409"/>
                  </a:moveTo>
                  <a:cubicBezTo>
                    <a:pt x="13636" y="5600"/>
                    <a:pt x="7203" y="8268"/>
                    <a:pt x="989" y="11397"/>
                  </a:cubicBezTo>
                  <a:lnTo>
                    <a:pt x="989" y="11636"/>
                  </a:lnTo>
                  <a:cubicBezTo>
                    <a:pt x="989" y="12142"/>
                    <a:pt x="989" y="12648"/>
                    <a:pt x="989" y="13154"/>
                  </a:cubicBezTo>
                  <a:lnTo>
                    <a:pt x="989" y="13314"/>
                  </a:lnTo>
                  <a:cubicBezTo>
                    <a:pt x="989" y="14059"/>
                    <a:pt x="989" y="14805"/>
                    <a:pt x="1122" y="15550"/>
                  </a:cubicBezTo>
                  <a:lnTo>
                    <a:pt x="1122" y="16029"/>
                  </a:lnTo>
                  <a:lnTo>
                    <a:pt x="1122" y="16029"/>
                  </a:lnTo>
                  <a:lnTo>
                    <a:pt x="1122" y="16269"/>
                  </a:lnTo>
                  <a:cubicBezTo>
                    <a:pt x="1122" y="16908"/>
                    <a:pt x="1122" y="17547"/>
                    <a:pt x="1122" y="18186"/>
                  </a:cubicBezTo>
                  <a:cubicBezTo>
                    <a:pt x="1122" y="18825"/>
                    <a:pt x="1122" y="19225"/>
                    <a:pt x="1122" y="19731"/>
                  </a:cubicBezTo>
                  <a:lnTo>
                    <a:pt x="1122" y="19917"/>
                  </a:lnTo>
                  <a:lnTo>
                    <a:pt x="1122" y="21674"/>
                  </a:lnTo>
                  <a:cubicBezTo>
                    <a:pt x="1122" y="22207"/>
                    <a:pt x="1122" y="22713"/>
                    <a:pt x="1122" y="23219"/>
                  </a:cubicBezTo>
                  <a:cubicBezTo>
                    <a:pt x="1135" y="23325"/>
                    <a:pt x="1135" y="23432"/>
                    <a:pt x="1122" y="23538"/>
                  </a:cubicBezTo>
                  <a:lnTo>
                    <a:pt x="1122" y="23538"/>
                  </a:lnTo>
                  <a:cubicBezTo>
                    <a:pt x="1122" y="23937"/>
                    <a:pt x="1122" y="24310"/>
                    <a:pt x="1122" y="24710"/>
                  </a:cubicBezTo>
                  <a:cubicBezTo>
                    <a:pt x="1122" y="25109"/>
                    <a:pt x="1122" y="25695"/>
                    <a:pt x="1122" y="26174"/>
                  </a:cubicBezTo>
                  <a:lnTo>
                    <a:pt x="1122" y="26174"/>
                  </a:lnTo>
                  <a:lnTo>
                    <a:pt x="1122" y="26307"/>
                  </a:lnTo>
                  <a:cubicBezTo>
                    <a:pt x="1122" y="26627"/>
                    <a:pt x="1122" y="26946"/>
                    <a:pt x="1122" y="27266"/>
                  </a:cubicBezTo>
                  <a:cubicBezTo>
                    <a:pt x="1122" y="27585"/>
                    <a:pt x="1122" y="28437"/>
                    <a:pt x="1122" y="29023"/>
                  </a:cubicBezTo>
                  <a:cubicBezTo>
                    <a:pt x="1122" y="29609"/>
                    <a:pt x="1122" y="29822"/>
                    <a:pt x="1122" y="30221"/>
                  </a:cubicBezTo>
                  <a:lnTo>
                    <a:pt x="1122" y="30221"/>
                  </a:lnTo>
                  <a:lnTo>
                    <a:pt x="2852" y="29050"/>
                  </a:lnTo>
                  <a:cubicBezTo>
                    <a:pt x="6090" y="26888"/>
                    <a:pt x="9203" y="24539"/>
                    <a:pt x="12172" y="22020"/>
                  </a:cubicBezTo>
                  <a:cubicBezTo>
                    <a:pt x="18035" y="16948"/>
                    <a:pt x="23336" y="11263"/>
                    <a:pt x="27988" y="5060"/>
                  </a:cubicBezTo>
                  <a:lnTo>
                    <a:pt x="29345" y="3222"/>
                  </a:lnTo>
                  <a:cubicBezTo>
                    <a:pt x="30198" y="2024"/>
                    <a:pt x="31023" y="853"/>
                    <a:pt x="31795" y="-346"/>
                  </a:cubicBezTo>
                  <a:cubicBezTo>
                    <a:pt x="27615" y="666"/>
                    <a:pt x="23488" y="1864"/>
                    <a:pt x="19441" y="3222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8" name="Freeform: Shape 227">
              <a:extLst>
                <a:ext uri="{FF2B5EF4-FFF2-40B4-BE49-F238E27FC236}">
                  <a16:creationId xmlns:a16="http://schemas.microsoft.com/office/drawing/2014/main" id="{F71DD78F-FBB0-4927-898A-0296C1ACD77D}"/>
                </a:ext>
              </a:extLst>
            </p:cNvPr>
            <p:cNvSpPr/>
            <p:nvPr/>
          </p:nvSpPr>
          <p:spPr>
            <a:xfrm>
              <a:off x="11402788" y="6644225"/>
              <a:ext cx="49180" cy="59563"/>
            </a:xfrm>
            <a:custGeom>
              <a:avLst/>
              <a:gdLst>
                <a:gd name="connsiteX0" fmla="*/ 64918 w 87147"/>
                <a:gd name="connsiteY0" fmla="*/ 17494 h 105546"/>
                <a:gd name="connsiteX1" fmla="*/ 44735 w 87147"/>
                <a:gd name="connsiteY1" fmla="*/ -346 h 105546"/>
                <a:gd name="connsiteX2" fmla="*/ 14302 w 87147"/>
                <a:gd name="connsiteY2" fmla="*/ 29263 h 105546"/>
                <a:gd name="connsiteX3" fmla="*/ 989 w 87147"/>
                <a:gd name="connsiteY3" fmla="*/ 50111 h 105546"/>
                <a:gd name="connsiteX4" fmla="*/ 2160 w 87147"/>
                <a:gd name="connsiteY4" fmla="*/ 51602 h 105546"/>
                <a:gd name="connsiteX5" fmla="*/ 36774 w 87147"/>
                <a:gd name="connsiteY5" fmla="*/ 105200 h 105546"/>
                <a:gd name="connsiteX6" fmla="*/ 80015 w 87147"/>
                <a:gd name="connsiteY6" fmla="*/ 49286 h 105546"/>
                <a:gd name="connsiteX7" fmla="*/ 80894 w 87147"/>
                <a:gd name="connsiteY7" fmla="*/ 48647 h 105546"/>
                <a:gd name="connsiteX8" fmla="*/ 88136 w 87147"/>
                <a:gd name="connsiteY8" fmla="*/ 43641 h 105546"/>
                <a:gd name="connsiteX9" fmla="*/ 64891 w 87147"/>
                <a:gd name="connsiteY9" fmla="*/ 17441 h 1055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7147" h="105546">
                  <a:moveTo>
                    <a:pt x="64918" y="17494"/>
                  </a:moveTo>
                  <a:cubicBezTo>
                    <a:pt x="58514" y="11192"/>
                    <a:pt x="51778" y="5235"/>
                    <a:pt x="44735" y="-346"/>
                  </a:cubicBezTo>
                  <a:cubicBezTo>
                    <a:pt x="33206" y="7994"/>
                    <a:pt x="22955" y="17968"/>
                    <a:pt x="14302" y="29263"/>
                  </a:cubicBezTo>
                  <a:cubicBezTo>
                    <a:pt x="9269" y="35815"/>
                    <a:pt x="4815" y="42791"/>
                    <a:pt x="989" y="50111"/>
                  </a:cubicBezTo>
                  <a:cubicBezTo>
                    <a:pt x="1388" y="50590"/>
                    <a:pt x="1761" y="51096"/>
                    <a:pt x="2160" y="51602"/>
                  </a:cubicBezTo>
                  <a:cubicBezTo>
                    <a:pt x="15061" y="68552"/>
                    <a:pt x="26632" y="86472"/>
                    <a:pt x="36774" y="105200"/>
                  </a:cubicBezTo>
                  <a:cubicBezTo>
                    <a:pt x="45936" y="83034"/>
                    <a:pt x="60868" y="63728"/>
                    <a:pt x="80015" y="49286"/>
                  </a:cubicBezTo>
                  <a:lnTo>
                    <a:pt x="80894" y="48647"/>
                  </a:lnTo>
                  <a:cubicBezTo>
                    <a:pt x="83263" y="46916"/>
                    <a:pt x="85660" y="45238"/>
                    <a:pt x="88136" y="43641"/>
                  </a:cubicBezTo>
                  <a:cubicBezTo>
                    <a:pt x="81003" y="34380"/>
                    <a:pt x="73236" y="25626"/>
                    <a:pt x="64891" y="17441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29" name="Freeform: Shape 228">
              <a:extLst>
                <a:ext uri="{FF2B5EF4-FFF2-40B4-BE49-F238E27FC236}">
                  <a16:creationId xmlns:a16="http://schemas.microsoft.com/office/drawing/2014/main" id="{21265FB2-1A9C-4F0B-93E0-E5D30113C2FB}"/>
                </a:ext>
              </a:extLst>
            </p:cNvPr>
            <p:cNvSpPr/>
            <p:nvPr/>
          </p:nvSpPr>
          <p:spPr>
            <a:xfrm>
              <a:off x="11393217" y="6700272"/>
              <a:ext cx="51283" cy="56601"/>
            </a:xfrm>
            <a:custGeom>
              <a:avLst/>
              <a:gdLst>
                <a:gd name="connsiteX0" fmla="*/ 90133 w 90874"/>
                <a:gd name="connsiteY0" fmla="*/ 93882 h 100298"/>
                <a:gd name="connsiteX1" fmla="*/ 81613 w 90874"/>
                <a:gd name="connsiteY1" fmla="*/ 68055 h 100298"/>
                <a:gd name="connsiteX2" fmla="*/ 53762 w 90874"/>
                <a:gd name="connsiteY2" fmla="*/ 5909 h 100298"/>
                <a:gd name="connsiteX3" fmla="*/ 53762 w 90874"/>
                <a:gd name="connsiteY3" fmla="*/ 5909 h 100298"/>
                <a:gd name="connsiteX4" fmla="*/ 34165 w 90874"/>
                <a:gd name="connsiteY4" fmla="*/ 1276 h 100298"/>
                <a:gd name="connsiteX5" fmla="*/ 2213 w 90874"/>
                <a:gd name="connsiteY5" fmla="*/ 132 h 100298"/>
                <a:gd name="connsiteX6" fmla="*/ 989 w 90874"/>
                <a:gd name="connsiteY6" fmla="*/ 19089 h 100298"/>
                <a:gd name="connsiteX7" fmla="*/ 9376 w 90874"/>
                <a:gd name="connsiteY7" fmla="*/ 68081 h 100298"/>
                <a:gd name="connsiteX8" fmla="*/ 14888 w 90874"/>
                <a:gd name="connsiteY8" fmla="*/ 81395 h 100298"/>
                <a:gd name="connsiteX9" fmla="*/ 27854 w 90874"/>
                <a:gd name="connsiteY9" fmla="*/ 81182 h 100298"/>
                <a:gd name="connsiteX10" fmla="*/ 80388 w 90874"/>
                <a:gd name="connsiteY10" fmla="*/ 93829 h 100298"/>
                <a:gd name="connsiteX11" fmla="*/ 91864 w 90874"/>
                <a:gd name="connsiteY11" fmla="*/ 99953 h 100298"/>
                <a:gd name="connsiteX12" fmla="*/ 90080 w 90874"/>
                <a:gd name="connsiteY12" fmla="*/ 93829 h 1002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90874" h="100298">
                  <a:moveTo>
                    <a:pt x="90133" y="93882"/>
                  </a:moveTo>
                  <a:cubicBezTo>
                    <a:pt x="87470" y="85008"/>
                    <a:pt x="84629" y="76397"/>
                    <a:pt x="81613" y="68055"/>
                  </a:cubicBezTo>
                  <a:cubicBezTo>
                    <a:pt x="73918" y="46663"/>
                    <a:pt x="64607" y="25890"/>
                    <a:pt x="53762" y="5909"/>
                  </a:cubicBezTo>
                  <a:lnTo>
                    <a:pt x="53762" y="5909"/>
                  </a:lnTo>
                  <a:cubicBezTo>
                    <a:pt x="47353" y="3883"/>
                    <a:pt x="40803" y="2336"/>
                    <a:pt x="34165" y="1276"/>
                  </a:cubicBezTo>
                  <a:cubicBezTo>
                    <a:pt x="23600" y="-390"/>
                    <a:pt x="12872" y="-774"/>
                    <a:pt x="2213" y="132"/>
                  </a:cubicBezTo>
                  <a:cubicBezTo>
                    <a:pt x="1401" y="6418"/>
                    <a:pt x="991" y="12750"/>
                    <a:pt x="989" y="19089"/>
                  </a:cubicBezTo>
                  <a:cubicBezTo>
                    <a:pt x="973" y="35779"/>
                    <a:pt x="3808" y="52348"/>
                    <a:pt x="9376" y="68081"/>
                  </a:cubicBezTo>
                  <a:cubicBezTo>
                    <a:pt x="10992" y="72627"/>
                    <a:pt x="12829" y="77063"/>
                    <a:pt x="14888" y="81395"/>
                  </a:cubicBezTo>
                  <a:cubicBezTo>
                    <a:pt x="19174" y="81128"/>
                    <a:pt x="23488" y="81048"/>
                    <a:pt x="27854" y="81182"/>
                  </a:cubicBezTo>
                  <a:cubicBezTo>
                    <a:pt x="46046" y="81775"/>
                    <a:pt x="63920" y="86078"/>
                    <a:pt x="80388" y="93829"/>
                  </a:cubicBezTo>
                  <a:cubicBezTo>
                    <a:pt x="84329" y="95605"/>
                    <a:pt x="88155" y="97645"/>
                    <a:pt x="91864" y="99953"/>
                  </a:cubicBezTo>
                  <a:cubicBezTo>
                    <a:pt x="91278" y="97903"/>
                    <a:pt x="90692" y="95853"/>
                    <a:pt x="90080" y="93829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0" name="Freeform: Shape 229">
              <a:extLst>
                <a:ext uri="{FF2B5EF4-FFF2-40B4-BE49-F238E27FC236}">
                  <a16:creationId xmlns:a16="http://schemas.microsoft.com/office/drawing/2014/main" id="{D8CABE6E-BE2F-4B63-A88E-93C7C6FB2FA1}"/>
                </a:ext>
              </a:extLst>
            </p:cNvPr>
            <p:cNvSpPr/>
            <p:nvPr/>
          </p:nvSpPr>
          <p:spPr>
            <a:xfrm>
              <a:off x="11444530" y="6711466"/>
              <a:ext cx="36834" cy="78871"/>
            </a:xfrm>
            <a:custGeom>
              <a:avLst/>
              <a:gdLst>
                <a:gd name="connsiteX0" fmla="*/ 64785 w 65270"/>
                <a:gd name="connsiteY0" fmla="*/ 76205 h 139760"/>
                <a:gd name="connsiteX1" fmla="*/ 66249 w 65270"/>
                <a:gd name="connsiteY1" fmla="*/ 75246 h 139760"/>
                <a:gd name="connsiteX2" fmla="*/ 66249 w 65270"/>
                <a:gd name="connsiteY2" fmla="*/ 74048 h 139760"/>
                <a:gd name="connsiteX3" fmla="*/ 66249 w 65270"/>
                <a:gd name="connsiteY3" fmla="*/ 72291 h 139760"/>
                <a:gd name="connsiteX4" fmla="*/ 66249 w 65270"/>
                <a:gd name="connsiteY4" fmla="*/ 71332 h 139760"/>
                <a:gd name="connsiteX5" fmla="*/ 66249 w 65270"/>
                <a:gd name="connsiteY5" fmla="*/ 71199 h 139760"/>
                <a:gd name="connsiteX6" fmla="*/ 66249 w 65270"/>
                <a:gd name="connsiteY6" fmla="*/ 71199 h 139760"/>
                <a:gd name="connsiteX7" fmla="*/ 66249 w 65270"/>
                <a:gd name="connsiteY7" fmla="*/ 69734 h 139760"/>
                <a:gd name="connsiteX8" fmla="*/ 66249 w 65270"/>
                <a:gd name="connsiteY8" fmla="*/ 68563 h 139760"/>
                <a:gd name="connsiteX9" fmla="*/ 66249 w 65270"/>
                <a:gd name="connsiteY9" fmla="*/ 68563 h 139760"/>
                <a:gd name="connsiteX10" fmla="*/ 66249 w 65270"/>
                <a:gd name="connsiteY10" fmla="*/ 68243 h 139760"/>
                <a:gd name="connsiteX11" fmla="*/ 66249 w 65270"/>
                <a:gd name="connsiteY11" fmla="*/ 66699 h 139760"/>
                <a:gd name="connsiteX12" fmla="*/ 66249 w 65270"/>
                <a:gd name="connsiteY12" fmla="*/ 64942 h 139760"/>
                <a:gd name="connsiteX13" fmla="*/ 66249 w 65270"/>
                <a:gd name="connsiteY13" fmla="*/ 64755 h 139760"/>
                <a:gd name="connsiteX14" fmla="*/ 66249 w 65270"/>
                <a:gd name="connsiteY14" fmla="*/ 63211 h 139760"/>
                <a:gd name="connsiteX15" fmla="*/ 66249 w 65270"/>
                <a:gd name="connsiteY15" fmla="*/ 61294 h 139760"/>
                <a:gd name="connsiteX16" fmla="*/ 66249 w 65270"/>
                <a:gd name="connsiteY16" fmla="*/ 61054 h 139760"/>
                <a:gd name="connsiteX17" fmla="*/ 66249 w 65270"/>
                <a:gd name="connsiteY17" fmla="*/ 61054 h 139760"/>
                <a:gd name="connsiteX18" fmla="*/ 66249 w 65270"/>
                <a:gd name="connsiteY18" fmla="*/ 60575 h 139760"/>
                <a:gd name="connsiteX19" fmla="*/ 66116 w 65270"/>
                <a:gd name="connsiteY19" fmla="*/ 58338 h 139760"/>
                <a:gd name="connsiteX20" fmla="*/ 66116 w 65270"/>
                <a:gd name="connsiteY20" fmla="*/ 58179 h 139760"/>
                <a:gd name="connsiteX21" fmla="*/ 66116 w 65270"/>
                <a:gd name="connsiteY21" fmla="*/ 56661 h 139760"/>
                <a:gd name="connsiteX22" fmla="*/ 65797 w 65270"/>
                <a:gd name="connsiteY22" fmla="*/ 53333 h 139760"/>
                <a:gd name="connsiteX23" fmla="*/ 65797 w 65270"/>
                <a:gd name="connsiteY23" fmla="*/ 52827 h 139760"/>
                <a:gd name="connsiteX24" fmla="*/ 65797 w 65270"/>
                <a:gd name="connsiteY24" fmla="*/ 51868 h 139760"/>
                <a:gd name="connsiteX25" fmla="*/ 65797 w 65270"/>
                <a:gd name="connsiteY25" fmla="*/ 51442 h 139760"/>
                <a:gd name="connsiteX26" fmla="*/ 65424 w 65270"/>
                <a:gd name="connsiteY26" fmla="*/ 48380 h 139760"/>
                <a:gd name="connsiteX27" fmla="*/ 64971 w 65270"/>
                <a:gd name="connsiteY27" fmla="*/ 44546 h 139760"/>
                <a:gd name="connsiteX28" fmla="*/ 64705 w 65270"/>
                <a:gd name="connsiteY28" fmla="*/ 42762 h 139760"/>
                <a:gd name="connsiteX29" fmla="*/ 64705 w 65270"/>
                <a:gd name="connsiteY29" fmla="*/ 41830 h 139760"/>
                <a:gd name="connsiteX30" fmla="*/ 64386 w 65270"/>
                <a:gd name="connsiteY30" fmla="*/ 39753 h 139760"/>
                <a:gd name="connsiteX31" fmla="*/ 64386 w 65270"/>
                <a:gd name="connsiteY31" fmla="*/ 39753 h 139760"/>
                <a:gd name="connsiteX32" fmla="*/ 63906 w 65270"/>
                <a:gd name="connsiteY32" fmla="*/ 36878 h 139760"/>
                <a:gd name="connsiteX33" fmla="*/ 63906 w 65270"/>
                <a:gd name="connsiteY33" fmla="*/ 36665 h 139760"/>
                <a:gd name="connsiteX34" fmla="*/ 63640 w 65270"/>
                <a:gd name="connsiteY34" fmla="*/ 35094 h 139760"/>
                <a:gd name="connsiteX35" fmla="*/ 63640 w 65270"/>
                <a:gd name="connsiteY35" fmla="*/ 34641 h 139760"/>
                <a:gd name="connsiteX36" fmla="*/ 63640 w 65270"/>
                <a:gd name="connsiteY36" fmla="*/ 33816 h 139760"/>
                <a:gd name="connsiteX37" fmla="*/ 63294 w 65270"/>
                <a:gd name="connsiteY37" fmla="*/ 31979 h 139760"/>
                <a:gd name="connsiteX38" fmla="*/ 63294 w 65270"/>
                <a:gd name="connsiteY38" fmla="*/ 31845 h 139760"/>
                <a:gd name="connsiteX39" fmla="*/ 62815 w 65270"/>
                <a:gd name="connsiteY39" fmla="*/ 29183 h 139760"/>
                <a:gd name="connsiteX40" fmla="*/ 62362 w 65270"/>
                <a:gd name="connsiteY40" fmla="*/ 26973 h 139760"/>
                <a:gd name="connsiteX41" fmla="*/ 62362 w 65270"/>
                <a:gd name="connsiteY41" fmla="*/ 26520 h 139760"/>
                <a:gd name="connsiteX42" fmla="*/ 61377 w 65270"/>
                <a:gd name="connsiteY42" fmla="*/ 22100 h 139760"/>
                <a:gd name="connsiteX43" fmla="*/ 61377 w 65270"/>
                <a:gd name="connsiteY43" fmla="*/ 22100 h 139760"/>
                <a:gd name="connsiteX44" fmla="*/ 60951 w 65270"/>
                <a:gd name="connsiteY44" fmla="*/ 20316 h 139760"/>
                <a:gd name="connsiteX45" fmla="*/ 60951 w 65270"/>
                <a:gd name="connsiteY45" fmla="*/ 20130 h 139760"/>
                <a:gd name="connsiteX46" fmla="*/ 60205 w 65270"/>
                <a:gd name="connsiteY46" fmla="*/ 17015 h 139760"/>
                <a:gd name="connsiteX47" fmla="*/ 60205 w 65270"/>
                <a:gd name="connsiteY47" fmla="*/ 17015 h 139760"/>
                <a:gd name="connsiteX48" fmla="*/ 59753 w 65270"/>
                <a:gd name="connsiteY48" fmla="*/ 15177 h 139760"/>
                <a:gd name="connsiteX49" fmla="*/ 59753 w 65270"/>
                <a:gd name="connsiteY49" fmla="*/ 15177 h 139760"/>
                <a:gd name="connsiteX50" fmla="*/ 58847 w 65270"/>
                <a:gd name="connsiteY50" fmla="*/ 11769 h 139760"/>
                <a:gd name="connsiteX51" fmla="*/ 58421 w 65270"/>
                <a:gd name="connsiteY51" fmla="*/ 10172 h 139760"/>
                <a:gd name="connsiteX52" fmla="*/ 57010 w 65270"/>
                <a:gd name="connsiteY52" fmla="*/ 5326 h 139760"/>
                <a:gd name="connsiteX53" fmla="*/ 57010 w 65270"/>
                <a:gd name="connsiteY53" fmla="*/ 5166 h 139760"/>
                <a:gd name="connsiteX54" fmla="*/ 56691 w 65270"/>
                <a:gd name="connsiteY54" fmla="*/ 4208 h 139760"/>
                <a:gd name="connsiteX55" fmla="*/ 56691 w 65270"/>
                <a:gd name="connsiteY55" fmla="*/ 4074 h 139760"/>
                <a:gd name="connsiteX56" fmla="*/ 55546 w 65270"/>
                <a:gd name="connsiteY56" fmla="*/ 453 h 139760"/>
                <a:gd name="connsiteX57" fmla="*/ 55306 w 65270"/>
                <a:gd name="connsiteY57" fmla="*/ -346 h 139760"/>
                <a:gd name="connsiteX58" fmla="*/ 55306 w 65270"/>
                <a:gd name="connsiteY58" fmla="*/ -346 h 139760"/>
                <a:gd name="connsiteX59" fmla="*/ 32141 w 65270"/>
                <a:gd name="connsiteY59" fmla="*/ 19597 h 139760"/>
                <a:gd name="connsiteX60" fmla="*/ 11293 w 65270"/>
                <a:gd name="connsiteY60" fmla="*/ 48114 h 139760"/>
                <a:gd name="connsiteX61" fmla="*/ 2320 w 65270"/>
                <a:gd name="connsiteY61" fmla="*/ 73941 h 139760"/>
                <a:gd name="connsiteX62" fmla="*/ 989 w 65270"/>
                <a:gd name="connsiteY62" fmla="*/ 80065 h 139760"/>
                <a:gd name="connsiteX63" fmla="*/ 5355 w 65270"/>
                <a:gd name="connsiteY63" fmla="*/ 96467 h 139760"/>
                <a:gd name="connsiteX64" fmla="*/ 6447 w 65270"/>
                <a:gd name="connsiteY64" fmla="*/ 100940 h 139760"/>
                <a:gd name="connsiteX65" fmla="*/ 14142 w 65270"/>
                <a:gd name="connsiteY65" fmla="*/ 139415 h 139760"/>
                <a:gd name="connsiteX66" fmla="*/ 35443 w 65270"/>
                <a:gd name="connsiteY66" fmla="*/ 100940 h 139760"/>
                <a:gd name="connsiteX67" fmla="*/ 64732 w 65270"/>
                <a:gd name="connsiteY67" fmla="*/ 76098 h 1397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</a:cxnLst>
              <a:rect l="l" t="t" r="r" b="b"/>
              <a:pathLst>
                <a:path w="65270" h="139760">
                  <a:moveTo>
                    <a:pt x="64785" y="76205"/>
                  </a:moveTo>
                  <a:lnTo>
                    <a:pt x="66249" y="75246"/>
                  </a:lnTo>
                  <a:cubicBezTo>
                    <a:pt x="66249" y="74847"/>
                    <a:pt x="66249" y="74447"/>
                    <a:pt x="66249" y="74048"/>
                  </a:cubicBezTo>
                  <a:cubicBezTo>
                    <a:pt x="66249" y="73648"/>
                    <a:pt x="66249" y="72876"/>
                    <a:pt x="66249" y="72291"/>
                  </a:cubicBezTo>
                  <a:cubicBezTo>
                    <a:pt x="66249" y="71705"/>
                    <a:pt x="66249" y="71652"/>
                    <a:pt x="66249" y="71332"/>
                  </a:cubicBezTo>
                  <a:lnTo>
                    <a:pt x="66249" y="71199"/>
                  </a:lnTo>
                  <a:lnTo>
                    <a:pt x="66249" y="71199"/>
                  </a:lnTo>
                  <a:cubicBezTo>
                    <a:pt x="66249" y="70720"/>
                    <a:pt x="66249" y="70214"/>
                    <a:pt x="66249" y="69734"/>
                  </a:cubicBezTo>
                  <a:cubicBezTo>
                    <a:pt x="66249" y="69255"/>
                    <a:pt x="66249" y="68962"/>
                    <a:pt x="66249" y="68563"/>
                  </a:cubicBezTo>
                  <a:lnTo>
                    <a:pt x="66249" y="68563"/>
                  </a:lnTo>
                  <a:cubicBezTo>
                    <a:pt x="66263" y="68456"/>
                    <a:pt x="66263" y="68350"/>
                    <a:pt x="66249" y="68243"/>
                  </a:cubicBezTo>
                  <a:cubicBezTo>
                    <a:pt x="66249" y="67737"/>
                    <a:pt x="66249" y="67232"/>
                    <a:pt x="66249" y="66699"/>
                  </a:cubicBezTo>
                  <a:lnTo>
                    <a:pt x="66249" y="64942"/>
                  </a:lnTo>
                  <a:lnTo>
                    <a:pt x="66249" y="64755"/>
                  </a:lnTo>
                  <a:cubicBezTo>
                    <a:pt x="66249" y="64249"/>
                    <a:pt x="66249" y="63744"/>
                    <a:pt x="66249" y="63211"/>
                  </a:cubicBezTo>
                  <a:cubicBezTo>
                    <a:pt x="66249" y="62679"/>
                    <a:pt x="66249" y="61933"/>
                    <a:pt x="66249" y="61294"/>
                  </a:cubicBezTo>
                  <a:lnTo>
                    <a:pt x="66249" y="61054"/>
                  </a:lnTo>
                  <a:lnTo>
                    <a:pt x="66249" y="61054"/>
                  </a:lnTo>
                  <a:lnTo>
                    <a:pt x="66249" y="60575"/>
                  </a:lnTo>
                  <a:cubicBezTo>
                    <a:pt x="66249" y="59830"/>
                    <a:pt x="66249" y="59084"/>
                    <a:pt x="66116" y="58338"/>
                  </a:cubicBezTo>
                  <a:lnTo>
                    <a:pt x="66116" y="58179"/>
                  </a:lnTo>
                  <a:cubicBezTo>
                    <a:pt x="66116" y="57673"/>
                    <a:pt x="66116" y="57167"/>
                    <a:pt x="66116" y="56661"/>
                  </a:cubicBezTo>
                  <a:cubicBezTo>
                    <a:pt x="66116" y="55543"/>
                    <a:pt x="65930" y="54451"/>
                    <a:pt x="65797" y="53333"/>
                  </a:cubicBezTo>
                  <a:cubicBezTo>
                    <a:pt x="65797" y="53146"/>
                    <a:pt x="65797" y="52987"/>
                    <a:pt x="65797" y="52827"/>
                  </a:cubicBezTo>
                  <a:cubicBezTo>
                    <a:pt x="65797" y="52667"/>
                    <a:pt x="65797" y="52188"/>
                    <a:pt x="65797" y="51868"/>
                  </a:cubicBezTo>
                  <a:lnTo>
                    <a:pt x="65797" y="51442"/>
                  </a:lnTo>
                  <a:cubicBezTo>
                    <a:pt x="65797" y="50430"/>
                    <a:pt x="65557" y="49392"/>
                    <a:pt x="65424" y="48380"/>
                  </a:cubicBezTo>
                  <a:cubicBezTo>
                    <a:pt x="65291" y="47368"/>
                    <a:pt x="65131" y="45718"/>
                    <a:pt x="64971" y="44546"/>
                  </a:cubicBezTo>
                  <a:cubicBezTo>
                    <a:pt x="64971" y="43960"/>
                    <a:pt x="64785" y="43348"/>
                    <a:pt x="64705" y="42762"/>
                  </a:cubicBezTo>
                  <a:cubicBezTo>
                    <a:pt x="64625" y="42176"/>
                    <a:pt x="64705" y="42150"/>
                    <a:pt x="64705" y="41830"/>
                  </a:cubicBezTo>
                  <a:lnTo>
                    <a:pt x="64386" y="39753"/>
                  </a:lnTo>
                  <a:lnTo>
                    <a:pt x="64386" y="39753"/>
                  </a:lnTo>
                  <a:lnTo>
                    <a:pt x="63906" y="36878"/>
                  </a:lnTo>
                  <a:lnTo>
                    <a:pt x="63906" y="36665"/>
                  </a:lnTo>
                  <a:cubicBezTo>
                    <a:pt x="63906" y="36132"/>
                    <a:pt x="63720" y="35600"/>
                    <a:pt x="63640" y="35094"/>
                  </a:cubicBezTo>
                  <a:lnTo>
                    <a:pt x="63640" y="34641"/>
                  </a:lnTo>
                  <a:cubicBezTo>
                    <a:pt x="63640" y="34348"/>
                    <a:pt x="63640" y="34082"/>
                    <a:pt x="63640" y="33816"/>
                  </a:cubicBezTo>
                  <a:cubicBezTo>
                    <a:pt x="63640" y="33550"/>
                    <a:pt x="63400" y="32591"/>
                    <a:pt x="63294" y="31979"/>
                  </a:cubicBezTo>
                  <a:lnTo>
                    <a:pt x="63294" y="31845"/>
                  </a:lnTo>
                  <a:lnTo>
                    <a:pt x="62815" y="29183"/>
                  </a:lnTo>
                  <a:cubicBezTo>
                    <a:pt x="62655" y="28437"/>
                    <a:pt x="62522" y="27718"/>
                    <a:pt x="62362" y="26973"/>
                  </a:cubicBezTo>
                  <a:lnTo>
                    <a:pt x="62362" y="26520"/>
                  </a:lnTo>
                  <a:cubicBezTo>
                    <a:pt x="62042" y="25056"/>
                    <a:pt x="61723" y="23565"/>
                    <a:pt x="61377" y="22100"/>
                  </a:cubicBezTo>
                  <a:lnTo>
                    <a:pt x="61377" y="22100"/>
                  </a:lnTo>
                  <a:cubicBezTo>
                    <a:pt x="61244" y="21515"/>
                    <a:pt x="61084" y="20902"/>
                    <a:pt x="60951" y="20316"/>
                  </a:cubicBezTo>
                  <a:lnTo>
                    <a:pt x="60951" y="20130"/>
                  </a:lnTo>
                  <a:cubicBezTo>
                    <a:pt x="60711" y="19092"/>
                    <a:pt x="60472" y="18053"/>
                    <a:pt x="60205" y="17015"/>
                  </a:cubicBezTo>
                  <a:lnTo>
                    <a:pt x="60205" y="17015"/>
                  </a:lnTo>
                  <a:cubicBezTo>
                    <a:pt x="60046" y="16402"/>
                    <a:pt x="59912" y="15790"/>
                    <a:pt x="59753" y="15177"/>
                  </a:cubicBezTo>
                  <a:lnTo>
                    <a:pt x="59753" y="15177"/>
                  </a:lnTo>
                  <a:cubicBezTo>
                    <a:pt x="59460" y="14033"/>
                    <a:pt x="59140" y="12914"/>
                    <a:pt x="58847" y="11769"/>
                  </a:cubicBezTo>
                  <a:cubicBezTo>
                    <a:pt x="58688" y="11237"/>
                    <a:pt x="58554" y="10704"/>
                    <a:pt x="58421" y="10172"/>
                  </a:cubicBezTo>
                  <a:cubicBezTo>
                    <a:pt x="57969" y="8548"/>
                    <a:pt x="57489" y="6950"/>
                    <a:pt x="57010" y="5326"/>
                  </a:cubicBezTo>
                  <a:lnTo>
                    <a:pt x="57010" y="5166"/>
                  </a:lnTo>
                  <a:lnTo>
                    <a:pt x="56691" y="4208"/>
                  </a:lnTo>
                  <a:lnTo>
                    <a:pt x="56691" y="4074"/>
                  </a:lnTo>
                  <a:cubicBezTo>
                    <a:pt x="56318" y="2876"/>
                    <a:pt x="55945" y="1651"/>
                    <a:pt x="55546" y="453"/>
                  </a:cubicBezTo>
                  <a:lnTo>
                    <a:pt x="55306" y="-346"/>
                  </a:lnTo>
                  <a:lnTo>
                    <a:pt x="55306" y="-346"/>
                  </a:lnTo>
                  <a:cubicBezTo>
                    <a:pt x="46772" y="5297"/>
                    <a:pt x="38990" y="11998"/>
                    <a:pt x="32141" y="19597"/>
                  </a:cubicBezTo>
                  <a:cubicBezTo>
                    <a:pt x="23791" y="27995"/>
                    <a:pt x="16762" y="37610"/>
                    <a:pt x="11293" y="48114"/>
                  </a:cubicBezTo>
                  <a:cubicBezTo>
                    <a:pt x="7430" y="56395"/>
                    <a:pt x="4423" y="65048"/>
                    <a:pt x="2320" y="73941"/>
                  </a:cubicBezTo>
                  <a:cubicBezTo>
                    <a:pt x="1814" y="76071"/>
                    <a:pt x="1362" y="78122"/>
                    <a:pt x="989" y="80065"/>
                  </a:cubicBezTo>
                  <a:cubicBezTo>
                    <a:pt x="2533" y="85391"/>
                    <a:pt x="3971" y="90876"/>
                    <a:pt x="5355" y="96467"/>
                  </a:cubicBezTo>
                  <a:cubicBezTo>
                    <a:pt x="5728" y="97932"/>
                    <a:pt x="6101" y="99449"/>
                    <a:pt x="6447" y="100940"/>
                  </a:cubicBezTo>
                  <a:cubicBezTo>
                    <a:pt x="9376" y="113215"/>
                    <a:pt x="11985" y="126022"/>
                    <a:pt x="14142" y="139415"/>
                  </a:cubicBezTo>
                  <a:cubicBezTo>
                    <a:pt x="18559" y="125279"/>
                    <a:pt x="25807" y="112187"/>
                    <a:pt x="35443" y="100940"/>
                  </a:cubicBezTo>
                  <a:cubicBezTo>
                    <a:pt x="44062" y="91398"/>
                    <a:pt x="53911" y="83045"/>
                    <a:pt x="64732" y="76098"/>
                  </a:cubicBezTo>
                </a:path>
              </a:pathLst>
            </a:custGeom>
            <a:solidFill>
              <a:srgbClr val="FAC2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1" name="Freeform: Shape 230">
              <a:extLst>
                <a:ext uri="{FF2B5EF4-FFF2-40B4-BE49-F238E27FC236}">
                  <a16:creationId xmlns:a16="http://schemas.microsoft.com/office/drawing/2014/main" id="{F6B78197-0C1C-4179-B8FC-55C4891964DC}"/>
                </a:ext>
              </a:extLst>
            </p:cNvPr>
            <p:cNvSpPr/>
            <p:nvPr/>
          </p:nvSpPr>
          <p:spPr>
            <a:xfrm>
              <a:off x="11422998" y="6669063"/>
              <a:ext cx="51268" cy="87781"/>
            </a:xfrm>
            <a:custGeom>
              <a:avLst/>
              <a:gdLst>
                <a:gd name="connsiteX0" fmla="*/ 91837 w 90848"/>
                <a:gd name="connsiteY0" fmla="*/ 74447 h 155549"/>
                <a:gd name="connsiteX1" fmla="*/ 91438 w 90848"/>
                <a:gd name="connsiteY1" fmla="*/ 73276 h 155549"/>
                <a:gd name="connsiteX2" fmla="*/ 90532 w 90848"/>
                <a:gd name="connsiteY2" fmla="*/ 70613 h 155549"/>
                <a:gd name="connsiteX3" fmla="*/ 89787 w 90848"/>
                <a:gd name="connsiteY3" fmla="*/ 68430 h 155549"/>
                <a:gd name="connsiteX4" fmla="*/ 88908 w 90848"/>
                <a:gd name="connsiteY4" fmla="*/ 66060 h 155549"/>
                <a:gd name="connsiteX5" fmla="*/ 88056 w 90848"/>
                <a:gd name="connsiteY5" fmla="*/ 63770 h 155549"/>
                <a:gd name="connsiteX6" fmla="*/ 87737 w 90848"/>
                <a:gd name="connsiteY6" fmla="*/ 62892 h 155549"/>
                <a:gd name="connsiteX7" fmla="*/ 85341 w 90848"/>
                <a:gd name="connsiteY7" fmla="*/ 56874 h 155549"/>
                <a:gd name="connsiteX8" fmla="*/ 84701 w 90848"/>
                <a:gd name="connsiteY8" fmla="*/ 55356 h 155549"/>
                <a:gd name="connsiteX9" fmla="*/ 83477 w 90848"/>
                <a:gd name="connsiteY9" fmla="*/ 52481 h 155549"/>
                <a:gd name="connsiteX10" fmla="*/ 61217 w 90848"/>
                <a:gd name="connsiteY10" fmla="*/ 11956 h 155549"/>
                <a:gd name="connsiteX11" fmla="*/ 52351 w 90848"/>
                <a:gd name="connsiteY11" fmla="*/ -346 h 155549"/>
                <a:gd name="connsiteX12" fmla="*/ 45108 w 90848"/>
                <a:gd name="connsiteY12" fmla="*/ 4660 h 155549"/>
                <a:gd name="connsiteX13" fmla="*/ 44230 w 90848"/>
                <a:gd name="connsiteY13" fmla="*/ 5299 h 155549"/>
                <a:gd name="connsiteX14" fmla="*/ 989 w 90848"/>
                <a:gd name="connsiteY14" fmla="*/ 61214 h 155549"/>
                <a:gd name="connsiteX15" fmla="*/ 989 w 90848"/>
                <a:gd name="connsiteY15" fmla="*/ 61214 h 155549"/>
                <a:gd name="connsiteX16" fmla="*/ 28840 w 90848"/>
                <a:gd name="connsiteY16" fmla="*/ 123253 h 155549"/>
                <a:gd name="connsiteX17" fmla="*/ 37360 w 90848"/>
                <a:gd name="connsiteY17" fmla="*/ 149080 h 155549"/>
                <a:gd name="connsiteX18" fmla="*/ 39144 w 90848"/>
                <a:gd name="connsiteY18" fmla="*/ 155204 h 155549"/>
                <a:gd name="connsiteX19" fmla="*/ 40475 w 90848"/>
                <a:gd name="connsiteY19" fmla="*/ 149080 h 155549"/>
                <a:gd name="connsiteX20" fmla="*/ 49448 w 90848"/>
                <a:gd name="connsiteY20" fmla="*/ 123253 h 155549"/>
                <a:gd name="connsiteX21" fmla="*/ 68646 w 90848"/>
                <a:gd name="connsiteY21" fmla="*/ 94284 h 155549"/>
                <a:gd name="connsiteX22" fmla="*/ 91811 w 90848"/>
                <a:gd name="connsiteY22" fmla="*/ 74341 h 1555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90848" h="155549">
                  <a:moveTo>
                    <a:pt x="91837" y="74447"/>
                  </a:moveTo>
                  <a:lnTo>
                    <a:pt x="91438" y="73276"/>
                  </a:lnTo>
                  <a:cubicBezTo>
                    <a:pt x="91145" y="72397"/>
                    <a:pt x="90852" y="71518"/>
                    <a:pt x="90532" y="70613"/>
                  </a:cubicBezTo>
                  <a:lnTo>
                    <a:pt x="89787" y="68430"/>
                  </a:lnTo>
                  <a:lnTo>
                    <a:pt x="88908" y="66060"/>
                  </a:lnTo>
                  <a:cubicBezTo>
                    <a:pt x="88642" y="65288"/>
                    <a:pt x="88349" y="64516"/>
                    <a:pt x="88056" y="63770"/>
                  </a:cubicBezTo>
                  <a:lnTo>
                    <a:pt x="87737" y="62892"/>
                  </a:lnTo>
                  <a:cubicBezTo>
                    <a:pt x="86965" y="60868"/>
                    <a:pt x="86166" y="58871"/>
                    <a:pt x="85341" y="56874"/>
                  </a:cubicBezTo>
                  <a:lnTo>
                    <a:pt x="84701" y="55356"/>
                  </a:lnTo>
                  <a:cubicBezTo>
                    <a:pt x="84302" y="54398"/>
                    <a:pt x="83903" y="53439"/>
                    <a:pt x="83477" y="52481"/>
                  </a:cubicBezTo>
                  <a:cubicBezTo>
                    <a:pt x="77315" y="38318"/>
                    <a:pt x="69863" y="24752"/>
                    <a:pt x="61217" y="11956"/>
                  </a:cubicBezTo>
                  <a:cubicBezTo>
                    <a:pt x="58395" y="7775"/>
                    <a:pt x="55413" y="3675"/>
                    <a:pt x="52351" y="-346"/>
                  </a:cubicBezTo>
                  <a:cubicBezTo>
                    <a:pt x="49874" y="1252"/>
                    <a:pt x="47478" y="2929"/>
                    <a:pt x="45108" y="4660"/>
                  </a:cubicBezTo>
                  <a:lnTo>
                    <a:pt x="44230" y="5299"/>
                  </a:lnTo>
                  <a:cubicBezTo>
                    <a:pt x="25083" y="19741"/>
                    <a:pt x="10151" y="39048"/>
                    <a:pt x="989" y="61214"/>
                  </a:cubicBezTo>
                  <a:lnTo>
                    <a:pt x="989" y="61214"/>
                  </a:lnTo>
                  <a:cubicBezTo>
                    <a:pt x="11823" y="81162"/>
                    <a:pt x="21134" y="101901"/>
                    <a:pt x="28840" y="123253"/>
                  </a:cubicBezTo>
                  <a:cubicBezTo>
                    <a:pt x="31822" y="131534"/>
                    <a:pt x="34698" y="140134"/>
                    <a:pt x="37360" y="149080"/>
                  </a:cubicBezTo>
                  <a:cubicBezTo>
                    <a:pt x="37972" y="151104"/>
                    <a:pt x="38558" y="153154"/>
                    <a:pt x="39144" y="155204"/>
                  </a:cubicBezTo>
                  <a:cubicBezTo>
                    <a:pt x="39517" y="153261"/>
                    <a:pt x="39969" y="151210"/>
                    <a:pt x="40475" y="149080"/>
                  </a:cubicBezTo>
                  <a:cubicBezTo>
                    <a:pt x="42579" y="140187"/>
                    <a:pt x="45585" y="131534"/>
                    <a:pt x="49448" y="123253"/>
                  </a:cubicBezTo>
                  <a:cubicBezTo>
                    <a:pt x="54372" y="112696"/>
                    <a:pt x="60842" y="102932"/>
                    <a:pt x="68646" y="94284"/>
                  </a:cubicBezTo>
                  <a:cubicBezTo>
                    <a:pt x="75494" y="86685"/>
                    <a:pt x="83277" y="79983"/>
                    <a:pt x="91811" y="74341"/>
                  </a:cubicBezTo>
                  <a:close/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2" name="Freeform: Shape 231">
              <a:extLst>
                <a:ext uri="{FF2B5EF4-FFF2-40B4-BE49-F238E27FC236}">
                  <a16:creationId xmlns:a16="http://schemas.microsoft.com/office/drawing/2014/main" id="{BA4C586C-8502-4947-8EA9-1C9F35A35EF4}"/>
                </a:ext>
              </a:extLst>
            </p:cNvPr>
            <p:cNvSpPr/>
            <p:nvPr/>
          </p:nvSpPr>
          <p:spPr>
            <a:xfrm>
              <a:off x="11393940" y="6672699"/>
              <a:ext cx="29090" cy="31088"/>
            </a:xfrm>
            <a:custGeom>
              <a:avLst/>
              <a:gdLst>
                <a:gd name="connsiteX0" fmla="*/ 17790 w 51548"/>
                <a:gd name="connsiteY0" fmla="*/ 1145 h 55089"/>
                <a:gd name="connsiteX1" fmla="*/ 16618 w 51548"/>
                <a:gd name="connsiteY1" fmla="*/ -346 h 55089"/>
                <a:gd name="connsiteX2" fmla="*/ 16272 w 51548"/>
                <a:gd name="connsiteY2" fmla="*/ 293 h 55089"/>
                <a:gd name="connsiteX3" fmla="*/ 989 w 51548"/>
                <a:gd name="connsiteY3" fmla="*/ 48939 h 55089"/>
                <a:gd name="connsiteX4" fmla="*/ 32940 w 51548"/>
                <a:gd name="connsiteY4" fmla="*/ 50111 h 55089"/>
                <a:gd name="connsiteX5" fmla="*/ 52537 w 51548"/>
                <a:gd name="connsiteY5" fmla="*/ 54744 h 55089"/>
                <a:gd name="connsiteX6" fmla="*/ 17923 w 51548"/>
                <a:gd name="connsiteY6" fmla="*/ 1145 h 550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1548" h="55089">
                  <a:moveTo>
                    <a:pt x="17790" y="1145"/>
                  </a:moveTo>
                  <a:cubicBezTo>
                    <a:pt x="17390" y="640"/>
                    <a:pt x="17018" y="134"/>
                    <a:pt x="16618" y="-346"/>
                  </a:cubicBezTo>
                  <a:cubicBezTo>
                    <a:pt x="16618" y="-133"/>
                    <a:pt x="16405" y="80"/>
                    <a:pt x="16272" y="293"/>
                  </a:cubicBezTo>
                  <a:cubicBezTo>
                    <a:pt x="8353" y="15484"/>
                    <a:pt x="3180" y="31952"/>
                    <a:pt x="989" y="48939"/>
                  </a:cubicBezTo>
                  <a:cubicBezTo>
                    <a:pt x="11647" y="48055"/>
                    <a:pt x="22375" y="48449"/>
                    <a:pt x="32940" y="50111"/>
                  </a:cubicBezTo>
                  <a:cubicBezTo>
                    <a:pt x="39578" y="51171"/>
                    <a:pt x="46128" y="52718"/>
                    <a:pt x="52537" y="54744"/>
                  </a:cubicBezTo>
                  <a:cubicBezTo>
                    <a:pt x="42395" y="36015"/>
                    <a:pt x="30823" y="18096"/>
                    <a:pt x="17923" y="1145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3" name="Freeform: Shape 232">
              <a:extLst>
                <a:ext uri="{FF2B5EF4-FFF2-40B4-BE49-F238E27FC236}">
                  <a16:creationId xmlns:a16="http://schemas.microsoft.com/office/drawing/2014/main" id="{3A35EDBC-7B64-4E47-BBC2-2F7872C18374}"/>
                </a:ext>
              </a:extLst>
            </p:cNvPr>
            <p:cNvSpPr/>
            <p:nvPr/>
          </p:nvSpPr>
          <p:spPr>
            <a:xfrm>
              <a:off x="11401092" y="6746296"/>
              <a:ext cx="50862" cy="44116"/>
            </a:xfrm>
            <a:custGeom>
              <a:avLst/>
              <a:gdLst>
                <a:gd name="connsiteX0" fmla="*/ 83423 w 90129"/>
                <a:gd name="connsiteY0" fmla="*/ 39327 h 78174"/>
                <a:gd name="connsiteX1" fmla="*/ 82332 w 90129"/>
                <a:gd name="connsiteY1" fmla="*/ 34854 h 78174"/>
                <a:gd name="connsiteX2" fmla="*/ 77965 w 90129"/>
                <a:gd name="connsiteY2" fmla="*/ 18453 h 78174"/>
                <a:gd name="connsiteX3" fmla="*/ 66489 w 90129"/>
                <a:gd name="connsiteY3" fmla="*/ 12328 h 78174"/>
                <a:gd name="connsiteX4" fmla="*/ 13956 w 90129"/>
                <a:gd name="connsiteY4" fmla="*/ -292 h 78174"/>
                <a:gd name="connsiteX5" fmla="*/ 989 w 90129"/>
                <a:gd name="connsiteY5" fmla="*/ -79 h 78174"/>
                <a:gd name="connsiteX6" fmla="*/ 7619 w 90129"/>
                <a:gd name="connsiteY6" fmla="*/ 12355 h 78174"/>
                <a:gd name="connsiteX7" fmla="*/ 28227 w 90129"/>
                <a:gd name="connsiteY7" fmla="*/ 39354 h 78174"/>
                <a:gd name="connsiteX8" fmla="*/ 91118 w 90129"/>
                <a:gd name="connsiteY8" fmla="*/ 77829 h 78174"/>
                <a:gd name="connsiteX9" fmla="*/ 83423 w 90129"/>
                <a:gd name="connsiteY9" fmla="*/ 39354 h 781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0129" h="78174">
                  <a:moveTo>
                    <a:pt x="83423" y="39327"/>
                  </a:moveTo>
                  <a:cubicBezTo>
                    <a:pt x="83077" y="37836"/>
                    <a:pt x="82704" y="36319"/>
                    <a:pt x="82332" y="34854"/>
                  </a:cubicBezTo>
                  <a:cubicBezTo>
                    <a:pt x="80947" y="29263"/>
                    <a:pt x="79509" y="23804"/>
                    <a:pt x="77965" y="18453"/>
                  </a:cubicBezTo>
                  <a:cubicBezTo>
                    <a:pt x="74272" y="16235"/>
                    <a:pt x="70448" y="14192"/>
                    <a:pt x="66489" y="12328"/>
                  </a:cubicBezTo>
                  <a:cubicBezTo>
                    <a:pt x="50021" y="4588"/>
                    <a:pt x="32144" y="293"/>
                    <a:pt x="13956" y="-292"/>
                  </a:cubicBezTo>
                  <a:cubicBezTo>
                    <a:pt x="9589" y="-425"/>
                    <a:pt x="5275" y="-292"/>
                    <a:pt x="989" y="-79"/>
                  </a:cubicBezTo>
                  <a:cubicBezTo>
                    <a:pt x="3012" y="4181"/>
                    <a:pt x="5222" y="8327"/>
                    <a:pt x="7619" y="12355"/>
                  </a:cubicBezTo>
                  <a:cubicBezTo>
                    <a:pt x="13418" y="22122"/>
                    <a:pt x="20335" y="31182"/>
                    <a:pt x="28227" y="39354"/>
                  </a:cubicBezTo>
                  <a:cubicBezTo>
                    <a:pt x="45566" y="57332"/>
                    <a:pt x="67216" y="70576"/>
                    <a:pt x="91118" y="77829"/>
                  </a:cubicBezTo>
                  <a:cubicBezTo>
                    <a:pt x="88961" y="64516"/>
                    <a:pt x="86352" y="51629"/>
                    <a:pt x="83423" y="39354"/>
                  </a:cubicBezTo>
                </a:path>
              </a:pathLst>
            </a:custGeom>
            <a:solidFill>
              <a:srgbClr val="E09C00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4" name="Freeform: Shape 233">
              <a:extLst>
                <a:ext uri="{FF2B5EF4-FFF2-40B4-BE49-F238E27FC236}">
                  <a16:creationId xmlns:a16="http://schemas.microsoft.com/office/drawing/2014/main" id="{1CC412CC-E534-4A2D-A48F-BD138ED3B592}"/>
                </a:ext>
              </a:extLst>
            </p:cNvPr>
            <p:cNvSpPr/>
            <p:nvPr/>
          </p:nvSpPr>
          <p:spPr>
            <a:xfrm>
              <a:off x="11451983" y="6691629"/>
              <a:ext cx="106699" cy="102254"/>
            </a:xfrm>
            <a:custGeom>
              <a:avLst/>
              <a:gdLst>
                <a:gd name="connsiteX0" fmla="*/ 189954 w 189072"/>
                <a:gd name="connsiteY0" fmla="*/ 30014 h 181196"/>
                <a:gd name="connsiteX1" fmla="*/ 188463 w 189072"/>
                <a:gd name="connsiteY1" fmla="*/ 13159 h 181196"/>
                <a:gd name="connsiteX2" fmla="*/ 180928 w 189072"/>
                <a:gd name="connsiteY2" fmla="*/ 13639 h 181196"/>
                <a:gd name="connsiteX3" fmla="*/ 171449 w 189072"/>
                <a:gd name="connsiteY3" fmla="*/ 21467 h 181196"/>
                <a:gd name="connsiteX4" fmla="*/ 171449 w 189072"/>
                <a:gd name="connsiteY4" fmla="*/ 21467 h 181196"/>
                <a:gd name="connsiteX5" fmla="*/ 171449 w 189072"/>
                <a:gd name="connsiteY5" fmla="*/ 21467 h 181196"/>
                <a:gd name="connsiteX6" fmla="*/ 169080 w 189072"/>
                <a:gd name="connsiteY6" fmla="*/ 52513 h 181196"/>
                <a:gd name="connsiteX7" fmla="*/ 162370 w 189072"/>
                <a:gd name="connsiteY7" fmla="*/ 81988 h 181196"/>
                <a:gd name="connsiteX8" fmla="*/ 161944 w 189072"/>
                <a:gd name="connsiteY8" fmla="*/ 83373 h 181196"/>
                <a:gd name="connsiteX9" fmla="*/ 151773 w 189072"/>
                <a:gd name="connsiteY9" fmla="*/ 109200 h 181196"/>
                <a:gd name="connsiteX10" fmla="*/ 145169 w 189072"/>
                <a:gd name="connsiteY10" fmla="*/ 120649 h 181196"/>
                <a:gd name="connsiteX11" fmla="*/ 143785 w 189072"/>
                <a:gd name="connsiteY11" fmla="*/ 121395 h 181196"/>
                <a:gd name="connsiteX12" fmla="*/ 142853 w 189072"/>
                <a:gd name="connsiteY12" fmla="*/ 121102 h 181196"/>
                <a:gd name="connsiteX13" fmla="*/ 142400 w 189072"/>
                <a:gd name="connsiteY13" fmla="*/ 118785 h 181196"/>
                <a:gd name="connsiteX14" fmla="*/ 147992 w 189072"/>
                <a:gd name="connsiteY14" fmla="*/ 109200 h 181196"/>
                <a:gd name="connsiteX15" fmla="*/ 158323 w 189072"/>
                <a:gd name="connsiteY15" fmla="*/ 83373 h 181196"/>
                <a:gd name="connsiteX16" fmla="*/ 159042 w 189072"/>
                <a:gd name="connsiteY16" fmla="*/ 81030 h 181196"/>
                <a:gd name="connsiteX17" fmla="*/ 165725 w 189072"/>
                <a:gd name="connsiteY17" fmla="*/ 51315 h 181196"/>
                <a:gd name="connsiteX18" fmla="*/ 168121 w 189072"/>
                <a:gd name="connsiteY18" fmla="*/ 20215 h 181196"/>
                <a:gd name="connsiteX19" fmla="*/ 166763 w 189072"/>
                <a:gd name="connsiteY19" fmla="*/ -340 h 181196"/>
                <a:gd name="connsiteX20" fmla="*/ 166763 w 189072"/>
                <a:gd name="connsiteY20" fmla="*/ -340 h 181196"/>
                <a:gd name="connsiteX21" fmla="*/ 166763 w 189072"/>
                <a:gd name="connsiteY21" fmla="*/ -340 h 181196"/>
                <a:gd name="connsiteX22" fmla="*/ 154062 w 189072"/>
                <a:gd name="connsiteY22" fmla="*/ 2589 h 181196"/>
                <a:gd name="connsiteX23" fmla="*/ 146847 w 189072"/>
                <a:gd name="connsiteY23" fmla="*/ 14544 h 181196"/>
                <a:gd name="connsiteX24" fmla="*/ 146847 w 189072"/>
                <a:gd name="connsiteY24" fmla="*/ 14544 h 181196"/>
                <a:gd name="connsiteX25" fmla="*/ 144371 w 189072"/>
                <a:gd name="connsiteY25" fmla="*/ 46016 h 181196"/>
                <a:gd name="connsiteX26" fmla="*/ 137181 w 189072"/>
                <a:gd name="connsiteY26" fmla="*/ 76636 h 181196"/>
                <a:gd name="connsiteX27" fmla="*/ 134972 w 189072"/>
                <a:gd name="connsiteY27" fmla="*/ 83293 h 181196"/>
                <a:gd name="connsiteX28" fmla="*/ 123070 w 189072"/>
                <a:gd name="connsiteY28" fmla="*/ 109120 h 181196"/>
                <a:gd name="connsiteX29" fmla="*/ 120167 w 189072"/>
                <a:gd name="connsiteY29" fmla="*/ 113700 h 181196"/>
                <a:gd name="connsiteX30" fmla="*/ 118783 w 189072"/>
                <a:gd name="connsiteY30" fmla="*/ 114445 h 181196"/>
                <a:gd name="connsiteX31" fmla="*/ 117851 w 189072"/>
                <a:gd name="connsiteY31" fmla="*/ 114152 h 181196"/>
                <a:gd name="connsiteX32" fmla="*/ 117409 w 189072"/>
                <a:gd name="connsiteY32" fmla="*/ 111860 h 181196"/>
                <a:gd name="connsiteX33" fmla="*/ 117425 w 189072"/>
                <a:gd name="connsiteY33" fmla="*/ 111836 h 181196"/>
                <a:gd name="connsiteX34" fmla="*/ 119156 w 189072"/>
                <a:gd name="connsiteY34" fmla="*/ 109173 h 181196"/>
                <a:gd name="connsiteX35" fmla="*/ 131430 w 189072"/>
                <a:gd name="connsiteY35" fmla="*/ 83346 h 181196"/>
                <a:gd name="connsiteX36" fmla="*/ 133827 w 189072"/>
                <a:gd name="connsiteY36" fmla="*/ 76343 h 181196"/>
                <a:gd name="connsiteX37" fmla="*/ 141069 w 189072"/>
                <a:gd name="connsiteY37" fmla="*/ 45590 h 181196"/>
                <a:gd name="connsiteX38" fmla="*/ 143465 w 189072"/>
                <a:gd name="connsiteY38" fmla="*/ 14038 h 181196"/>
                <a:gd name="connsiteX39" fmla="*/ 143465 w 189072"/>
                <a:gd name="connsiteY39" fmla="*/ 13798 h 181196"/>
                <a:gd name="connsiteX40" fmla="*/ 143465 w 189072"/>
                <a:gd name="connsiteY40" fmla="*/ 13798 h 181196"/>
                <a:gd name="connsiteX41" fmla="*/ 140403 w 189072"/>
                <a:gd name="connsiteY41" fmla="*/ 13585 h 181196"/>
                <a:gd name="connsiteX42" fmla="*/ 128208 w 189072"/>
                <a:gd name="connsiteY42" fmla="*/ 18911 h 181196"/>
                <a:gd name="connsiteX43" fmla="*/ 121978 w 189072"/>
                <a:gd name="connsiteY43" fmla="*/ 36670 h 181196"/>
                <a:gd name="connsiteX44" fmla="*/ 121073 w 189072"/>
                <a:gd name="connsiteY44" fmla="*/ 41809 h 181196"/>
                <a:gd name="connsiteX45" fmla="*/ 120673 w 189072"/>
                <a:gd name="connsiteY45" fmla="*/ 43993 h 181196"/>
                <a:gd name="connsiteX46" fmla="*/ 110901 w 189072"/>
                <a:gd name="connsiteY46" fmla="*/ 75944 h 181196"/>
                <a:gd name="connsiteX47" fmla="*/ 107546 w 189072"/>
                <a:gd name="connsiteY47" fmla="*/ 83453 h 181196"/>
                <a:gd name="connsiteX48" fmla="*/ 93807 w 189072"/>
                <a:gd name="connsiteY48" fmla="*/ 106218 h 181196"/>
                <a:gd name="connsiteX49" fmla="*/ 92476 w 189072"/>
                <a:gd name="connsiteY49" fmla="*/ 106883 h 181196"/>
                <a:gd name="connsiteX50" fmla="*/ 91464 w 189072"/>
                <a:gd name="connsiteY50" fmla="*/ 106564 h 181196"/>
                <a:gd name="connsiteX51" fmla="*/ 91118 w 189072"/>
                <a:gd name="connsiteY51" fmla="*/ 104221 h 181196"/>
                <a:gd name="connsiteX52" fmla="*/ 103792 w 189072"/>
                <a:gd name="connsiteY52" fmla="*/ 83266 h 181196"/>
                <a:gd name="connsiteX53" fmla="*/ 107147 w 189072"/>
                <a:gd name="connsiteY53" fmla="*/ 76024 h 181196"/>
                <a:gd name="connsiteX54" fmla="*/ 117105 w 189072"/>
                <a:gd name="connsiteY54" fmla="*/ 44019 h 181196"/>
                <a:gd name="connsiteX55" fmla="*/ 117691 w 189072"/>
                <a:gd name="connsiteY55" fmla="*/ 41064 h 181196"/>
                <a:gd name="connsiteX56" fmla="*/ 105470 w 189072"/>
                <a:gd name="connsiteY56" fmla="*/ 42235 h 181196"/>
                <a:gd name="connsiteX57" fmla="*/ 101502 w 189072"/>
                <a:gd name="connsiteY57" fmla="*/ 44898 h 181196"/>
                <a:gd name="connsiteX58" fmla="*/ 97881 w 189072"/>
                <a:gd name="connsiteY58" fmla="*/ 50835 h 181196"/>
                <a:gd name="connsiteX59" fmla="*/ 97509 w 189072"/>
                <a:gd name="connsiteY59" fmla="*/ 51980 h 181196"/>
                <a:gd name="connsiteX60" fmla="*/ 91491 w 189072"/>
                <a:gd name="connsiteY60" fmla="*/ 66412 h 181196"/>
                <a:gd name="connsiteX61" fmla="*/ 83716 w 189072"/>
                <a:gd name="connsiteY61" fmla="*/ 79725 h 181196"/>
                <a:gd name="connsiteX62" fmla="*/ 81266 w 189072"/>
                <a:gd name="connsiteY62" fmla="*/ 83293 h 181196"/>
                <a:gd name="connsiteX63" fmla="*/ 79909 w 189072"/>
                <a:gd name="connsiteY63" fmla="*/ 85130 h 181196"/>
                <a:gd name="connsiteX64" fmla="*/ 64093 w 189072"/>
                <a:gd name="connsiteY64" fmla="*/ 102091 h 181196"/>
                <a:gd name="connsiteX65" fmla="*/ 54774 w 189072"/>
                <a:gd name="connsiteY65" fmla="*/ 109120 h 181196"/>
                <a:gd name="connsiteX66" fmla="*/ 53043 w 189072"/>
                <a:gd name="connsiteY66" fmla="*/ 110292 h 181196"/>
                <a:gd name="connsiteX67" fmla="*/ 53043 w 189072"/>
                <a:gd name="connsiteY67" fmla="*/ 110292 h 181196"/>
                <a:gd name="connsiteX68" fmla="*/ 51578 w 189072"/>
                <a:gd name="connsiteY68" fmla="*/ 111250 h 181196"/>
                <a:gd name="connsiteX69" fmla="*/ 22290 w 189072"/>
                <a:gd name="connsiteY69" fmla="*/ 136092 h 181196"/>
                <a:gd name="connsiteX70" fmla="*/ 989 w 189072"/>
                <a:gd name="connsiteY70" fmla="*/ 174567 h 181196"/>
                <a:gd name="connsiteX71" fmla="*/ 1468 w 189072"/>
                <a:gd name="connsiteY71" fmla="*/ 174700 h 181196"/>
                <a:gd name="connsiteX72" fmla="*/ 21065 w 189072"/>
                <a:gd name="connsiteY72" fmla="*/ 179120 h 181196"/>
                <a:gd name="connsiteX73" fmla="*/ 43511 w 189072"/>
                <a:gd name="connsiteY73" fmla="*/ 180851 h 181196"/>
                <a:gd name="connsiteX74" fmla="*/ 43910 w 189072"/>
                <a:gd name="connsiteY74" fmla="*/ 180851 h 181196"/>
                <a:gd name="connsiteX75" fmla="*/ 148924 w 189072"/>
                <a:gd name="connsiteY75" fmla="*/ 136119 h 181196"/>
                <a:gd name="connsiteX76" fmla="*/ 169559 w 189072"/>
                <a:gd name="connsiteY76" fmla="*/ 109120 h 181196"/>
                <a:gd name="connsiteX77" fmla="*/ 179783 w 189072"/>
                <a:gd name="connsiteY77" fmla="*/ 88325 h 181196"/>
                <a:gd name="connsiteX78" fmla="*/ 181674 w 189072"/>
                <a:gd name="connsiteY78" fmla="*/ 83293 h 181196"/>
                <a:gd name="connsiteX79" fmla="*/ 187718 w 189072"/>
                <a:gd name="connsiteY79" fmla="*/ 60527 h 181196"/>
                <a:gd name="connsiteX80" fmla="*/ 190061 w 189072"/>
                <a:gd name="connsiteY80" fmla="*/ 34301 h 181196"/>
                <a:gd name="connsiteX81" fmla="*/ 190061 w 189072"/>
                <a:gd name="connsiteY81" fmla="*/ 29854 h 1811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189072" h="181196">
                  <a:moveTo>
                    <a:pt x="189954" y="30014"/>
                  </a:moveTo>
                  <a:cubicBezTo>
                    <a:pt x="189784" y="24372"/>
                    <a:pt x="189286" y="18743"/>
                    <a:pt x="188463" y="13159"/>
                  </a:cubicBezTo>
                  <a:cubicBezTo>
                    <a:pt x="185942" y="12909"/>
                    <a:pt x="183396" y="13072"/>
                    <a:pt x="180928" y="13639"/>
                  </a:cubicBezTo>
                  <a:cubicBezTo>
                    <a:pt x="176713" y="14613"/>
                    <a:pt x="173204" y="17513"/>
                    <a:pt x="171449" y="21467"/>
                  </a:cubicBezTo>
                  <a:lnTo>
                    <a:pt x="171449" y="21467"/>
                  </a:lnTo>
                  <a:lnTo>
                    <a:pt x="171449" y="21467"/>
                  </a:lnTo>
                  <a:cubicBezTo>
                    <a:pt x="171487" y="31862"/>
                    <a:pt x="170693" y="42243"/>
                    <a:pt x="169080" y="52513"/>
                  </a:cubicBezTo>
                  <a:cubicBezTo>
                    <a:pt x="167522" y="62479"/>
                    <a:pt x="165280" y="72328"/>
                    <a:pt x="162370" y="81988"/>
                  </a:cubicBezTo>
                  <a:cubicBezTo>
                    <a:pt x="162210" y="82441"/>
                    <a:pt x="162077" y="82893"/>
                    <a:pt x="161944" y="83373"/>
                  </a:cubicBezTo>
                  <a:cubicBezTo>
                    <a:pt x="159260" y="92244"/>
                    <a:pt x="155860" y="100882"/>
                    <a:pt x="151773" y="109200"/>
                  </a:cubicBezTo>
                  <a:cubicBezTo>
                    <a:pt x="149821" y="113154"/>
                    <a:pt x="147614" y="116980"/>
                    <a:pt x="145169" y="120649"/>
                  </a:cubicBezTo>
                  <a:cubicBezTo>
                    <a:pt x="144860" y="121112"/>
                    <a:pt x="144341" y="121392"/>
                    <a:pt x="143785" y="121395"/>
                  </a:cubicBezTo>
                  <a:cubicBezTo>
                    <a:pt x="143452" y="121387"/>
                    <a:pt x="143130" y="121286"/>
                    <a:pt x="142853" y="121102"/>
                  </a:cubicBezTo>
                  <a:cubicBezTo>
                    <a:pt x="142091" y="120585"/>
                    <a:pt x="141892" y="119552"/>
                    <a:pt x="142400" y="118785"/>
                  </a:cubicBezTo>
                  <a:cubicBezTo>
                    <a:pt x="144458" y="115707"/>
                    <a:pt x="146325" y="112507"/>
                    <a:pt x="147992" y="109200"/>
                  </a:cubicBezTo>
                  <a:cubicBezTo>
                    <a:pt x="152161" y="100898"/>
                    <a:pt x="155617" y="92258"/>
                    <a:pt x="158323" y="83373"/>
                  </a:cubicBezTo>
                  <a:lnTo>
                    <a:pt x="159042" y="81030"/>
                  </a:lnTo>
                  <a:cubicBezTo>
                    <a:pt x="161944" y="71290"/>
                    <a:pt x="164178" y="61361"/>
                    <a:pt x="165725" y="51315"/>
                  </a:cubicBezTo>
                  <a:cubicBezTo>
                    <a:pt x="167306" y="41024"/>
                    <a:pt x="168108" y="30626"/>
                    <a:pt x="168121" y="20215"/>
                  </a:cubicBezTo>
                  <a:cubicBezTo>
                    <a:pt x="168116" y="13341"/>
                    <a:pt x="167663" y="6474"/>
                    <a:pt x="166763" y="-340"/>
                  </a:cubicBezTo>
                  <a:lnTo>
                    <a:pt x="166763" y="-340"/>
                  </a:lnTo>
                  <a:lnTo>
                    <a:pt x="166763" y="-340"/>
                  </a:lnTo>
                  <a:cubicBezTo>
                    <a:pt x="162351" y="-431"/>
                    <a:pt x="157987" y="576"/>
                    <a:pt x="154062" y="2589"/>
                  </a:cubicBezTo>
                  <a:cubicBezTo>
                    <a:pt x="149685" y="4988"/>
                    <a:pt x="146929" y="9552"/>
                    <a:pt x="146847" y="14544"/>
                  </a:cubicBezTo>
                  <a:lnTo>
                    <a:pt x="146847" y="14544"/>
                  </a:lnTo>
                  <a:cubicBezTo>
                    <a:pt x="146868" y="25085"/>
                    <a:pt x="146040" y="35608"/>
                    <a:pt x="144371" y="46016"/>
                  </a:cubicBezTo>
                  <a:cubicBezTo>
                    <a:pt x="142752" y="56390"/>
                    <a:pt x="140347" y="66625"/>
                    <a:pt x="137181" y="76636"/>
                  </a:cubicBezTo>
                  <a:cubicBezTo>
                    <a:pt x="136489" y="78899"/>
                    <a:pt x="135744" y="81109"/>
                    <a:pt x="134972" y="83293"/>
                  </a:cubicBezTo>
                  <a:cubicBezTo>
                    <a:pt x="131840" y="92263"/>
                    <a:pt x="127854" y="100911"/>
                    <a:pt x="123070" y="109120"/>
                  </a:cubicBezTo>
                  <a:cubicBezTo>
                    <a:pt x="122111" y="110744"/>
                    <a:pt x="121153" y="112262"/>
                    <a:pt x="120167" y="113700"/>
                  </a:cubicBezTo>
                  <a:cubicBezTo>
                    <a:pt x="119861" y="114166"/>
                    <a:pt x="119342" y="114448"/>
                    <a:pt x="118783" y="114445"/>
                  </a:cubicBezTo>
                  <a:cubicBezTo>
                    <a:pt x="118450" y="114437"/>
                    <a:pt x="118128" y="114336"/>
                    <a:pt x="117851" y="114152"/>
                  </a:cubicBezTo>
                  <a:cubicBezTo>
                    <a:pt x="117095" y="113641"/>
                    <a:pt x="116898" y="112616"/>
                    <a:pt x="117409" y="111860"/>
                  </a:cubicBezTo>
                  <a:cubicBezTo>
                    <a:pt x="117414" y="111852"/>
                    <a:pt x="117419" y="111844"/>
                    <a:pt x="117425" y="111836"/>
                  </a:cubicBezTo>
                  <a:cubicBezTo>
                    <a:pt x="118011" y="110957"/>
                    <a:pt x="118570" y="110052"/>
                    <a:pt x="119156" y="109173"/>
                  </a:cubicBezTo>
                  <a:cubicBezTo>
                    <a:pt x="124127" y="101010"/>
                    <a:pt x="128240" y="92356"/>
                    <a:pt x="131430" y="83346"/>
                  </a:cubicBezTo>
                  <a:cubicBezTo>
                    <a:pt x="132256" y="81056"/>
                    <a:pt x="133054" y="78713"/>
                    <a:pt x="133827" y="76343"/>
                  </a:cubicBezTo>
                  <a:cubicBezTo>
                    <a:pt x="137027" y="66292"/>
                    <a:pt x="139447" y="56012"/>
                    <a:pt x="141069" y="45590"/>
                  </a:cubicBezTo>
                  <a:cubicBezTo>
                    <a:pt x="142738" y="35158"/>
                    <a:pt x="143540" y="24603"/>
                    <a:pt x="143465" y="14038"/>
                  </a:cubicBezTo>
                  <a:lnTo>
                    <a:pt x="143465" y="13798"/>
                  </a:lnTo>
                  <a:lnTo>
                    <a:pt x="143465" y="13798"/>
                  </a:lnTo>
                  <a:cubicBezTo>
                    <a:pt x="142451" y="13655"/>
                    <a:pt x="141428" y="13583"/>
                    <a:pt x="140403" y="13585"/>
                  </a:cubicBezTo>
                  <a:cubicBezTo>
                    <a:pt x="135741" y="13418"/>
                    <a:pt x="131255" y="15375"/>
                    <a:pt x="128208" y="18911"/>
                  </a:cubicBezTo>
                  <a:cubicBezTo>
                    <a:pt x="124055" y="23890"/>
                    <a:pt x="121978" y="36670"/>
                    <a:pt x="121978" y="36670"/>
                  </a:cubicBezTo>
                  <a:cubicBezTo>
                    <a:pt x="121712" y="38401"/>
                    <a:pt x="121419" y="40105"/>
                    <a:pt x="121073" y="41809"/>
                  </a:cubicBezTo>
                  <a:cubicBezTo>
                    <a:pt x="121073" y="41809"/>
                    <a:pt x="121073" y="42608"/>
                    <a:pt x="120673" y="43993"/>
                  </a:cubicBezTo>
                  <a:cubicBezTo>
                    <a:pt x="118469" y="54936"/>
                    <a:pt x="115196" y="65640"/>
                    <a:pt x="110901" y="75944"/>
                  </a:cubicBezTo>
                  <a:cubicBezTo>
                    <a:pt x="109871" y="78394"/>
                    <a:pt x="108753" y="80896"/>
                    <a:pt x="107546" y="83453"/>
                  </a:cubicBezTo>
                  <a:cubicBezTo>
                    <a:pt x="103744" y="91483"/>
                    <a:pt x="99141" y="99111"/>
                    <a:pt x="93807" y="106218"/>
                  </a:cubicBezTo>
                  <a:cubicBezTo>
                    <a:pt x="93488" y="106633"/>
                    <a:pt x="92998" y="106878"/>
                    <a:pt x="92476" y="106883"/>
                  </a:cubicBezTo>
                  <a:cubicBezTo>
                    <a:pt x="92114" y="106886"/>
                    <a:pt x="91760" y="106774"/>
                    <a:pt x="91464" y="106564"/>
                  </a:cubicBezTo>
                  <a:cubicBezTo>
                    <a:pt x="90724" y="106013"/>
                    <a:pt x="90567" y="104964"/>
                    <a:pt x="91118" y="104221"/>
                  </a:cubicBezTo>
                  <a:cubicBezTo>
                    <a:pt x="95956" y="97626"/>
                    <a:pt x="100198" y="90615"/>
                    <a:pt x="103792" y="83266"/>
                  </a:cubicBezTo>
                  <a:cubicBezTo>
                    <a:pt x="104964" y="80896"/>
                    <a:pt x="106082" y="78473"/>
                    <a:pt x="107147" y="76024"/>
                  </a:cubicBezTo>
                  <a:cubicBezTo>
                    <a:pt x="111572" y="65733"/>
                    <a:pt x="114911" y="55005"/>
                    <a:pt x="117105" y="44019"/>
                  </a:cubicBezTo>
                  <a:cubicBezTo>
                    <a:pt x="117318" y="43034"/>
                    <a:pt x="117505" y="42049"/>
                    <a:pt x="117691" y="41064"/>
                  </a:cubicBezTo>
                  <a:cubicBezTo>
                    <a:pt x="113593" y="40212"/>
                    <a:pt x="109333" y="40619"/>
                    <a:pt x="105470" y="42235"/>
                  </a:cubicBezTo>
                  <a:cubicBezTo>
                    <a:pt x="103995" y="42872"/>
                    <a:pt x="102650" y="43774"/>
                    <a:pt x="101502" y="44898"/>
                  </a:cubicBezTo>
                  <a:cubicBezTo>
                    <a:pt x="99868" y="46583"/>
                    <a:pt x="98632" y="48612"/>
                    <a:pt x="97881" y="50835"/>
                  </a:cubicBezTo>
                  <a:cubicBezTo>
                    <a:pt x="97881" y="51208"/>
                    <a:pt x="97615" y="51581"/>
                    <a:pt x="97509" y="51980"/>
                  </a:cubicBezTo>
                  <a:cubicBezTo>
                    <a:pt x="95812" y="56914"/>
                    <a:pt x="93802" y="61734"/>
                    <a:pt x="91491" y="66412"/>
                  </a:cubicBezTo>
                  <a:cubicBezTo>
                    <a:pt x="89190" y="71013"/>
                    <a:pt x="86594" y="75459"/>
                    <a:pt x="83716" y="79725"/>
                  </a:cubicBezTo>
                  <a:cubicBezTo>
                    <a:pt x="82944" y="80923"/>
                    <a:pt x="82119" y="82095"/>
                    <a:pt x="81266" y="83293"/>
                  </a:cubicBezTo>
                  <a:lnTo>
                    <a:pt x="79909" y="85130"/>
                  </a:lnTo>
                  <a:cubicBezTo>
                    <a:pt x="75257" y="91334"/>
                    <a:pt x="69956" y="97019"/>
                    <a:pt x="64093" y="102091"/>
                  </a:cubicBezTo>
                  <a:cubicBezTo>
                    <a:pt x="61124" y="104610"/>
                    <a:pt x="58011" y="106958"/>
                    <a:pt x="54774" y="109120"/>
                  </a:cubicBezTo>
                  <a:lnTo>
                    <a:pt x="53043" y="110292"/>
                  </a:lnTo>
                  <a:lnTo>
                    <a:pt x="53043" y="110292"/>
                  </a:lnTo>
                  <a:lnTo>
                    <a:pt x="51578" y="111250"/>
                  </a:lnTo>
                  <a:cubicBezTo>
                    <a:pt x="40757" y="118197"/>
                    <a:pt x="30909" y="126550"/>
                    <a:pt x="22290" y="136092"/>
                  </a:cubicBezTo>
                  <a:cubicBezTo>
                    <a:pt x="12654" y="147339"/>
                    <a:pt x="5406" y="160429"/>
                    <a:pt x="989" y="174567"/>
                  </a:cubicBezTo>
                  <a:lnTo>
                    <a:pt x="1468" y="174700"/>
                  </a:lnTo>
                  <a:cubicBezTo>
                    <a:pt x="7888" y="176636"/>
                    <a:pt x="14435" y="178114"/>
                    <a:pt x="21065" y="179120"/>
                  </a:cubicBezTo>
                  <a:cubicBezTo>
                    <a:pt x="28491" y="180278"/>
                    <a:pt x="35994" y="180856"/>
                    <a:pt x="43511" y="180851"/>
                  </a:cubicBezTo>
                  <a:lnTo>
                    <a:pt x="43910" y="180851"/>
                  </a:lnTo>
                  <a:cubicBezTo>
                    <a:pt x="83532" y="180798"/>
                    <a:pt x="121432" y="164652"/>
                    <a:pt x="148924" y="136119"/>
                  </a:cubicBezTo>
                  <a:cubicBezTo>
                    <a:pt x="156824" y="127947"/>
                    <a:pt x="163749" y="118889"/>
                    <a:pt x="169559" y="109120"/>
                  </a:cubicBezTo>
                  <a:cubicBezTo>
                    <a:pt x="173507" y="102466"/>
                    <a:pt x="176926" y="95514"/>
                    <a:pt x="179783" y="88325"/>
                  </a:cubicBezTo>
                  <a:cubicBezTo>
                    <a:pt x="180449" y="86674"/>
                    <a:pt x="181088" y="84970"/>
                    <a:pt x="181674" y="83293"/>
                  </a:cubicBezTo>
                  <a:cubicBezTo>
                    <a:pt x="184304" y="75880"/>
                    <a:pt x="186325" y="68268"/>
                    <a:pt x="187718" y="60527"/>
                  </a:cubicBezTo>
                  <a:cubicBezTo>
                    <a:pt x="189283" y="51874"/>
                    <a:pt x="190066" y="43095"/>
                    <a:pt x="190061" y="34301"/>
                  </a:cubicBezTo>
                  <a:cubicBezTo>
                    <a:pt x="190061" y="32810"/>
                    <a:pt x="190061" y="31318"/>
                    <a:pt x="190061" y="29854"/>
                  </a:cubicBezTo>
                </a:path>
              </a:pathLst>
            </a:custGeom>
            <a:solidFill>
              <a:srgbClr val="143DC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5" name="Freeform: Shape 234">
              <a:extLst>
                <a:ext uri="{FF2B5EF4-FFF2-40B4-BE49-F238E27FC236}">
                  <a16:creationId xmlns:a16="http://schemas.microsoft.com/office/drawing/2014/main" id="{1C44DB8B-7A13-4663-9E37-285C405E8642}"/>
                </a:ext>
              </a:extLst>
            </p:cNvPr>
            <p:cNvSpPr/>
            <p:nvPr/>
          </p:nvSpPr>
          <p:spPr>
            <a:xfrm>
              <a:off x="11502581" y="6714997"/>
              <a:ext cx="17090" cy="37099"/>
            </a:xfrm>
            <a:custGeom>
              <a:avLst/>
              <a:gdLst>
                <a:gd name="connsiteX0" fmla="*/ 31273 w 30283"/>
                <a:gd name="connsiteY0" fmla="*/ 400 h 65740"/>
                <a:gd name="connsiteX1" fmla="*/ 28024 w 30283"/>
                <a:gd name="connsiteY1" fmla="*/ -346 h 65740"/>
                <a:gd name="connsiteX2" fmla="*/ 27438 w 30283"/>
                <a:gd name="connsiteY2" fmla="*/ 2610 h 65740"/>
                <a:gd name="connsiteX3" fmla="*/ 17374 w 30283"/>
                <a:gd name="connsiteY3" fmla="*/ 34721 h 65740"/>
                <a:gd name="connsiteX4" fmla="*/ 13992 w 30283"/>
                <a:gd name="connsiteY4" fmla="*/ 41963 h 65740"/>
                <a:gd name="connsiteX5" fmla="*/ 1318 w 30283"/>
                <a:gd name="connsiteY5" fmla="*/ 62732 h 65740"/>
                <a:gd name="connsiteX6" fmla="*/ 1664 w 30283"/>
                <a:gd name="connsiteY6" fmla="*/ 65075 h 65740"/>
                <a:gd name="connsiteX7" fmla="*/ 2650 w 30283"/>
                <a:gd name="connsiteY7" fmla="*/ 65394 h 65740"/>
                <a:gd name="connsiteX8" fmla="*/ 4007 w 30283"/>
                <a:gd name="connsiteY8" fmla="*/ 64729 h 65740"/>
                <a:gd name="connsiteX9" fmla="*/ 17747 w 30283"/>
                <a:gd name="connsiteY9" fmla="*/ 41963 h 65740"/>
                <a:gd name="connsiteX10" fmla="*/ 21101 w 30283"/>
                <a:gd name="connsiteY10" fmla="*/ 34481 h 65740"/>
                <a:gd name="connsiteX11" fmla="*/ 30873 w 30283"/>
                <a:gd name="connsiteY11" fmla="*/ 2530 h 65740"/>
                <a:gd name="connsiteX12" fmla="*/ 31273 w 30283"/>
                <a:gd name="connsiteY12" fmla="*/ 347 h 65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30283" h="65740">
                  <a:moveTo>
                    <a:pt x="31273" y="400"/>
                  </a:moveTo>
                  <a:cubicBezTo>
                    <a:pt x="30213" y="62"/>
                    <a:pt x="29126" y="-186"/>
                    <a:pt x="28024" y="-346"/>
                  </a:cubicBezTo>
                  <a:cubicBezTo>
                    <a:pt x="27838" y="640"/>
                    <a:pt x="27652" y="1625"/>
                    <a:pt x="27438" y="2610"/>
                  </a:cubicBezTo>
                  <a:cubicBezTo>
                    <a:pt x="25218" y="13636"/>
                    <a:pt x="21844" y="24398"/>
                    <a:pt x="17374" y="34721"/>
                  </a:cubicBezTo>
                  <a:cubicBezTo>
                    <a:pt x="16309" y="37171"/>
                    <a:pt x="15190" y="39594"/>
                    <a:pt x="13992" y="41963"/>
                  </a:cubicBezTo>
                  <a:cubicBezTo>
                    <a:pt x="10400" y="49254"/>
                    <a:pt x="6159" y="56203"/>
                    <a:pt x="1318" y="62732"/>
                  </a:cubicBezTo>
                  <a:cubicBezTo>
                    <a:pt x="767" y="63475"/>
                    <a:pt x="924" y="64524"/>
                    <a:pt x="1664" y="65075"/>
                  </a:cubicBezTo>
                  <a:cubicBezTo>
                    <a:pt x="1952" y="65283"/>
                    <a:pt x="2295" y="65394"/>
                    <a:pt x="2650" y="65394"/>
                  </a:cubicBezTo>
                  <a:cubicBezTo>
                    <a:pt x="3182" y="65405"/>
                    <a:pt x="3688" y="65157"/>
                    <a:pt x="4007" y="64729"/>
                  </a:cubicBezTo>
                  <a:cubicBezTo>
                    <a:pt x="9341" y="57622"/>
                    <a:pt x="13944" y="49994"/>
                    <a:pt x="17747" y="41963"/>
                  </a:cubicBezTo>
                  <a:cubicBezTo>
                    <a:pt x="18945" y="39301"/>
                    <a:pt x="20063" y="36931"/>
                    <a:pt x="21101" y="34481"/>
                  </a:cubicBezTo>
                  <a:cubicBezTo>
                    <a:pt x="25380" y="24172"/>
                    <a:pt x="28653" y="13471"/>
                    <a:pt x="30873" y="2530"/>
                  </a:cubicBezTo>
                  <a:cubicBezTo>
                    <a:pt x="31140" y="1145"/>
                    <a:pt x="31273" y="347"/>
                    <a:pt x="31273" y="347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6" name="Freeform: Shape 235">
              <a:extLst>
                <a:ext uri="{FF2B5EF4-FFF2-40B4-BE49-F238E27FC236}">
                  <a16:creationId xmlns:a16="http://schemas.microsoft.com/office/drawing/2014/main" id="{E63ECC55-4C52-4424-99B0-984AEDB09B41}"/>
                </a:ext>
              </a:extLst>
            </p:cNvPr>
            <p:cNvSpPr/>
            <p:nvPr/>
          </p:nvSpPr>
          <p:spPr>
            <a:xfrm>
              <a:off x="11517500" y="6699685"/>
              <a:ext cx="16773" cy="56738"/>
            </a:xfrm>
            <a:custGeom>
              <a:avLst/>
              <a:gdLst>
                <a:gd name="connsiteX0" fmla="*/ 27995 w 29722"/>
                <a:gd name="connsiteY0" fmla="*/ -239 h 100540"/>
                <a:gd name="connsiteX1" fmla="*/ 27542 w 29722"/>
                <a:gd name="connsiteY1" fmla="*/ -239 h 100540"/>
                <a:gd name="connsiteX2" fmla="*/ 27356 w 29722"/>
                <a:gd name="connsiteY2" fmla="*/ -239 h 100540"/>
                <a:gd name="connsiteX3" fmla="*/ 27356 w 29722"/>
                <a:gd name="connsiteY3" fmla="*/ -239 h 100540"/>
                <a:gd name="connsiteX4" fmla="*/ 24959 w 29722"/>
                <a:gd name="connsiteY4" fmla="*/ 31313 h 100540"/>
                <a:gd name="connsiteX5" fmla="*/ 17691 w 29722"/>
                <a:gd name="connsiteY5" fmla="*/ 62093 h 100540"/>
                <a:gd name="connsiteX6" fmla="*/ 15294 w 29722"/>
                <a:gd name="connsiteY6" fmla="*/ 69095 h 100540"/>
                <a:gd name="connsiteX7" fmla="*/ 3020 w 29722"/>
                <a:gd name="connsiteY7" fmla="*/ 94923 h 100540"/>
                <a:gd name="connsiteX8" fmla="*/ 1289 w 29722"/>
                <a:gd name="connsiteY8" fmla="*/ 97585 h 100540"/>
                <a:gd name="connsiteX9" fmla="*/ 1691 w 29722"/>
                <a:gd name="connsiteY9" fmla="*/ 99886 h 100540"/>
                <a:gd name="connsiteX10" fmla="*/ 1715 w 29722"/>
                <a:gd name="connsiteY10" fmla="*/ 99902 h 100540"/>
                <a:gd name="connsiteX11" fmla="*/ 2647 w 29722"/>
                <a:gd name="connsiteY11" fmla="*/ 100195 h 100540"/>
                <a:gd name="connsiteX12" fmla="*/ 4031 w 29722"/>
                <a:gd name="connsiteY12" fmla="*/ 99449 h 100540"/>
                <a:gd name="connsiteX13" fmla="*/ 6933 w 29722"/>
                <a:gd name="connsiteY13" fmla="*/ 94870 h 100540"/>
                <a:gd name="connsiteX14" fmla="*/ 18835 w 29722"/>
                <a:gd name="connsiteY14" fmla="*/ 69042 h 100540"/>
                <a:gd name="connsiteX15" fmla="*/ 21045 w 29722"/>
                <a:gd name="connsiteY15" fmla="*/ 62386 h 100540"/>
                <a:gd name="connsiteX16" fmla="*/ 28234 w 29722"/>
                <a:gd name="connsiteY16" fmla="*/ 31766 h 100540"/>
                <a:gd name="connsiteX17" fmla="*/ 30711 w 29722"/>
                <a:gd name="connsiteY17" fmla="*/ 293 h 100540"/>
                <a:gd name="connsiteX18" fmla="*/ 30711 w 29722"/>
                <a:gd name="connsiteY18" fmla="*/ 293 h 100540"/>
                <a:gd name="connsiteX19" fmla="*/ 30711 w 29722"/>
                <a:gd name="connsiteY19" fmla="*/ 293 h 100540"/>
                <a:gd name="connsiteX20" fmla="*/ 28048 w 29722"/>
                <a:gd name="connsiteY20" fmla="*/ -346 h 1005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722" h="100540">
                  <a:moveTo>
                    <a:pt x="27995" y="-239"/>
                  </a:moveTo>
                  <a:lnTo>
                    <a:pt x="27542" y="-239"/>
                  </a:lnTo>
                  <a:lnTo>
                    <a:pt x="27356" y="-239"/>
                  </a:lnTo>
                  <a:lnTo>
                    <a:pt x="27356" y="-239"/>
                  </a:lnTo>
                  <a:cubicBezTo>
                    <a:pt x="27430" y="10326"/>
                    <a:pt x="26629" y="20881"/>
                    <a:pt x="24959" y="31313"/>
                  </a:cubicBezTo>
                  <a:cubicBezTo>
                    <a:pt x="23330" y="41745"/>
                    <a:pt x="20899" y="52033"/>
                    <a:pt x="17691" y="62093"/>
                  </a:cubicBezTo>
                  <a:cubicBezTo>
                    <a:pt x="16918" y="64462"/>
                    <a:pt x="16120" y="66806"/>
                    <a:pt x="15294" y="69095"/>
                  </a:cubicBezTo>
                  <a:cubicBezTo>
                    <a:pt x="12104" y="78106"/>
                    <a:pt x="7991" y="86759"/>
                    <a:pt x="3020" y="94923"/>
                  </a:cubicBezTo>
                  <a:cubicBezTo>
                    <a:pt x="2434" y="95855"/>
                    <a:pt x="1875" y="96760"/>
                    <a:pt x="1289" y="97585"/>
                  </a:cubicBezTo>
                  <a:cubicBezTo>
                    <a:pt x="764" y="98331"/>
                    <a:pt x="945" y="99361"/>
                    <a:pt x="1691" y="99886"/>
                  </a:cubicBezTo>
                  <a:cubicBezTo>
                    <a:pt x="1699" y="99891"/>
                    <a:pt x="1707" y="99897"/>
                    <a:pt x="1715" y="99902"/>
                  </a:cubicBezTo>
                  <a:cubicBezTo>
                    <a:pt x="1992" y="100086"/>
                    <a:pt x="2314" y="100187"/>
                    <a:pt x="2647" y="100195"/>
                  </a:cubicBezTo>
                  <a:cubicBezTo>
                    <a:pt x="3203" y="100195"/>
                    <a:pt x="3725" y="99915"/>
                    <a:pt x="4031" y="99449"/>
                  </a:cubicBezTo>
                  <a:cubicBezTo>
                    <a:pt x="5016" y="98011"/>
                    <a:pt x="5975" y="96494"/>
                    <a:pt x="6933" y="94870"/>
                  </a:cubicBezTo>
                  <a:cubicBezTo>
                    <a:pt x="11718" y="86661"/>
                    <a:pt x="15704" y="78013"/>
                    <a:pt x="18835" y="69042"/>
                  </a:cubicBezTo>
                  <a:cubicBezTo>
                    <a:pt x="19608" y="66859"/>
                    <a:pt x="20327" y="64649"/>
                    <a:pt x="21045" y="62386"/>
                  </a:cubicBezTo>
                  <a:cubicBezTo>
                    <a:pt x="24211" y="52374"/>
                    <a:pt x="26616" y="42139"/>
                    <a:pt x="28234" y="31766"/>
                  </a:cubicBezTo>
                  <a:cubicBezTo>
                    <a:pt x="29904" y="21357"/>
                    <a:pt x="30732" y="10835"/>
                    <a:pt x="30711" y="293"/>
                  </a:cubicBezTo>
                  <a:lnTo>
                    <a:pt x="30711" y="293"/>
                  </a:lnTo>
                  <a:lnTo>
                    <a:pt x="30711" y="293"/>
                  </a:lnTo>
                  <a:cubicBezTo>
                    <a:pt x="29840" y="19"/>
                    <a:pt x="28948" y="-194"/>
                    <a:pt x="28048" y="-346"/>
                  </a:cubicBezTo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7" name="Freeform: Shape 236">
              <a:extLst>
                <a:ext uri="{FF2B5EF4-FFF2-40B4-BE49-F238E27FC236}">
                  <a16:creationId xmlns:a16="http://schemas.microsoft.com/office/drawing/2014/main" id="{893D4198-394F-4D61-97B2-E50A67E56986}"/>
                </a:ext>
              </a:extLst>
            </p:cNvPr>
            <p:cNvSpPr/>
            <p:nvPr/>
          </p:nvSpPr>
          <p:spPr>
            <a:xfrm>
              <a:off x="11531661" y="6691648"/>
              <a:ext cx="16507" cy="68726"/>
            </a:xfrm>
            <a:custGeom>
              <a:avLst/>
              <a:gdLst>
                <a:gd name="connsiteX0" fmla="*/ 30239 w 29251"/>
                <a:gd name="connsiteY0" fmla="*/ 21351 h 121784"/>
                <a:gd name="connsiteX1" fmla="*/ 28934 w 29251"/>
                <a:gd name="connsiteY1" fmla="*/ -296 h 121784"/>
                <a:gd name="connsiteX2" fmla="*/ 25526 w 29251"/>
                <a:gd name="connsiteY2" fmla="*/ -296 h 121784"/>
                <a:gd name="connsiteX3" fmla="*/ 26911 w 29251"/>
                <a:gd name="connsiteY3" fmla="*/ 20313 h 121784"/>
                <a:gd name="connsiteX4" fmla="*/ 24514 w 29251"/>
                <a:gd name="connsiteY4" fmla="*/ 51412 h 121784"/>
                <a:gd name="connsiteX5" fmla="*/ 17911 w 29251"/>
                <a:gd name="connsiteY5" fmla="*/ 81074 h 121784"/>
                <a:gd name="connsiteX6" fmla="*/ 17192 w 29251"/>
                <a:gd name="connsiteY6" fmla="*/ 83417 h 121784"/>
                <a:gd name="connsiteX7" fmla="*/ 6861 w 29251"/>
                <a:gd name="connsiteY7" fmla="*/ 109244 h 121784"/>
                <a:gd name="connsiteX8" fmla="*/ 1270 w 29251"/>
                <a:gd name="connsiteY8" fmla="*/ 118830 h 121784"/>
                <a:gd name="connsiteX9" fmla="*/ 1722 w 29251"/>
                <a:gd name="connsiteY9" fmla="*/ 121146 h 121784"/>
                <a:gd name="connsiteX10" fmla="*/ 2654 w 29251"/>
                <a:gd name="connsiteY10" fmla="*/ 121439 h 121784"/>
                <a:gd name="connsiteX11" fmla="*/ 4039 w 29251"/>
                <a:gd name="connsiteY11" fmla="*/ 120694 h 121784"/>
                <a:gd name="connsiteX12" fmla="*/ 10642 w 29251"/>
                <a:gd name="connsiteY12" fmla="*/ 109244 h 121784"/>
                <a:gd name="connsiteX13" fmla="*/ 20813 w 29251"/>
                <a:gd name="connsiteY13" fmla="*/ 83417 h 121784"/>
                <a:gd name="connsiteX14" fmla="*/ 21239 w 29251"/>
                <a:gd name="connsiteY14" fmla="*/ 82032 h 121784"/>
                <a:gd name="connsiteX15" fmla="*/ 27869 w 29251"/>
                <a:gd name="connsiteY15" fmla="*/ 52557 h 121784"/>
                <a:gd name="connsiteX16" fmla="*/ 30239 w 29251"/>
                <a:gd name="connsiteY16" fmla="*/ 21511 h 121784"/>
                <a:gd name="connsiteX17" fmla="*/ 30239 w 29251"/>
                <a:gd name="connsiteY17" fmla="*/ 21511 h 121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29251" h="121784">
                  <a:moveTo>
                    <a:pt x="30239" y="21351"/>
                  </a:moveTo>
                  <a:cubicBezTo>
                    <a:pt x="30207" y="14117"/>
                    <a:pt x="29770" y="6891"/>
                    <a:pt x="28934" y="-296"/>
                  </a:cubicBezTo>
                  <a:cubicBezTo>
                    <a:pt x="27800" y="-362"/>
                    <a:pt x="26660" y="-362"/>
                    <a:pt x="25526" y="-296"/>
                  </a:cubicBezTo>
                  <a:cubicBezTo>
                    <a:pt x="26448" y="6534"/>
                    <a:pt x="26911" y="13419"/>
                    <a:pt x="26911" y="20313"/>
                  </a:cubicBezTo>
                  <a:cubicBezTo>
                    <a:pt x="26898" y="30724"/>
                    <a:pt x="26096" y="41121"/>
                    <a:pt x="24514" y="51412"/>
                  </a:cubicBezTo>
                  <a:cubicBezTo>
                    <a:pt x="22991" y="61437"/>
                    <a:pt x="20784" y="71347"/>
                    <a:pt x="17911" y="81074"/>
                  </a:cubicBezTo>
                  <a:lnTo>
                    <a:pt x="17192" y="83417"/>
                  </a:lnTo>
                  <a:cubicBezTo>
                    <a:pt x="14487" y="92302"/>
                    <a:pt x="11031" y="100942"/>
                    <a:pt x="6861" y="109244"/>
                  </a:cubicBezTo>
                  <a:cubicBezTo>
                    <a:pt x="5189" y="112549"/>
                    <a:pt x="3323" y="115749"/>
                    <a:pt x="1270" y="118830"/>
                  </a:cubicBezTo>
                  <a:cubicBezTo>
                    <a:pt x="761" y="119596"/>
                    <a:pt x="961" y="120630"/>
                    <a:pt x="1722" y="121146"/>
                  </a:cubicBezTo>
                  <a:cubicBezTo>
                    <a:pt x="1999" y="121330"/>
                    <a:pt x="2321" y="121431"/>
                    <a:pt x="2654" y="121439"/>
                  </a:cubicBezTo>
                  <a:cubicBezTo>
                    <a:pt x="3211" y="121436"/>
                    <a:pt x="3730" y="121157"/>
                    <a:pt x="4039" y="120694"/>
                  </a:cubicBezTo>
                  <a:cubicBezTo>
                    <a:pt x="6483" y="117024"/>
                    <a:pt x="8691" y="113198"/>
                    <a:pt x="10642" y="109244"/>
                  </a:cubicBezTo>
                  <a:cubicBezTo>
                    <a:pt x="14729" y="100926"/>
                    <a:pt x="18129" y="92289"/>
                    <a:pt x="20813" y="83417"/>
                  </a:cubicBezTo>
                  <a:cubicBezTo>
                    <a:pt x="20813" y="82938"/>
                    <a:pt x="21080" y="82485"/>
                    <a:pt x="21239" y="82032"/>
                  </a:cubicBezTo>
                  <a:cubicBezTo>
                    <a:pt x="24123" y="72370"/>
                    <a:pt x="26338" y="62523"/>
                    <a:pt x="27869" y="52557"/>
                  </a:cubicBezTo>
                  <a:cubicBezTo>
                    <a:pt x="29483" y="42287"/>
                    <a:pt x="30276" y="31906"/>
                    <a:pt x="30239" y="21511"/>
                  </a:cubicBezTo>
                  <a:lnTo>
                    <a:pt x="30239" y="21511"/>
                  </a:lnTo>
                  <a:close/>
                </a:path>
              </a:pathLst>
            </a:custGeom>
            <a:solidFill>
              <a:srgbClr val="8FD9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8" name="Freeform: Shape 237">
              <a:extLst>
                <a:ext uri="{FF2B5EF4-FFF2-40B4-BE49-F238E27FC236}">
                  <a16:creationId xmlns:a16="http://schemas.microsoft.com/office/drawing/2014/main" id="{3205DAAF-7DAC-4BE2-8B29-FE1C526D2316}"/>
                </a:ext>
              </a:extLst>
            </p:cNvPr>
            <p:cNvSpPr/>
            <p:nvPr/>
          </p:nvSpPr>
          <p:spPr>
            <a:xfrm>
              <a:off x="11646242" y="6644465"/>
              <a:ext cx="64654" cy="65032"/>
            </a:xfrm>
            <a:custGeom>
              <a:avLst/>
              <a:gdLst>
                <a:gd name="connsiteX0" fmla="*/ 989 w 114568"/>
                <a:gd name="connsiteY0" fmla="*/ 56475 h 115237"/>
                <a:gd name="connsiteX1" fmla="*/ 60738 w 114568"/>
                <a:gd name="connsiteY1" fmla="*/ 114892 h 115237"/>
                <a:gd name="connsiteX2" fmla="*/ 112233 w 114568"/>
                <a:gd name="connsiteY2" fmla="*/ 83340 h 115237"/>
                <a:gd name="connsiteX3" fmla="*/ 105550 w 114568"/>
                <a:gd name="connsiteY3" fmla="*/ 75219 h 115237"/>
                <a:gd name="connsiteX4" fmla="*/ 87870 w 114568"/>
                <a:gd name="connsiteY4" fmla="*/ 75219 h 115237"/>
                <a:gd name="connsiteX5" fmla="*/ 79057 w 114568"/>
                <a:gd name="connsiteY5" fmla="*/ 80545 h 115237"/>
                <a:gd name="connsiteX6" fmla="*/ 59833 w 114568"/>
                <a:gd name="connsiteY6" fmla="*/ 87361 h 115237"/>
                <a:gd name="connsiteX7" fmla="*/ 37440 w 114568"/>
                <a:gd name="connsiteY7" fmla="*/ 72850 h 115237"/>
                <a:gd name="connsiteX8" fmla="*/ 35523 w 114568"/>
                <a:gd name="connsiteY8" fmla="*/ 66646 h 115237"/>
                <a:gd name="connsiteX9" fmla="*/ 109011 w 114568"/>
                <a:gd name="connsiteY9" fmla="*/ 66646 h 115237"/>
                <a:gd name="connsiteX10" fmla="*/ 115447 w 114568"/>
                <a:gd name="connsiteY10" fmla="*/ 61488 h 115237"/>
                <a:gd name="connsiteX11" fmla="*/ 115481 w 114568"/>
                <a:gd name="connsiteY11" fmla="*/ 60895 h 115237"/>
                <a:gd name="connsiteX12" fmla="*/ 60685 w 114568"/>
                <a:gd name="connsiteY12" fmla="*/ -346 h 115237"/>
                <a:gd name="connsiteX13" fmla="*/ 989 w 114568"/>
                <a:gd name="connsiteY13" fmla="*/ 56368 h 115237"/>
                <a:gd name="connsiteX14" fmla="*/ 59380 w 114568"/>
                <a:gd name="connsiteY14" fmla="*/ 26946 h 115237"/>
                <a:gd name="connsiteX15" fmla="*/ 81533 w 114568"/>
                <a:gd name="connsiteY15" fmla="*/ 46303 h 115237"/>
                <a:gd name="connsiteX16" fmla="*/ 42605 w 114568"/>
                <a:gd name="connsiteY16" fmla="*/ 46303 h 115237"/>
                <a:gd name="connsiteX17" fmla="*/ 35683 w 114568"/>
                <a:gd name="connsiteY17" fmla="*/ 46303 h 115237"/>
                <a:gd name="connsiteX18" fmla="*/ 59380 w 114568"/>
                <a:gd name="connsiteY18" fmla="*/ 26973 h 1152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14568" h="115237">
                  <a:moveTo>
                    <a:pt x="989" y="56475"/>
                  </a:moveTo>
                  <a:cubicBezTo>
                    <a:pt x="989" y="91089"/>
                    <a:pt x="27322" y="114892"/>
                    <a:pt x="60738" y="114892"/>
                  </a:cubicBezTo>
                  <a:cubicBezTo>
                    <a:pt x="87364" y="114892"/>
                    <a:pt x="105789" y="101446"/>
                    <a:pt x="112233" y="83340"/>
                  </a:cubicBezTo>
                  <a:cubicBezTo>
                    <a:pt x="113963" y="78415"/>
                    <a:pt x="110742" y="75219"/>
                    <a:pt x="105550" y="75219"/>
                  </a:cubicBezTo>
                  <a:lnTo>
                    <a:pt x="87870" y="75219"/>
                  </a:lnTo>
                  <a:cubicBezTo>
                    <a:pt x="83796" y="75219"/>
                    <a:pt x="81639" y="77350"/>
                    <a:pt x="79057" y="80545"/>
                  </a:cubicBezTo>
                  <a:cubicBezTo>
                    <a:pt x="75808" y="84379"/>
                    <a:pt x="69098" y="87361"/>
                    <a:pt x="59833" y="87361"/>
                  </a:cubicBezTo>
                  <a:cubicBezTo>
                    <a:pt x="50034" y="87806"/>
                    <a:pt x="41037" y="81975"/>
                    <a:pt x="37440" y="72850"/>
                  </a:cubicBezTo>
                  <a:cubicBezTo>
                    <a:pt x="36641" y="70834"/>
                    <a:pt x="35999" y="68760"/>
                    <a:pt x="35523" y="66646"/>
                  </a:cubicBezTo>
                  <a:lnTo>
                    <a:pt x="109011" y="66646"/>
                  </a:lnTo>
                  <a:cubicBezTo>
                    <a:pt x="112212" y="67000"/>
                    <a:pt x="115092" y="64689"/>
                    <a:pt x="115447" y="61488"/>
                  </a:cubicBezTo>
                  <a:cubicBezTo>
                    <a:pt x="115468" y="61291"/>
                    <a:pt x="115479" y="61094"/>
                    <a:pt x="115481" y="60895"/>
                  </a:cubicBezTo>
                  <a:cubicBezTo>
                    <a:pt x="117185" y="22926"/>
                    <a:pt x="89787" y="-346"/>
                    <a:pt x="60685" y="-346"/>
                  </a:cubicBezTo>
                  <a:cubicBezTo>
                    <a:pt x="26070" y="-346"/>
                    <a:pt x="989" y="22233"/>
                    <a:pt x="989" y="56368"/>
                  </a:cubicBezTo>
                  <a:moveTo>
                    <a:pt x="59380" y="26946"/>
                  </a:moveTo>
                  <a:cubicBezTo>
                    <a:pt x="79616" y="26946"/>
                    <a:pt x="81533" y="46303"/>
                    <a:pt x="81533" y="46303"/>
                  </a:cubicBezTo>
                  <a:lnTo>
                    <a:pt x="42605" y="46303"/>
                  </a:lnTo>
                  <a:lnTo>
                    <a:pt x="35683" y="46303"/>
                  </a:lnTo>
                  <a:cubicBezTo>
                    <a:pt x="35683" y="46303"/>
                    <a:pt x="39171" y="26973"/>
                    <a:pt x="59380" y="2697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39" name="Freeform: Shape 238">
              <a:extLst>
                <a:ext uri="{FF2B5EF4-FFF2-40B4-BE49-F238E27FC236}">
                  <a16:creationId xmlns:a16="http://schemas.microsoft.com/office/drawing/2014/main" id="{ABB58A2B-B001-490A-932A-7BD5D2D35F77}"/>
                </a:ext>
              </a:extLst>
            </p:cNvPr>
            <p:cNvSpPr/>
            <p:nvPr/>
          </p:nvSpPr>
          <p:spPr>
            <a:xfrm>
              <a:off x="11719462" y="6644495"/>
              <a:ext cx="64897" cy="89810"/>
            </a:xfrm>
            <a:custGeom>
              <a:avLst/>
              <a:gdLst>
                <a:gd name="connsiteX0" fmla="*/ 115987 w 114998"/>
                <a:gd name="connsiteY0" fmla="*/ 57140 h 159144"/>
                <a:gd name="connsiteX1" fmla="*/ 58501 w 114998"/>
                <a:gd name="connsiteY1" fmla="*/ -346 h 159144"/>
                <a:gd name="connsiteX2" fmla="*/ 58475 w 114998"/>
                <a:gd name="connsiteY2" fmla="*/ -346 h 159144"/>
                <a:gd name="connsiteX3" fmla="*/ 29958 w 114998"/>
                <a:gd name="connsiteY3" fmla="*/ 7269 h 159144"/>
                <a:gd name="connsiteX4" fmla="*/ 23142 w 114998"/>
                <a:gd name="connsiteY4" fmla="*/ 1784 h 159144"/>
                <a:gd name="connsiteX5" fmla="*/ 8178 w 114998"/>
                <a:gd name="connsiteY5" fmla="*/ 1784 h 159144"/>
                <a:gd name="connsiteX6" fmla="*/ 989 w 114998"/>
                <a:gd name="connsiteY6" fmla="*/ 8947 h 159144"/>
                <a:gd name="connsiteX7" fmla="*/ 989 w 114998"/>
                <a:gd name="connsiteY7" fmla="*/ 57114 h 159144"/>
                <a:gd name="connsiteX8" fmla="*/ 989 w 114998"/>
                <a:gd name="connsiteY8" fmla="*/ 57114 h 159144"/>
                <a:gd name="connsiteX9" fmla="*/ 989 w 114998"/>
                <a:gd name="connsiteY9" fmla="*/ 151610 h 159144"/>
                <a:gd name="connsiteX10" fmla="*/ 8178 w 114998"/>
                <a:gd name="connsiteY10" fmla="*/ 158799 h 159144"/>
                <a:gd name="connsiteX11" fmla="*/ 23142 w 114998"/>
                <a:gd name="connsiteY11" fmla="*/ 158799 h 159144"/>
                <a:gd name="connsiteX12" fmla="*/ 30304 w 114998"/>
                <a:gd name="connsiteY12" fmla="*/ 151610 h 159144"/>
                <a:gd name="connsiteX13" fmla="*/ 30304 w 114998"/>
                <a:gd name="connsiteY13" fmla="*/ 107197 h 159144"/>
                <a:gd name="connsiteX14" fmla="*/ 58475 w 114998"/>
                <a:gd name="connsiteY14" fmla="*/ 114599 h 159144"/>
                <a:gd name="connsiteX15" fmla="*/ 115934 w 114998"/>
                <a:gd name="connsiteY15" fmla="*/ 57140 h 159144"/>
                <a:gd name="connsiteX16" fmla="*/ 86432 w 114998"/>
                <a:gd name="connsiteY16" fmla="*/ 57140 h 159144"/>
                <a:gd name="connsiteX17" fmla="*/ 58475 w 114998"/>
                <a:gd name="connsiteY17" fmla="*/ 85098 h 159144"/>
                <a:gd name="connsiteX18" fmla="*/ 30491 w 114998"/>
                <a:gd name="connsiteY18" fmla="*/ 57140 h 159144"/>
                <a:gd name="connsiteX19" fmla="*/ 58475 w 114998"/>
                <a:gd name="connsiteY19" fmla="*/ 29156 h 159144"/>
                <a:gd name="connsiteX20" fmla="*/ 86432 w 114998"/>
                <a:gd name="connsiteY20" fmla="*/ 57140 h 159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98" h="159144">
                  <a:moveTo>
                    <a:pt x="115987" y="57140"/>
                  </a:moveTo>
                  <a:cubicBezTo>
                    <a:pt x="115987" y="25391"/>
                    <a:pt x="90250" y="-346"/>
                    <a:pt x="58501" y="-346"/>
                  </a:cubicBezTo>
                  <a:cubicBezTo>
                    <a:pt x="58493" y="-346"/>
                    <a:pt x="58483" y="-346"/>
                    <a:pt x="58475" y="-346"/>
                  </a:cubicBezTo>
                  <a:cubicBezTo>
                    <a:pt x="48466" y="-346"/>
                    <a:pt x="38633" y="2280"/>
                    <a:pt x="29958" y="7269"/>
                  </a:cubicBezTo>
                  <a:cubicBezTo>
                    <a:pt x="29220" y="4088"/>
                    <a:pt x="26406" y="1824"/>
                    <a:pt x="23142" y="1784"/>
                  </a:cubicBezTo>
                  <a:lnTo>
                    <a:pt x="8178" y="1784"/>
                  </a:lnTo>
                  <a:cubicBezTo>
                    <a:pt x="4224" y="1798"/>
                    <a:pt x="1018" y="4993"/>
                    <a:pt x="989" y="8947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610"/>
                  </a:lnTo>
                  <a:cubicBezTo>
                    <a:pt x="1002" y="155574"/>
                    <a:pt x="4213" y="158786"/>
                    <a:pt x="8178" y="158799"/>
                  </a:cubicBezTo>
                  <a:lnTo>
                    <a:pt x="23142" y="158799"/>
                  </a:lnTo>
                  <a:cubicBezTo>
                    <a:pt x="27096" y="158770"/>
                    <a:pt x="30291" y="155564"/>
                    <a:pt x="30304" y="151610"/>
                  </a:cubicBezTo>
                  <a:lnTo>
                    <a:pt x="30304" y="107197"/>
                  </a:lnTo>
                  <a:cubicBezTo>
                    <a:pt x="38899" y="112051"/>
                    <a:pt x="48604" y="114602"/>
                    <a:pt x="58475" y="114599"/>
                  </a:cubicBezTo>
                  <a:cubicBezTo>
                    <a:pt x="90208" y="114599"/>
                    <a:pt x="115934" y="88873"/>
                    <a:pt x="115934" y="57140"/>
                  </a:cubicBezTo>
                  <a:moveTo>
                    <a:pt x="86432" y="57140"/>
                  </a:moveTo>
                  <a:cubicBezTo>
                    <a:pt x="86432" y="72581"/>
                    <a:pt x="73915" y="85098"/>
                    <a:pt x="58475" y="85098"/>
                  </a:cubicBezTo>
                  <a:cubicBezTo>
                    <a:pt x="43029" y="85098"/>
                    <a:pt x="30506" y="72586"/>
                    <a:pt x="30491" y="57140"/>
                  </a:cubicBezTo>
                  <a:cubicBezTo>
                    <a:pt x="30504" y="41692"/>
                    <a:pt x="43026" y="29172"/>
                    <a:pt x="58475" y="29156"/>
                  </a:cubicBezTo>
                  <a:cubicBezTo>
                    <a:pt x="73921" y="29172"/>
                    <a:pt x="86432" y="41694"/>
                    <a:pt x="86432" y="5714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0" name="Freeform: Shape 239">
              <a:extLst>
                <a:ext uri="{FF2B5EF4-FFF2-40B4-BE49-F238E27FC236}">
                  <a16:creationId xmlns:a16="http://schemas.microsoft.com/office/drawing/2014/main" id="{D8378B23-3116-4604-8A2C-4C877BBD94B9}"/>
                </a:ext>
              </a:extLst>
            </p:cNvPr>
            <p:cNvSpPr/>
            <p:nvPr/>
          </p:nvSpPr>
          <p:spPr>
            <a:xfrm>
              <a:off x="11792669" y="6644495"/>
              <a:ext cx="64867" cy="64867"/>
            </a:xfrm>
            <a:custGeom>
              <a:avLst/>
              <a:gdLst>
                <a:gd name="connsiteX0" fmla="*/ 115934 w 114945"/>
                <a:gd name="connsiteY0" fmla="*/ 64596 h 114945"/>
                <a:gd name="connsiteX1" fmla="*/ 115934 w 114945"/>
                <a:gd name="connsiteY1" fmla="*/ 49632 h 114945"/>
                <a:gd name="connsiteX2" fmla="*/ 108745 w 114945"/>
                <a:gd name="connsiteY2" fmla="*/ 42443 h 114945"/>
                <a:gd name="connsiteX3" fmla="*/ 73119 w 114945"/>
                <a:gd name="connsiteY3" fmla="*/ 42443 h 114945"/>
                <a:gd name="connsiteX4" fmla="*/ 73119 w 114945"/>
                <a:gd name="connsiteY4" fmla="*/ 6843 h 114945"/>
                <a:gd name="connsiteX5" fmla="*/ 65930 w 114945"/>
                <a:gd name="connsiteY5" fmla="*/ -346 h 114945"/>
                <a:gd name="connsiteX6" fmla="*/ 50993 w 114945"/>
                <a:gd name="connsiteY6" fmla="*/ -346 h 114945"/>
                <a:gd name="connsiteX7" fmla="*/ 43804 w 114945"/>
                <a:gd name="connsiteY7" fmla="*/ 6843 h 114945"/>
                <a:gd name="connsiteX8" fmla="*/ 43804 w 114945"/>
                <a:gd name="connsiteY8" fmla="*/ 42469 h 114945"/>
                <a:gd name="connsiteX9" fmla="*/ 8178 w 114945"/>
                <a:gd name="connsiteY9" fmla="*/ 42469 h 114945"/>
                <a:gd name="connsiteX10" fmla="*/ 989 w 114945"/>
                <a:gd name="connsiteY10" fmla="*/ 49658 h 114945"/>
                <a:gd name="connsiteX11" fmla="*/ 989 w 114945"/>
                <a:gd name="connsiteY11" fmla="*/ 64596 h 114945"/>
                <a:gd name="connsiteX12" fmla="*/ 8178 w 114945"/>
                <a:gd name="connsiteY12" fmla="*/ 71785 h 114945"/>
                <a:gd name="connsiteX13" fmla="*/ 43804 w 114945"/>
                <a:gd name="connsiteY13" fmla="*/ 71785 h 114945"/>
                <a:gd name="connsiteX14" fmla="*/ 43804 w 114945"/>
                <a:gd name="connsiteY14" fmla="*/ 107410 h 114945"/>
                <a:gd name="connsiteX15" fmla="*/ 50993 w 114945"/>
                <a:gd name="connsiteY15" fmla="*/ 114599 h 114945"/>
                <a:gd name="connsiteX16" fmla="*/ 65930 w 114945"/>
                <a:gd name="connsiteY16" fmla="*/ 114599 h 114945"/>
                <a:gd name="connsiteX17" fmla="*/ 73119 w 114945"/>
                <a:gd name="connsiteY17" fmla="*/ 107410 h 114945"/>
                <a:gd name="connsiteX18" fmla="*/ 73119 w 114945"/>
                <a:gd name="connsiteY18" fmla="*/ 71785 h 114945"/>
                <a:gd name="connsiteX19" fmla="*/ 108745 w 114945"/>
                <a:gd name="connsiteY19" fmla="*/ 71785 h 114945"/>
                <a:gd name="connsiteX20" fmla="*/ 115934 w 114945"/>
                <a:gd name="connsiteY20" fmla="*/ 64596 h 1149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14945" h="114945">
                  <a:moveTo>
                    <a:pt x="115934" y="64596"/>
                  </a:moveTo>
                  <a:lnTo>
                    <a:pt x="115934" y="49632"/>
                  </a:lnTo>
                  <a:cubicBezTo>
                    <a:pt x="115918" y="45667"/>
                    <a:pt x="112709" y="42456"/>
                    <a:pt x="108745" y="42443"/>
                  </a:cubicBezTo>
                  <a:lnTo>
                    <a:pt x="73119" y="42443"/>
                  </a:lnTo>
                  <a:lnTo>
                    <a:pt x="73119" y="6843"/>
                  </a:lnTo>
                  <a:cubicBezTo>
                    <a:pt x="73103" y="2879"/>
                    <a:pt x="69894" y="-332"/>
                    <a:pt x="65930" y="-346"/>
                  </a:cubicBezTo>
                  <a:lnTo>
                    <a:pt x="50993" y="-346"/>
                  </a:lnTo>
                  <a:cubicBezTo>
                    <a:pt x="47028" y="-330"/>
                    <a:pt x="43817" y="2879"/>
                    <a:pt x="43804" y="6843"/>
                  </a:cubicBezTo>
                  <a:lnTo>
                    <a:pt x="43804" y="42469"/>
                  </a:lnTo>
                  <a:lnTo>
                    <a:pt x="8178" y="42469"/>
                  </a:lnTo>
                  <a:cubicBezTo>
                    <a:pt x="4213" y="42483"/>
                    <a:pt x="1002" y="45694"/>
                    <a:pt x="989" y="49658"/>
                  </a:cubicBezTo>
                  <a:lnTo>
                    <a:pt x="989" y="64596"/>
                  </a:lnTo>
                  <a:cubicBezTo>
                    <a:pt x="1002" y="68560"/>
                    <a:pt x="4213" y="71771"/>
                    <a:pt x="8178" y="71785"/>
                  </a:cubicBezTo>
                  <a:lnTo>
                    <a:pt x="43804" y="71785"/>
                  </a:lnTo>
                  <a:lnTo>
                    <a:pt x="43804" y="107410"/>
                  </a:lnTo>
                  <a:cubicBezTo>
                    <a:pt x="43820" y="111375"/>
                    <a:pt x="47028" y="114586"/>
                    <a:pt x="50993" y="114599"/>
                  </a:cubicBezTo>
                  <a:lnTo>
                    <a:pt x="65930" y="114599"/>
                  </a:lnTo>
                  <a:cubicBezTo>
                    <a:pt x="69900" y="114599"/>
                    <a:pt x="73119" y="111380"/>
                    <a:pt x="73119" y="107410"/>
                  </a:cubicBezTo>
                  <a:lnTo>
                    <a:pt x="73119" y="71785"/>
                  </a:lnTo>
                  <a:lnTo>
                    <a:pt x="108745" y="71785"/>
                  </a:lnTo>
                  <a:cubicBezTo>
                    <a:pt x="112709" y="71771"/>
                    <a:pt x="115918" y="68560"/>
                    <a:pt x="115934" y="6459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1" name="Freeform: Shape 240">
              <a:extLst>
                <a:ext uri="{FF2B5EF4-FFF2-40B4-BE49-F238E27FC236}">
                  <a16:creationId xmlns:a16="http://schemas.microsoft.com/office/drawing/2014/main" id="{5BAEB80C-9E13-41F4-B45C-054756A069B2}"/>
                </a:ext>
              </a:extLst>
            </p:cNvPr>
            <p:cNvSpPr/>
            <p:nvPr/>
          </p:nvSpPr>
          <p:spPr>
            <a:xfrm>
              <a:off x="11574954" y="6644781"/>
              <a:ext cx="64867" cy="89524"/>
            </a:xfrm>
            <a:custGeom>
              <a:avLst/>
              <a:gdLst>
                <a:gd name="connsiteX0" fmla="*/ 115934 w 114945"/>
                <a:gd name="connsiteY0" fmla="*/ 57114 h 158638"/>
                <a:gd name="connsiteX1" fmla="*/ 58475 w 114945"/>
                <a:gd name="connsiteY1" fmla="*/ -346 h 158638"/>
                <a:gd name="connsiteX2" fmla="*/ 29905 w 114945"/>
                <a:gd name="connsiteY2" fmla="*/ 7296 h 158638"/>
                <a:gd name="connsiteX3" fmla="*/ 23115 w 114945"/>
                <a:gd name="connsiteY3" fmla="*/ 2131 h 158638"/>
                <a:gd name="connsiteX4" fmla="*/ 8178 w 114945"/>
                <a:gd name="connsiteY4" fmla="*/ 2131 h 158638"/>
                <a:gd name="connsiteX5" fmla="*/ 989 w 114945"/>
                <a:gd name="connsiteY5" fmla="*/ 9320 h 158638"/>
                <a:gd name="connsiteX6" fmla="*/ 989 w 114945"/>
                <a:gd name="connsiteY6" fmla="*/ 57114 h 158638"/>
                <a:gd name="connsiteX7" fmla="*/ 989 w 114945"/>
                <a:gd name="connsiteY7" fmla="*/ 57114 h 158638"/>
                <a:gd name="connsiteX8" fmla="*/ 989 w 114945"/>
                <a:gd name="connsiteY8" fmla="*/ 151104 h 158638"/>
                <a:gd name="connsiteX9" fmla="*/ 8178 w 114945"/>
                <a:gd name="connsiteY9" fmla="*/ 158293 h 158638"/>
                <a:gd name="connsiteX10" fmla="*/ 23115 w 114945"/>
                <a:gd name="connsiteY10" fmla="*/ 158293 h 158638"/>
                <a:gd name="connsiteX11" fmla="*/ 30304 w 114945"/>
                <a:gd name="connsiteY11" fmla="*/ 151104 h 158638"/>
                <a:gd name="connsiteX12" fmla="*/ 30304 w 114945"/>
                <a:gd name="connsiteY12" fmla="*/ 107171 h 158638"/>
                <a:gd name="connsiteX13" fmla="*/ 58475 w 114945"/>
                <a:gd name="connsiteY13" fmla="*/ 114573 h 158638"/>
                <a:gd name="connsiteX14" fmla="*/ 115934 w 114945"/>
                <a:gd name="connsiteY14" fmla="*/ 57114 h 158638"/>
                <a:gd name="connsiteX15" fmla="*/ 86432 w 114945"/>
                <a:gd name="connsiteY15" fmla="*/ 57114 h 158638"/>
                <a:gd name="connsiteX16" fmla="*/ 58475 w 114945"/>
                <a:gd name="connsiteY16" fmla="*/ 85098 h 158638"/>
                <a:gd name="connsiteX17" fmla="*/ 30491 w 114945"/>
                <a:gd name="connsiteY17" fmla="*/ 57114 h 158638"/>
                <a:gd name="connsiteX18" fmla="*/ 58475 w 114945"/>
                <a:gd name="connsiteY18" fmla="*/ 29156 h 158638"/>
                <a:gd name="connsiteX19" fmla="*/ 86432 w 114945"/>
                <a:gd name="connsiteY19" fmla="*/ 57114 h 1586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4945" h="158638">
                  <a:moveTo>
                    <a:pt x="115934" y="57114"/>
                  </a:moveTo>
                  <a:cubicBezTo>
                    <a:pt x="115934" y="25381"/>
                    <a:pt x="90208" y="-346"/>
                    <a:pt x="58475" y="-346"/>
                  </a:cubicBezTo>
                  <a:cubicBezTo>
                    <a:pt x="48447" y="-340"/>
                    <a:pt x="38596" y="2293"/>
                    <a:pt x="29905" y="7296"/>
                  </a:cubicBezTo>
                  <a:cubicBezTo>
                    <a:pt x="29034" y="4261"/>
                    <a:pt x="26273" y="2160"/>
                    <a:pt x="23115" y="2131"/>
                  </a:cubicBezTo>
                  <a:lnTo>
                    <a:pt x="8178" y="2131"/>
                  </a:lnTo>
                  <a:cubicBezTo>
                    <a:pt x="4213" y="2144"/>
                    <a:pt x="1002" y="5355"/>
                    <a:pt x="989" y="9320"/>
                  </a:cubicBezTo>
                  <a:lnTo>
                    <a:pt x="989" y="57114"/>
                  </a:lnTo>
                  <a:lnTo>
                    <a:pt x="989" y="57114"/>
                  </a:lnTo>
                  <a:lnTo>
                    <a:pt x="989" y="151104"/>
                  </a:lnTo>
                  <a:cubicBezTo>
                    <a:pt x="1002" y="155069"/>
                    <a:pt x="4213" y="158280"/>
                    <a:pt x="8178" y="158293"/>
                  </a:cubicBezTo>
                  <a:lnTo>
                    <a:pt x="23115" y="158293"/>
                  </a:lnTo>
                  <a:cubicBezTo>
                    <a:pt x="27080" y="158280"/>
                    <a:pt x="30291" y="155069"/>
                    <a:pt x="30304" y="151104"/>
                  </a:cubicBezTo>
                  <a:lnTo>
                    <a:pt x="30304" y="107171"/>
                  </a:lnTo>
                  <a:cubicBezTo>
                    <a:pt x="38899" y="112025"/>
                    <a:pt x="48604" y="114575"/>
                    <a:pt x="58475" y="114573"/>
                  </a:cubicBezTo>
                  <a:cubicBezTo>
                    <a:pt x="90202" y="114557"/>
                    <a:pt x="115918" y="88841"/>
                    <a:pt x="115934" y="57114"/>
                  </a:cubicBezTo>
                  <a:moveTo>
                    <a:pt x="86432" y="57114"/>
                  </a:moveTo>
                  <a:cubicBezTo>
                    <a:pt x="86432" y="72559"/>
                    <a:pt x="73920" y="85082"/>
                    <a:pt x="58475" y="85098"/>
                  </a:cubicBezTo>
                  <a:cubicBezTo>
                    <a:pt x="43026" y="85082"/>
                    <a:pt x="30506" y="72562"/>
                    <a:pt x="30491" y="57114"/>
                  </a:cubicBezTo>
                  <a:cubicBezTo>
                    <a:pt x="30506" y="41668"/>
                    <a:pt x="43029" y="29156"/>
                    <a:pt x="58475" y="29156"/>
                  </a:cubicBezTo>
                  <a:cubicBezTo>
                    <a:pt x="73915" y="29156"/>
                    <a:pt x="86432" y="41673"/>
                    <a:pt x="86432" y="5711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2" name="Freeform: Shape 241">
              <a:extLst>
                <a:ext uri="{FF2B5EF4-FFF2-40B4-BE49-F238E27FC236}">
                  <a16:creationId xmlns:a16="http://schemas.microsoft.com/office/drawing/2014/main" id="{239C94DB-A143-4D0D-94F3-A85ADBB1437C}"/>
                </a:ext>
              </a:extLst>
            </p:cNvPr>
            <p:cNvSpPr/>
            <p:nvPr/>
          </p:nvSpPr>
          <p:spPr>
            <a:xfrm>
              <a:off x="11574969" y="6750860"/>
              <a:ext cx="19691" cy="26558"/>
            </a:xfrm>
            <a:custGeom>
              <a:avLst/>
              <a:gdLst>
                <a:gd name="connsiteX0" fmla="*/ 1103 w 34893"/>
                <a:gd name="connsiteY0" fmla="*/ 44632 h 47062"/>
                <a:gd name="connsiteX1" fmla="*/ 1103 w 34893"/>
                <a:gd name="connsiteY1" fmla="*/ 2270 h 47062"/>
                <a:gd name="connsiteX2" fmla="*/ 2765 w 34893"/>
                <a:gd name="connsiteY2" fmla="*/ 273 h 47062"/>
                <a:gd name="connsiteX3" fmla="*/ 3100 w 34893"/>
                <a:gd name="connsiteY3" fmla="*/ 273 h 47062"/>
                <a:gd name="connsiteX4" fmla="*/ 5124 w 34893"/>
                <a:gd name="connsiteY4" fmla="*/ 273 h 47062"/>
                <a:gd name="connsiteX5" fmla="*/ 7387 w 34893"/>
                <a:gd name="connsiteY5" fmla="*/ 1897 h 47062"/>
                <a:gd name="connsiteX6" fmla="*/ 9704 w 34893"/>
                <a:gd name="connsiteY6" fmla="*/ 2589 h 47062"/>
                <a:gd name="connsiteX7" fmla="*/ 19316 w 34893"/>
                <a:gd name="connsiteY7" fmla="*/ -339 h 47062"/>
                <a:gd name="connsiteX8" fmla="*/ 35880 w 34893"/>
                <a:gd name="connsiteY8" fmla="*/ 16060 h 47062"/>
                <a:gd name="connsiteX9" fmla="*/ 35877 w 34893"/>
                <a:gd name="connsiteY9" fmla="*/ 16462 h 47062"/>
                <a:gd name="connsiteX10" fmla="*/ 19667 w 34893"/>
                <a:gd name="connsiteY10" fmla="*/ 33524 h 47062"/>
                <a:gd name="connsiteX11" fmla="*/ 19182 w 34893"/>
                <a:gd name="connsiteY11" fmla="*/ 33529 h 47062"/>
                <a:gd name="connsiteX12" fmla="*/ 11195 w 34893"/>
                <a:gd name="connsiteY12" fmla="*/ 31585 h 47062"/>
                <a:gd name="connsiteX13" fmla="*/ 9118 w 34893"/>
                <a:gd name="connsiteY13" fmla="*/ 32597 h 47062"/>
                <a:gd name="connsiteX14" fmla="*/ 9118 w 34893"/>
                <a:gd name="connsiteY14" fmla="*/ 44712 h 47062"/>
                <a:gd name="connsiteX15" fmla="*/ 7456 w 34893"/>
                <a:gd name="connsiteY15" fmla="*/ 46709 h 47062"/>
                <a:gd name="connsiteX16" fmla="*/ 7121 w 34893"/>
                <a:gd name="connsiteY16" fmla="*/ 46709 h 47062"/>
                <a:gd name="connsiteX17" fmla="*/ 2994 w 34893"/>
                <a:gd name="connsiteY17" fmla="*/ 46709 h 47062"/>
                <a:gd name="connsiteX18" fmla="*/ 997 w 34893"/>
                <a:gd name="connsiteY18" fmla="*/ 45048 h 47062"/>
                <a:gd name="connsiteX19" fmla="*/ 997 w 34893"/>
                <a:gd name="connsiteY19" fmla="*/ 44712 h 47062"/>
                <a:gd name="connsiteX20" fmla="*/ 10236 w 34893"/>
                <a:gd name="connsiteY20" fmla="*/ 22106 h 47062"/>
                <a:gd name="connsiteX21" fmla="*/ 18224 w 34893"/>
                <a:gd name="connsiteY21" fmla="*/ 26127 h 47062"/>
                <a:gd name="connsiteX22" fmla="*/ 26968 w 34893"/>
                <a:gd name="connsiteY22" fmla="*/ 16571 h 47062"/>
                <a:gd name="connsiteX23" fmla="*/ 26957 w 34893"/>
                <a:gd name="connsiteY23" fmla="*/ 16382 h 47062"/>
                <a:gd name="connsiteX24" fmla="*/ 18250 w 34893"/>
                <a:gd name="connsiteY24" fmla="*/ 6983 h 47062"/>
                <a:gd name="connsiteX25" fmla="*/ 10263 w 34893"/>
                <a:gd name="connsiteY25" fmla="*/ 10977 h 47062"/>
                <a:gd name="connsiteX26" fmla="*/ 9677 w 34893"/>
                <a:gd name="connsiteY26" fmla="*/ 13133 h 47062"/>
                <a:gd name="connsiteX27" fmla="*/ 9677 w 34893"/>
                <a:gd name="connsiteY27" fmla="*/ 19896 h 47062"/>
                <a:gd name="connsiteX28" fmla="*/ 10263 w 34893"/>
                <a:gd name="connsiteY28" fmla="*/ 22027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893" h="47062">
                  <a:moveTo>
                    <a:pt x="1103" y="44632"/>
                  </a:moveTo>
                  <a:lnTo>
                    <a:pt x="1103" y="2270"/>
                  </a:lnTo>
                  <a:cubicBezTo>
                    <a:pt x="1010" y="1261"/>
                    <a:pt x="1756" y="366"/>
                    <a:pt x="2765" y="273"/>
                  </a:cubicBezTo>
                  <a:cubicBezTo>
                    <a:pt x="2877" y="262"/>
                    <a:pt x="2988" y="262"/>
                    <a:pt x="3100" y="273"/>
                  </a:cubicBezTo>
                  <a:lnTo>
                    <a:pt x="5124" y="273"/>
                  </a:lnTo>
                  <a:cubicBezTo>
                    <a:pt x="6170" y="201"/>
                    <a:pt x="7121" y="883"/>
                    <a:pt x="7387" y="1897"/>
                  </a:cubicBezTo>
                  <a:cubicBezTo>
                    <a:pt x="7707" y="3228"/>
                    <a:pt x="8638" y="3415"/>
                    <a:pt x="9704" y="2589"/>
                  </a:cubicBezTo>
                  <a:cubicBezTo>
                    <a:pt x="12502" y="592"/>
                    <a:pt x="15878" y="-435"/>
                    <a:pt x="19316" y="-339"/>
                  </a:cubicBezTo>
                  <a:cubicBezTo>
                    <a:pt x="28419" y="-385"/>
                    <a:pt x="35834" y="6956"/>
                    <a:pt x="35880" y="16060"/>
                  </a:cubicBezTo>
                  <a:cubicBezTo>
                    <a:pt x="35880" y="16193"/>
                    <a:pt x="35880" y="16329"/>
                    <a:pt x="35877" y="16462"/>
                  </a:cubicBezTo>
                  <a:cubicBezTo>
                    <a:pt x="36111" y="25650"/>
                    <a:pt x="28856" y="33289"/>
                    <a:pt x="19667" y="33524"/>
                  </a:cubicBezTo>
                  <a:cubicBezTo>
                    <a:pt x="19505" y="33529"/>
                    <a:pt x="19345" y="33529"/>
                    <a:pt x="19182" y="33529"/>
                  </a:cubicBezTo>
                  <a:cubicBezTo>
                    <a:pt x="16397" y="33582"/>
                    <a:pt x="13644" y="32914"/>
                    <a:pt x="11195" y="31585"/>
                  </a:cubicBezTo>
                  <a:cubicBezTo>
                    <a:pt x="9943" y="30840"/>
                    <a:pt x="9118" y="31213"/>
                    <a:pt x="9118" y="32597"/>
                  </a:cubicBezTo>
                  <a:lnTo>
                    <a:pt x="9118" y="44712"/>
                  </a:lnTo>
                  <a:cubicBezTo>
                    <a:pt x="9211" y="45721"/>
                    <a:pt x="8465" y="46616"/>
                    <a:pt x="7456" y="46709"/>
                  </a:cubicBezTo>
                  <a:cubicBezTo>
                    <a:pt x="7344" y="46720"/>
                    <a:pt x="7233" y="46720"/>
                    <a:pt x="7121" y="46709"/>
                  </a:cubicBezTo>
                  <a:lnTo>
                    <a:pt x="2994" y="46709"/>
                  </a:lnTo>
                  <a:cubicBezTo>
                    <a:pt x="1982" y="46802"/>
                    <a:pt x="1090" y="46057"/>
                    <a:pt x="997" y="45048"/>
                  </a:cubicBezTo>
                  <a:cubicBezTo>
                    <a:pt x="986" y="44936"/>
                    <a:pt x="986" y="44824"/>
                    <a:pt x="997" y="44712"/>
                  </a:cubicBezTo>
                  <a:moveTo>
                    <a:pt x="10236" y="22106"/>
                  </a:moveTo>
                  <a:cubicBezTo>
                    <a:pt x="12039" y="24721"/>
                    <a:pt x="15050" y="26236"/>
                    <a:pt x="18224" y="26127"/>
                  </a:cubicBezTo>
                  <a:cubicBezTo>
                    <a:pt x="23277" y="25903"/>
                    <a:pt x="27192" y="21625"/>
                    <a:pt x="26968" y="16571"/>
                  </a:cubicBezTo>
                  <a:cubicBezTo>
                    <a:pt x="26965" y="16507"/>
                    <a:pt x="26963" y="16446"/>
                    <a:pt x="26957" y="16382"/>
                  </a:cubicBezTo>
                  <a:cubicBezTo>
                    <a:pt x="27122" y="11392"/>
                    <a:pt x="23238" y="7198"/>
                    <a:pt x="18250" y="6983"/>
                  </a:cubicBezTo>
                  <a:cubicBezTo>
                    <a:pt x="15085" y="6884"/>
                    <a:pt x="12081" y="8386"/>
                    <a:pt x="10263" y="10977"/>
                  </a:cubicBezTo>
                  <a:cubicBezTo>
                    <a:pt x="9837" y="11613"/>
                    <a:pt x="9632" y="12369"/>
                    <a:pt x="9677" y="13133"/>
                  </a:cubicBezTo>
                  <a:lnTo>
                    <a:pt x="9677" y="19896"/>
                  </a:lnTo>
                  <a:cubicBezTo>
                    <a:pt x="9650" y="20650"/>
                    <a:pt x="9855" y="21393"/>
                    <a:pt x="10263" y="2202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3" name="Freeform: Shape 242">
              <a:extLst>
                <a:ext uri="{FF2B5EF4-FFF2-40B4-BE49-F238E27FC236}">
                  <a16:creationId xmlns:a16="http://schemas.microsoft.com/office/drawing/2014/main" id="{FBFE9D7D-DA7D-4037-B7E5-C1321AF940E4}"/>
                </a:ext>
              </a:extLst>
            </p:cNvPr>
            <p:cNvSpPr/>
            <p:nvPr/>
          </p:nvSpPr>
          <p:spPr>
            <a:xfrm>
              <a:off x="11597252" y="6750822"/>
              <a:ext cx="18514" cy="19157"/>
            </a:xfrm>
            <a:custGeom>
              <a:avLst/>
              <a:gdLst>
                <a:gd name="connsiteX0" fmla="*/ 18038 w 32808"/>
                <a:gd name="connsiteY0" fmla="*/ -324 h 33946"/>
                <a:gd name="connsiteX1" fmla="*/ 33795 w 32808"/>
                <a:gd name="connsiteY1" fmla="*/ 15867 h 33946"/>
                <a:gd name="connsiteX2" fmla="*/ 33721 w 32808"/>
                <a:gd name="connsiteY2" fmla="*/ 17196 h 33946"/>
                <a:gd name="connsiteX3" fmla="*/ 31915 w 32808"/>
                <a:gd name="connsiteY3" fmla="*/ 19012 h 33946"/>
                <a:gd name="connsiteX4" fmla="*/ 31777 w 32808"/>
                <a:gd name="connsiteY4" fmla="*/ 19006 h 33946"/>
                <a:gd name="connsiteX5" fmla="*/ 11568 w 32808"/>
                <a:gd name="connsiteY5" fmla="*/ 19006 h 33946"/>
                <a:gd name="connsiteX6" fmla="*/ 10130 w 32808"/>
                <a:gd name="connsiteY6" fmla="*/ 20950 h 33946"/>
                <a:gd name="connsiteX7" fmla="*/ 18118 w 32808"/>
                <a:gd name="connsiteY7" fmla="*/ 26488 h 33946"/>
                <a:gd name="connsiteX8" fmla="*/ 24455 w 32808"/>
                <a:gd name="connsiteY8" fmla="*/ 23613 h 33946"/>
                <a:gd name="connsiteX9" fmla="*/ 26771 w 32808"/>
                <a:gd name="connsiteY9" fmla="*/ 22148 h 33946"/>
                <a:gd name="connsiteX10" fmla="*/ 31058 w 32808"/>
                <a:gd name="connsiteY10" fmla="*/ 22148 h 33946"/>
                <a:gd name="connsiteX11" fmla="*/ 32815 w 32808"/>
                <a:gd name="connsiteY11" fmla="*/ 24358 h 33946"/>
                <a:gd name="connsiteX12" fmla="*/ 18118 w 32808"/>
                <a:gd name="connsiteY12" fmla="*/ 33571 h 33946"/>
                <a:gd name="connsiteX13" fmla="*/ 994 w 32808"/>
                <a:gd name="connsiteY13" fmla="*/ 17371 h 33946"/>
                <a:gd name="connsiteX14" fmla="*/ 997 w 32808"/>
                <a:gd name="connsiteY14" fmla="*/ 16370 h 33946"/>
                <a:gd name="connsiteX15" fmla="*/ 16866 w 32808"/>
                <a:gd name="connsiteY15" fmla="*/ -340 h 33946"/>
                <a:gd name="connsiteX16" fmla="*/ 18118 w 32808"/>
                <a:gd name="connsiteY16" fmla="*/ -324 h 33946"/>
                <a:gd name="connsiteX17" fmla="*/ 12020 w 32808"/>
                <a:gd name="connsiteY17" fmla="*/ 13362 h 33946"/>
                <a:gd name="connsiteX18" fmla="*/ 23257 w 32808"/>
                <a:gd name="connsiteY18" fmla="*/ 13362 h 33946"/>
                <a:gd name="connsiteX19" fmla="*/ 24774 w 32808"/>
                <a:gd name="connsiteY19" fmla="*/ 11365 h 33946"/>
                <a:gd name="connsiteX20" fmla="*/ 17985 w 32808"/>
                <a:gd name="connsiteY20" fmla="*/ 6705 h 33946"/>
                <a:gd name="connsiteX21" fmla="*/ 10582 w 32808"/>
                <a:gd name="connsiteY21" fmla="*/ 11285 h 33946"/>
                <a:gd name="connsiteX22" fmla="*/ 12020 w 32808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808" h="33946">
                  <a:moveTo>
                    <a:pt x="18038" y="-324"/>
                  </a:moveTo>
                  <a:cubicBezTo>
                    <a:pt x="26859" y="-204"/>
                    <a:pt x="33915" y="7046"/>
                    <a:pt x="33795" y="15867"/>
                  </a:cubicBezTo>
                  <a:cubicBezTo>
                    <a:pt x="33787" y="16312"/>
                    <a:pt x="33763" y="16754"/>
                    <a:pt x="33721" y="17196"/>
                  </a:cubicBezTo>
                  <a:cubicBezTo>
                    <a:pt x="33723" y="18197"/>
                    <a:pt x="32914" y="19009"/>
                    <a:pt x="31915" y="19012"/>
                  </a:cubicBezTo>
                  <a:cubicBezTo>
                    <a:pt x="31870" y="19012"/>
                    <a:pt x="31822" y="19009"/>
                    <a:pt x="31777" y="19006"/>
                  </a:cubicBezTo>
                  <a:lnTo>
                    <a:pt x="11568" y="19006"/>
                  </a:lnTo>
                  <a:cubicBezTo>
                    <a:pt x="10396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43" y="22148"/>
                    <a:pt x="33295" y="23027"/>
                    <a:pt x="32815" y="24358"/>
                  </a:cubicBezTo>
                  <a:cubicBezTo>
                    <a:pt x="30403" y="30267"/>
                    <a:pt x="24487" y="33975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2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5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4" name="Freeform: Shape 243">
              <a:extLst>
                <a:ext uri="{FF2B5EF4-FFF2-40B4-BE49-F238E27FC236}">
                  <a16:creationId xmlns:a16="http://schemas.microsoft.com/office/drawing/2014/main" id="{490D02C7-1AF2-42A7-BB54-88D123241802}"/>
                </a:ext>
              </a:extLst>
            </p:cNvPr>
            <p:cNvSpPr/>
            <p:nvPr/>
          </p:nvSpPr>
          <p:spPr>
            <a:xfrm>
              <a:off x="11619475" y="6750860"/>
              <a:ext cx="19631" cy="26558"/>
            </a:xfrm>
            <a:custGeom>
              <a:avLst/>
              <a:gdLst>
                <a:gd name="connsiteX0" fmla="*/ 997 w 34787"/>
                <a:gd name="connsiteY0" fmla="*/ 44632 h 47062"/>
                <a:gd name="connsiteX1" fmla="*/ 997 w 34787"/>
                <a:gd name="connsiteY1" fmla="*/ 2270 h 47062"/>
                <a:gd name="connsiteX2" fmla="*/ 2658 w 34787"/>
                <a:gd name="connsiteY2" fmla="*/ 273 h 47062"/>
                <a:gd name="connsiteX3" fmla="*/ 2994 w 34787"/>
                <a:gd name="connsiteY3" fmla="*/ 273 h 47062"/>
                <a:gd name="connsiteX4" fmla="*/ 5017 w 34787"/>
                <a:gd name="connsiteY4" fmla="*/ 273 h 47062"/>
                <a:gd name="connsiteX5" fmla="*/ 7280 w 34787"/>
                <a:gd name="connsiteY5" fmla="*/ 1897 h 47062"/>
                <a:gd name="connsiteX6" fmla="*/ 9597 w 34787"/>
                <a:gd name="connsiteY6" fmla="*/ 2589 h 47062"/>
                <a:gd name="connsiteX7" fmla="*/ 19209 w 34787"/>
                <a:gd name="connsiteY7" fmla="*/ -339 h 47062"/>
                <a:gd name="connsiteX8" fmla="*/ 35773 w 34787"/>
                <a:gd name="connsiteY8" fmla="*/ 16060 h 47062"/>
                <a:gd name="connsiteX9" fmla="*/ 35770 w 34787"/>
                <a:gd name="connsiteY9" fmla="*/ 16462 h 47062"/>
                <a:gd name="connsiteX10" fmla="*/ 19560 w 34787"/>
                <a:gd name="connsiteY10" fmla="*/ 33524 h 47062"/>
                <a:gd name="connsiteX11" fmla="*/ 19076 w 34787"/>
                <a:gd name="connsiteY11" fmla="*/ 33529 h 47062"/>
                <a:gd name="connsiteX12" fmla="*/ 11088 w 34787"/>
                <a:gd name="connsiteY12" fmla="*/ 31585 h 47062"/>
                <a:gd name="connsiteX13" fmla="*/ 9011 w 34787"/>
                <a:gd name="connsiteY13" fmla="*/ 32597 h 47062"/>
                <a:gd name="connsiteX14" fmla="*/ 9011 w 34787"/>
                <a:gd name="connsiteY14" fmla="*/ 44712 h 47062"/>
                <a:gd name="connsiteX15" fmla="*/ 7350 w 34787"/>
                <a:gd name="connsiteY15" fmla="*/ 46709 h 47062"/>
                <a:gd name="connsiteX16" fmla="*/ 7014 w 34787"/>
                <a:gd name="connsiteY16" fmla="*/ 46709 h 47062"/>
                <a:gd name="connsiteX17" fmla="*/ 3100 w 34787"/>
                <a:gd name="connsiteY17" fmla="*/ 46709 h 47062"/>
                <a:gd name="connsiteX18" fmla="*/ 1103 w 34787"/>
                <a:gd name="connsiteY18" fmla="*/ 45048 h 47062"/>
                <a:gd name="connsiteX19" fmla="*/ 1103 w 34787"/>
                <a:gd name="connsiteY19" fmla="*/ 44712 h 47062"/>
                <a:gd name="connsiteX20" fmla="*/ 10342 w 34787"/>
                <a:gd name="connsiteY20" fmla="*/ 22106 h 47062"/>
                <a:gd name="connsiteX21" fmla="*/ 18330 w 34787"/>
                <a:gd name="connsiteY21" fmla="*/ 26127 h 47062"/>
                <a:gd name="connsiteX22" fmla="*/ 27042 w 34787"/>
                <a:gd name="connsiteY22" fmla="*/ 16539 h 47062"/>
                <a:gd name="connsiteX23" fmla="*/ 27037 w 34787"/>
                <a:gd name="connsiteY23" fmla="*/ 16462 h 47062"/>
                <a:gd name="connsiteX24" fmla="*/ 18330 w 34787"/>
                <a:gd name="connsiteY24" fmla="*/ 7063 h 47062"/>
                <a:gd name="connsiteX25" fmla="*/ 10342 w 34787"/>
                <a:gd name="connsiteY25" fmla="*/ 11057 h 47062"/>
                <a:gd name="connsiteX26" fmla="*/ 9757 w 34787"/>
                <a:gd name="connsiteY26" fmla="*/ 13213 h 47062"/>
                <a:gd name="connsiteX27" fmla="*/ 9757 w 34787"/>
                <a:gd name="connsiteY27" fmla="*/ 19976 h 47062"/>
                <a:gd name="connsiteX28" fmla="*/ 10342 w 34787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7" h="47062">
                  <a:moveTo>
                    <a:pt x="997" y="44632"/>
                  </a:moveTo>
                  <a:lnTo>
                    <a:pt x="997" y="2270"/>
                  </a:lnTo>
                  <a:cubicBezTo>
                    <a:pt x="903" y="1261"/>
                    <a:pt x="1649" y="366"/>
                    <a:pt x="2658" y="273"/>
                  </a:cubicBezTo>
                  <a:cubicBezTo>
                    <a:pt x="2770" y="262"/>
                    <a:pt x="2882" y="262"/>
                    <a:pt x="2994" y="273"/>
                  </a:cubicBezTo>
                  <a:lnTo>
                    <a:pt x="5017" y="273"/>
                  </a:lnTo>
                  <a:cubicBezTo>
                    <a:pt x="6064" y="201"/>
                    <a:pt x="7014" y="883"/>
                    <a:pt x="7280" y="1897"/>
                  </a:cubicBezTo>
                  <a:cubicBezTo>
                    <a:pt x="7600" y="3228"/>
                    <a:pt x="8532" y="3415"/>
                    <a:pt x="9597" y="2589"/>
                  </a:cubicBezTo>
                  <a:cubicBezTo>
                    <a:pt x="12395" y="592"/>
                    <a:pt x="15771" y="-435"/>
                    <a:pt x="19209" y="-339"/>
                  </a:cubicBezTo>
                  <a:cubicBezTo>
                    <a:pt x="28312" y="-385"/>
                    <a:pt x="35728" y="6956"/>
                    <a:pt x="35773" y="16060"/>
                  </a:cubicBezTo>
                  <a:cubicBezTo>
                    <a:pt x="35773" y="16193"/>
                    <a:pt x="35773" y="16329"/>
                    <a:pt x="35770" y="16462"/>
                  </a:cubicBezTo>
                  <a:cubicBezTo>
                    <a:pt x="36005" y="25650"/>
                    <a:pt x="28749" y="33289"/>
                    <a:pt x="19560" y="33524"/>
                  </a:cubicBezTo>
                  <a:cubicBezTo>
                    <a:pt x="19398" y="33529"/>
                    <a:pt x="19238" y="33529"/>
                    <a:pt x="19076" y="33529"/>
                  </a:cubicBezTo>
                  <a:cubicBezTo>
                    <a:pt x="16291" y="33582"/>
                    <a:pt x="13538" y="32914"/>
                    <a:pt x="11088" y="31585"/>
                  </a:cubicBezTo>
                  <a:cubicBezTo>
                    <a:pt x="9836" y="30840"/>
                    <a:pt x="9011" y="31213"/>
                    <a:pt x="9011" y="32597"/>
                  </a:cubicBezTo>
                  <a:lnTo>
                    <a:pt x="9011" y="44712"/>
                  </a:lnTo>
                  <a:cubicBezTo>
                    <a:pt x="9104" y="45721"/>
                    <a:pt x="8359" y="46616"/>
                    <a:pt x="7350" y="46709"/>
                  </a:cubicBezTo>
                  <a:cubicBezTo>
                    <a:pt x="7238" y="46720"/>
                    <a:pt x="7126" y="46720"/>
                    <a:pt x="7014" y="46709"/>
                  </a:cubicBezTo>
                  <a:lnTo>
                    <a:pt x="3100" y="46709"/>
                  </a:lnTo>
                  <a:cubicBezTo>
                    <a:pt x="2088" y="46802"/>
                    <a:pt x="1196" y="46057"/>
                    <a:pt x="1103" y="45048"/>
                  </a:cubicBezTo>
                  <a:cubicBezTo>
                    <a:pt x="1092" y="44936"/>
                    <a:pt x="1092" y="44824"/>
                    <a:pt x="1103" y="44712"/>
                  </a:cubicBezTo>
                  <a:moveTo>
                    <a:pt x="10342" y="22106"/>
                  </a:moveTo>
                  <a:cubicBezTo>
                    <a:pt x="12145" y="24721"/>
                    <a:pt x="15156" y="26236"/>
                    <a:pt x="18330" y="26127"/>
                  </a:cubicBezTo>
                  <a:cubicBezTo>
                    <a:pt x="23384" y="25885"/>
                    <a:pt x="27282" y="21592"/>
                    <a:pt x="27042" y="16539"/>
                  </a:cubicBezTo>
                  <a:cubicBezTo>
                    <a:pt x="27040" y="16515"/>
                    <a:pt x="27040" y="16488"/>
                    <a:pt x="27037" y="16462"/>
                  </a:cubicBezTo>
                  <a:cubicBezTo>
                    <a:pt x="27202" y="11472"/>
                    <a:pt x="23317" y="7278"/>
                    <a:pt x="18330" y="7063"/>
                  </a:cubicBezTo>
                  <a:cubicBezTo>
                    <a:pt x="15164" y="6964"/>
                    <a:pt x="12161" y="8466"/>
                    <a:pt x="10342" y="11057"/>
                  </a:cubicBezTo>
                  <a:cubicBezTo>
                    <a:pt x="9919" y="11693"/>
                    <a:pt x="9711" y="12449"/>
                    <a:pt x="9757" y="13213"/>
                  </a:cubicBezTo>
                  <a:lnTo>
                    <a:pt x="9757" y="19976"/>
                  </a:lnTo>
                  <a:cubicBezTo>
                    <a:pt x="9730" y="20730"/>
                    <a:pt x="9935" y="21473"/>
                    <a:pt x="10342" y="2210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5" name="Freeform: Shape 244">
              <a:extLst>
                <a:ext uri="{FF2B5EF4-FFF2-40B4-BE49-F238E27FC236}">
                  <a16:creationId xmlns:a16="http://schemas.microsoft.com/office/drawing/2014/main" id="{730242BF-E15D-40B1-B50C-D9CC266C93F5}"/>
                </a:ext>
              </a:extLst>
            </p:cNvPr>
            <p:cNvSpPr/>
            <p:nvPr/>
          </p:nvSpPr>
          <p:spPr>
            <a:xfrm>
              <a:off x="11641544" y="6750833"/>
              <a:ext cx="16868" cy="19128"/>
            </a:xfrm>
            <a:custGeom>
              <a:avLst/>
              <a:gdLst>
                <a:gd name="connsiteX0" fmla="*/ 16181 w 29890"/>
                <a:gd name="connsiteY0" fmla="*/ -346 h 33895"/>
                <a:gd name="connsiteX1" fmla="*/ 30186 w 29890"/>
                <a:gd name="connsiteY1" fmla="*/ 9400 h 33895"/>
                <a:gd name="connsiteX2" fmla="*/ 28296 w 29890"/>
                <a:gd name="connsiteY2" fmla="*/ 11476 h 33895"/>
                <a:gd name="connsiteX3" fmla="*/ 24275 w 29890"/>
                <a:gd name="connsiteY3" fmla="*/ 11476 h 33895"/>
                <a:gd name="connsiteX4" fmla="*/ 22092 w 29890"/>
                <a:gd name="connsiteY4" fmla="*/ 9719 h 33895"/>
                <a:gd name="connsiteX5" fmla="*/ 16048 w 29890"/>
                <a:gd name="connsiteY5" fmla="*/ 6444 h 33895"/>
                <a:gd name="connsiteX6" fmla="*/ 10723 w 29890"/>
                <a:gd name="connsiteY6" fmla="*/ 9266 h 33895"/>
                <a:gd name="connsiteX7" fmla="*/ 30879 w 29890"/>
                <a:gd name="connsiteY7" fmla="*/ 23591 h 33895"/>
                <a:gd name="connsiteX8" fmla="*/ 16687 w 29890"/>
                <a:gd name="connsiteY8" fmla="*/ 33550 h 33895"/>
                <a:gd name="connsiteX9" fmla="*/ 1057 w 29890"/>
                <a:gd name="connsiteY9" fmla="*/ 23511 h 33895"/>
                <a:gd name="connsiteX10" fmla="*/ 2895 w 29890"/>
                <a:gd name="connsiteY10" fmla="*/ 21381 h 33895"/>
                <a:gd name="connsiteX11" fmla="*/ 7155 w 29890"/>
                <a:gd name="connsiteY11" fmla="*/ 21381 h 33895"/>
                <a:gd name="connsiteX12" fmla="*/ 9338 w 29890"/>
                <a:gd name="connsiteY12" fmla="*/ 23006 h 33895"/>
                <a:gd name="connsiteX13" fmla="*/ 16873 w 29890"/>
                <a:gd name="connsiteY13" fmla="*/ 26786 h 33895"/>
                <a:gd name="connsiteX14" fmla="*/ 22411 w 29890"/>
                <a:gd name="connsiteY14" fmla="*/ 23645 h 33895"/>
                <a:gd name="connsiteX15" fmla="*/ 2256 w 29890"/>
                <a:gd name="connsiteY15" fmla="*/ 9453 h 33895"/>
                <a:gd name="connsiteX16" fmla="*/ 16128 w 29890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90" h="33895">
                  <a:moveTo>
                    <a:pt x="16181" y="-346"/>
                  </a:moveTo>
                  <a:cubicBezTo>
                    <a:pt x="24169" y="-346"/>
                    <a:pt x="28855" y="3622"/>
                    <a:pt x="30186" y="9400"/>
                  </a:cubicBezTo>
                  <a:cubicBezTo>
                    <a:pt x="30479" y="10704"/>
                    <a:pt x="29681" y="11476"/>
                    <a:pt x="2829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92" y="9719"/>
                  </a:cubicBezTo>
                  <a:cubicBezTo>
                    <a:pt x="21320" y="7642"/>
                    <a:pt x="19429" y="6444"/>
                    <a:pt x="16048" y="6444"/>
                  </a:cubicBezTo>
                  <a:cubicBezTo>
                    <a:pt x="12666" y="6444"/>
                    <a:pt x="10723" y="7562"/>
                    <a:pt x="10723" y="9266"/>
                  </a:cubicBezTo>
                  <a:cubicBezTo>
                    <a:pt x="10723" y="15364"/>
                    <a:pt x="30879" y="10971"/>
                    <a:pt x="30879" y="23591"/>
                  </a:cubicBezTo>
                  <a:cubicBezTo>
                    <a:pt x="30879" y="29982"/>
                    <a:pt x="25048" y="33550"/>
                    <a:pt x="16687" y="33550"/>
                  </a:cubicBezTo>
                  <a:cubicBezTo>
                    <a:pt x="8326" y="33550"/>
                    <a:pt x="2389" y="29928"/>
                    <a:pt x="1057" y="23511"/>
                  </a:cubicBezTo>
                  <a:cubicBezTo>
                    <a:pt x="738" y="22127"/>
                    <a:pt x="1563" y="21381"/>
                    <a:pt x="2895" y="21381"/>
                  </a:cubicBezTo>
                  <a:lnTo>
                    <a:pt x="7155" y="21381"/>
                  </a:lnTo>
                  <a:cubicBezTo>
                    <a:pt x="8172" y="21347"/>
                    <a:pt x="9077" y="22020"/>
                    <a:pt x="9338" y="23006"/>
                  </a:cubicBezTo>
                  <a:cubicBezTo>
                    <a:pt x="10858" y="25668"/>
                    <a:pt x="13830" y="27159"/>
                    <a:pt x="16873" y="26786"/>
                  </a:cubicBezTo>
                  <a:cubicBezTo>
                    <a:pt x="20281" y="26786"/>
                    <a:pt x="22411" y="25721"/>
                    <a:pt x="22411" y="23645"/>
                  </a:cubicBezTo>
                  <a:cubicBezTo>
                    <a:pt x="22411" y="17494"/>
                    <a:pt x="2256" y="22127"/>
                    <a:pt x="2256" y="9453"/>
                  </a:cubicBezTo>
                  <a:cubicBezTo>
                    <a:pt x="2256" y="3808"/>
                    <a:pt x="7101" y="-346"/>
                    <a:pt x="16128" y="-346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6" name="Freeform: Shape 245">
              <a:extLst>
                <a:ext uri="{FF2B5EF4-FFF2-40B4-BE49-F238E27FC236}">
                  <a16:creationId xmlns:a16="http://schemas.microsoft.com/office/drawing/2014/main" id="{6F1CAE5C-E91F-43B9-86AB-5131C965F758}"/>
                </a:ext>
              </a:extLst>
            </p:cNvPr>
            <p:cNvSpPr/>
            <p:nvPr/>
          </p:nvSpPr>
          <p:spPr>
            <a:xfrm>
              <a:off x="11661657" y="6742209"/>
              <a:ext cx="6551" cy="27381"/>
            </a:xfrm>
            <a:custGeom>
              <a:avLst/>
              <a:gdLst>
                <a:gd name="connsiteX0" fmla="*/ 989 w 11609"/>
                <a:gd name="connsiteY0" fmla="*/ 5352 h 48520"/>
                <a:gd name="connsiteX1" fmla="*/ 6687 w 11609"/>
                <a:gd name="connsiteY1" fmla="*/ -346 h 48520"/>
                <a:gd name="connsiteX2" fmla="*/ 6767 w 11609"/>
                <a:gd name="connsiteY2" fmla="*/ -346 h 48520"/>
                <a:gd name="connsiteX3" fmla="*/ 12598 w 11609"/>
                <a:gd name="connsiteY3" fmla="*/ 5352 h 48520"/>
                <a:gd name="connsiteX4" fmla="*/ 6767 w 11609"/>
                <a:gd name="connsiteY4" fmla="*/ 11263 h 48520"/>
                <a:gd name="connsiteX5" fmla="*/ 989 w 11609"/>
                <a:gd name="connsiteY5" fmla="*/ 5432 h 48520"/>
                <a:gd name="connsiteX6" fmla="*/ 989 w 11609"/>
                <a:gd name="connsiteY6" fmla="*/ 5352 h 48520"/>
                <a:gd name="connsiteX7" fmla="*/ 10734 w 11609"/>
                <a:gd name="connsiteY7" fmla="*/ 17521 h 48520"/>
                <a:gd name="connsiteX8" fmla="*/ 10734 w 11609"/>
                <a:gd name="connsiteY8" fmla="*/ 46144 h 48520"/>
                <a:gd name="connsiteX9" fmla="*/ 9046 w 11609"/>
                <a:gd name="connsiteY9" fmla="*/ 48167 h 48520"/>
                <a:gd name="connsiteX10" fmla="*/ 8710 w 11609"/>
                <a:gd name="connsiteY10" fmla="*/ 48167 h 48520"/>
                <a:gd name="connsiteX11" fmla="*/ 3998 w 11609"/>
                <a:gd name="connsiteY11" fmla="*/ 48167 h 48520"/>
                <a:gd name="connsiteX12" fmla="*/ 1998 w 11609"/>
                <a:gd name="connsiteY12" fmla="*/ 46450 h 48520"/>
                <a:gd name="connsiteX13" fmla="*/ 2001 w 11609"/>
                <a:gd name="connsiteY13" fmla="*/ 46144 h 48520"/>
                <a:gd name="connsiteX14" fmla="*/ 2001 w 11609"/>
                <a:gd name="connsiteY14" fmla="*/ 17600 h 48520"/>
                <a:gd name="connsiteX15" fmla="*/ 3662 w 11609"/>
                <a:gd name="connsiteY15" fmla="*/ 15603 h 48520"/>
                <a:gd name="connsiteX16" fmla="*/ 3998 w 11609"/>
                <a:gd name="connsiteY16" fmla="*/ 15603 h 48520"/>
                <a:gd name="connsiteX17" fmla="*/ 8710 w 11609"/>
                <a:gd name="connsiteY17" fmla="*/ 15603 h 48520"/>
                <a:gd name="connsiteX18" fmla="*/ 10731 w 11609"/>
                <a:gd name="connsiteY18" fmla="*/ 17294 h 48520"/>
                <a:gd name="connsiteX19" fmla="*/ 10734 w 11609"/>
                <a:gd name="connsiteY19" fmla="*/ 17600 h 485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09" h="48520">
                  <a:moveTo>
                    <a:pt x="989" y="5352"/>
                  </a:moveTo>
                  <a:cubicBezTo>
                    <a:pt x="989" y="2205"/>
                    <a:pt x="3540" y="-346"/>
                    <a:pt x="6687" y="-346"/>
                  </a:cubicBezTo>
                  <a:cubicBezTo>
                    <a:pt x="6713" y="-346"/>
                    <a:pt x="6740" y="-346"/>
                    <a:pt x="6767" y="-346"/>
                  </a:cubicBezTo>
                  <a:cubicBezTo>
                    <a:pt x="9935" y="-346"/>
                    <a:pt x="12526" y="2184"/>
                    <a:pt x="12598" y="5352"/>
                  </a:cubicBezTo>
                  <a:cubicBezTo>
                    <a:pt x="12598" y="8585"/>
                    <a:pt x="9999" y="11221"/>
                    <a:pt x="6767" y="11263"/>
                  </a:cubicBezTo>
                  <a:cubicBezTo>
                    <a:pt x="3561" y="11250"/>
                    <a:pt x="973" y="8638"/>
                    <a:pt x="989" y="5432"/>
                  </a:cubicBezTo>
                  <a:cubicBezTo>
                    <a:pt x="989" y="5406"/>
                    <a:pt x="989" y="5379"/>
                    <a:pt x="989" y="5352"/>
                  </a:cubicBezTo>
                  <a:moveTo>
                    <a:pt x="10734" y="17521"/>
                  </a:moveTo>
                  <a:lnTo>
                    <a:pt x="10734" y="46144"/>
                  </a:lnTo>
                  <a:cubicBezTo>
                    <a:pt x="10827" y="47169"/>
                    <a:pt x="10071" y="48074"/>
                    <a:pt x="9046" y="48167"/>
                  </a:cubicBezTo>
                  <a:cubicBezTo>
                    <a:pt x="8934" y="48178"/>
                    <a:pt x="8822" y="48178"/>
                    <a:pt x="8710" y="48167"/>
                  </a:cubicBezTo>
                  <a:lnTo>
                    <a:pt x="3998" y="48167"/>
                  </a:lnTo>
                  <a:cubicBezTo>
                    <a:pt x="2972" y="48244"/>
                    <a:pt x="2075" y="47475"/>
                    <a:pt x="1998" y="46450"/>
                  </a:cubicBezTo>
                  <a:cubicBezTo>
                    <a:pt x="1990" y="46349"/>
                    <a:pt x="1993" y="46245"/>
                    <a:pt x="2001" y="46144"/>
                  </a:cubicBezTo>
                  <a:lnTo>
                    <a:pt x="2001" y="17600"/>
                  </a:lnTo>
                  <a:cubicBezTo>
                    <a:pt x="1907" y="16591"/>
                    <a:pt x="2653" y="15697"/>
                    <a:pt x="3662" y="15603"/>
                  </a:cubicBezTo>
                  <a:cubicBezTo>
                    <a:pt x="3774" y="15593"/>
                    <a:pt x="3886" y="15593"/>
                    <a:pt x="3998" y="15603"/>
                  </a:cubicBezTo>
                  <a:lnTo>
                    <a:pt x="8710" y="15603"/>
                  </a:lnTo>
                  <a:cubicBezTo>
                    <a:pt x="9735" y="15513"/>
                    <a:pt x="10641" y="16269"/>
                    <a:pt x="10731" y="17294"/>
                  </a:cubicBezTo>
                  <a:cubicBezTo>
                    <a:pt x="10742" y="17395"/>
                    <a:pt x="10742" y="17499"/>
                    <a:pt x="10734" y="17600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7" name="Freeform: Shape 246">
              <a:extLst>
                <a:ext uri="{FF2B5EF4-FFF2-40B4-BE49-F238E27FC236}">
                  <a16:creationId xmlns:a16="http://schemas.microsoft.com/office/drawing/2014/main" id="{81829E6F-547F-4843-B0F7-77398EAD38DD}"/>
                </a:ext>
              </a:extLst>
            </p:cNvPr>
            <p:cNvSpPr/>
            <p:nvPr/>
          </p:nvSpPr>
          <p:spPr>
            <a:xfrm>
              <a:off x="11670912" y="6750850"/>
              <a:ext cx="18928" cy="19154"/>
            </a:xfrm>
            <a:custGeom>
              <a:avLst/>
              <a:gdLst>
                <a:gd name="connsiteX0" fmla="*/ 25781 w 33540"/>
                <a:gd name="connsiteY0" fmla="*/ 11128 h 33942"/>
                <a:gd name="connsiteX1" fmla="*/ 18672 w 33540"/>
                <a:gd name="connsiteY1" fmla="*/ 7001 h 33942"/>
                <a:gd name="connsiteX2" fmla="*/ 9850 w 33540"/>
                <a:gd name="connsiteY2" fmla="*/ 15699 h 33942"/>
                <a:gd name="connsiteX3" fmla="*/ 9885 w 33540"/>
                <a:gd name="connsiteY3" fmla="*/ 16533 h 33942"/>
                <a:gd name="connsiteX4" fmla="*/ 17838 w 33540"/>
                <a:gd name="connsiteY4" fmla="*/ 26030 h 33942"/>
                <a:gd name="connsiteX5" fmla="*/ 18618 w 33540"/>
                <a:gd name="connsiteY5" fmla="*/ 26065 h 33942"/>
                <a:gd name="connsiteX6" fmla="*/ 25514 w 33540"/>
                <a:gd name="connsiteY6" fmla="*/ 22364 h 33942"/>
                <a:gd name="connsiteX7" fmla="*/ 27778 w 33540"/>
                <a:gd name="connsiteY7" fmla="*/ 20793 h 33942"/>
                <a:gd name="connsiteX8" fmla="*/ 32411 w 33540"/>
                <a:gd name="connsiteY8" fmla="*/ 20793 h 33942"/>
                <a:gd name="connsiteX9" fmla="*/ 34301 w 33540"/>
                <a:gd name="connsiteY9" fmla="*/ 22923 h 33942"/>
                <a:gd name="connsiteX10" fmla="*/ 18805 w 33540"/>
                <a:gd name="connsiteY10" fmla="*/ 33573 h 33942"/>
                <a:gd name="connsiteX11" fmla="*/ 1013 w 33540"/>
                <a:gd name="connsiteY11" fmla="*/ 17545 h 33942"/>
                <a:gd name="connsiteX12" fmla="*/ 992 w 33540"/>
                <a:gd name="connsiteY12" fmla="*/ 16373 h 33942"/>
                <a:gd name="connsiteX13" fmla="*/ 17503 w 33540"/>
                <a:gd name="connsiteY13" fmla="*/ -346 h 33942"/>
                <a:gd name="connsiteX14" fmla="*/ 18485 w 33540"/>
                <a:gd name="connsiteY14" fmla="*/ -322 h 33942"/>
                <a:gd name="connsiteX15" fmla="*/ 34461 w 33540"/>
                <a:gd name="connsiteY15" fmla="*/ 10728 h 33942"/>
                <a:gd name="connsiteX16" fmla="*/ 33324 w 33540"/>
                <a:gd name="connsiteY16" fmla="*/ 12810 h 33942"/>
                <a:gd name="connsiteX17" fmla="*/ 32597 w 33540"/>
                <a:gd name="connsiteY17" fmla="*/ 12858 h 33942"/>
                <a:gd name="connsiteX18" fmla="*/ 28124 w 33540"/>
                <a:gd name="connsiteY18" fmla="*/ 12858 h 33942"/>
                <a:gd name="connsiteX19" fmla="*/ 25887 w 33540"/>
                <a:gd name="connsiteY19" fmla="*/ 11234 h 33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33540" h="33942">
                  <a:moveTo>
                    <a:pt x="25781" y="11128"/>
                  </a:moveTo>
                  <a:cubicBezTo>
                    <a:pt x="24463" y="8441"/>
                    <a:pt x="21656" y="6814"/>
                    <a:pt x="18672" y="7001"/>
                  </a:cubicBezTo>
                  <a:cubicBezTo>
                    <a:pt x="13834" y="6966"/>
                    <a:pt x="9885" y="10861"/>
                    <a:pt x="9850" y="15699"/>
                  </a:cubicBezTo>
                  <a:cubicBezTo>
                    <a:pt x="9850" y="15979"/>
                    <a:pt x="9861" y="16256"/>
                    <a:pt x="9885" y="16533"/>
                  </a:cubicBezTo>
                  <a:cubicBezTo>
                    <a:pt x="9459" y="21352"/>
                    <a:pt x="13019" y="25604"/>
                    <a:pt x="17838" y="26030"/>
                  </a:cubicBezTo>
                  <a:cubicBezTo>
                    <a:pt x="18099" y="26054"/>
                    <a:pt x="18357" y="26065"/>
                    <a:pt x="18618" y="26065"/>
                  </a:cubicBezTo>
                  <a:cubicBezTo>
                    <a:pt x="21441" y="26281"/>
                    <a:pt x="24133" y="24835"/>
                    <a:pt x="25514" y="22364"/>
                  </a:cubicBezTo>
                  <a:cubicBezTo>
                    <a:pt x="25869" y="21421"/>
                    <a:pt x="26771" y="20796"/>
                    <a:pt x="27778" y="20793"/>
                  </a:cubicBezTo>
                  <a:lnTo>
                    <a:pt x="32411" y="20793"/>
                  </a:lnTo>
                  <a:cubicBezTo>
                    <a:pt x="33742" y="20793"/>
                    <a:pt x="34621" y="21618"/>
                    <a:pt x="34301" y="22923"/>
                  </a:cubicBezTo>
                  <a:cubicBezTo>
                    <a:pt x="32810" y="29340"/>
                    <a:pt x="26313" y="33573"/>
                    <a:pt x="18805" y="33573"/>
                  </a:cubicBezTo>
                  <a:cubicBezTo>
                    <a:pt x="9464" y="34061"/>
                    <a:pt x="1498" y="26882"/>
                    <a:pt x="1013" y="17545"/>
                  </a:cubicBezTo>
                  <a:cubicBezTo>
                    <a:pt x="992" y="17153"/>
                    <a:pt x="984" y="16764"/>
                    <a:pt x="992" y="16373"/>
                  </a:cubicBezTo>
                  <a:cubicBezTo>
                    <a:pt x="936" y="7198"/>
                    <a:pt x="8327" y="-287"/>
                    <a:pt x="17503" y="-346"/>
                  </a:cubicBezTo>
                  <a:cubicBezTo>
                    <a:pt x="17830" y="-346"/>
                    <a:pt x="18158" y="-340"/>
                    <a:pt x="18485" y="-322"/>
                  </a:cubicBezTo>
                  <a:cubicBezTo>
                    <a:pt x="27724" y="-322"/>
                    <a:pt x="32996" y="4578"/>
                    <a:pt x="34461" y="10728"/>
                  </a:cubicBezTo>
                  <a:cubicBezTo>
                    <a:pt x="34722" y="11618"/>
                    <a:pt x="34213" y="12549"/>
                    <a:pt x="33324" y="12810"/>
                  </a:cubicBezTo>
                  <a:cubicBezTo>
                    <a:pt x="33087" y="12880"/>
                    <a:pt x="32839" y="12896"/>
                    <a:pt x="32597" y="12858"/>
                  </a:cubicBezTo>
                  <a:lnTo>
                    <a:pt x="28124" y="12858"/>
                  </a:lnTo>
                  <a:cubicBezTo>
                    <a:pt x="27006" y="12858"/>
                    <a:pt x="26446" y="12299"/>
                    <a:pt x="25887" y="11234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8" name="Freeform: Shape 247">
              <a:extLst>
                <a:ext uri="{FF2B5EF4-FFF2-40B4-BE49-F238E27FC236}">
                  <a16:creationId xmlns:a16="http://schemas.microsoft.com/office/drawing/2014/main" id="{70026134-4A73-4706-9353-44FE68C290F0}"/>
                </a:ext>
              </a:extLst>
            </p:cNvPr>
            <p:cNvSpPr/>
            <p:nvPr/>
          </p:nvSpPr>
          <p:spPr>
            <a:xfrm>
              <a:off x="11692340" y="6750833"/>
              <a:ext cx="20150" cy="19139"/>
            </a:xfrm>
            <a:custGeom>
              <a:avLst/>
              <a:gdLst>
                <a:gd name="connsiteX0" fmla="*/ 18856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8 h 33914"/>
                <a:gd name="connsiteX3" fmla="*/ 18856 w 35707"/>
                <a:gd name="connsiteY3" fmla="*/ 33550 h 33914"/>
                <a:gd name="connsiteX4" fmla="*/ 1008 w 35707"/>
                <a:gd name="connsiteY4" fmla="*/ 17300 h 33914"/>
                <a:gd name="connsiteX5" fmla="*/ 989 w 35707"/>
                <a:gd name="connsiteY5" fmla="*/ 16349 h 33914"/>
                <a:gd name="connsiteX6" fmla="*/ 18856 w 35707"/>
                <a:gd name="connsiteY6" fmla="*/ -346 h 33914"/>
                <a:gd name="connsiteX7" fmla="*/ 18856 w 35707"/>
                <a:gd name="connsiteY7" fmla="*/ 26147 h 33914"/>
                <a:gd name="connsiteX8" fmla="*/ 28028 w 35707"/>
                <a:gd name="connsiteY8" fmla="*/ 17214 h 33914"/>
                <a:gd name="connsiteX9" fmla="*/ 28015 w 35707"/>
                <a:gd name="connsiteY9" fmla="*/ 16615 h 33914"/>
                <a:gd name="connsiteX10" fmla="*/ 19455 w 35707"/>
                <a:gd name="connsiteY10" fmla="*/ 7096 h 33914"/>
                <a:gd name="connsiteX11" fmla="*/ 18856 w 35707"/>
                <a:gd name="connsiteY11" fmla="*/ 7083 h 33914"/>
                <a:gd name="connsiteX12" fmla="*/ 9683 w 35707"/>
                <a:gd name="connsiteY12" fmla="*/ 15960 h 33914"/>
                <a:gd name="connsiteX13" fmla="*/ 9696 w 35707"/>
                <a:gd name="connsiteY13" fmla="*/ 16615 h 33914"/>
                <a:gd name="connsiteX14" fmla="*/ 18200 w 35707"/>
                <a:gd name="connsiteY14" fmla="*/ 26134 h 33914"/>
                <a:gd name="connsiteX15" fmla="*/ 18856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56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4" y="25759"/>
                    <a:pt x="29245" y="33470"/>
                    <a:pt x="19833" y="33568"/>
                  </a:cubicBezTo>
                  <a:cubicBezTo>
                    <a:pt x="19508" y="33571"/>
                    <a:pt x="19180" y="33565"/>
                    <a:pt x="18856" y="33550"/>
                  </a:cubicBezTo>
                  <a:cubicBezTo>
                    <a:pt x="9440" y="33991"/>
                    <a:pt x="1450" y="26717"/>
                    <a:pt x="1008" y="17300"/>
                  </a:cubicBezTo>
                  <a:cubicBezTo>
                    <a:pt x="992" y="16983"/>
                    <a:pt x="987" y="16666"/>
                    <a:pt x="989" y="16349"/>
                  </a:cubicBezTo>
                  <a:cubicBezTo>
                    <a:pt x="989" y="7003"/>
                    <a:pt x="8391" y="-346"/>
                    <a:pt x="18856" y="-346"/>
                  </a:cubicBezTo>
                  <a:moveTo>
                    <a:pt x="18856" y="26147"/>
                  </a:moveTo>
                  <a:cubicBezTo>
                    <a:pt x="23856" y="26214"/>
                    <a:pt x="27962" y="22215"/>
                    <a:pt x="28028" y="17214"/>
                  </a:cubicBezTo>
                  <a:cubicBezTo>
                    <a:pt x="28031" y="17015"/>
                    <a:pt x="28026" y="16815"/>
                    <a:pt x="28015" y="16615"/>
                  </a:cubicBezTo>
                  <a:cubicBezTo>
                    <a:pt x="28281" y="11623"/>
                    <a:pt x="24447" y="7360"/>
                    <a:pt x="19455" y="7096"/>
                  </a:cubicBezTo>
                  <a:cubicBezTo>
                    <a:pt x="19255" y="7086"/>
                    <a:pt x="19055" y="7080"/>
                    <a:pt x="18856" y="7083"/>
                  </a:cubicBezTo>
                  <a:cubicBezTo>
                    <a:pt x="13871" y="7001"/>
                    <a:pt x="9765" y="10976"/>
                    <a:pt x="9683" y="15960"/>
                  </a:cubicBezTo>
                  <a:cubicBezTo>
                    <a:pt x="9680" y="16179"/>
                    <a:pt x="9683" y="16397"/>
                    <a:pt x="9696" y="16615"/>
                  </a:cubicBezTo>
                  <a:cubicBezTo>
                    <a:pt x="9417" y="21592"/>
                    <a:pt x="13224" y="25855"/>
                    <a:pt x="18200" y="26134"/>
                  </a:cubicBezTo>
                  <a:cubicBezTo>
                    <a:pt x="18419" y="26147"/>
                    <a:pt x="18637" y="26150"/>
                    <a:pt x="18856" y="2614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49" name="Freeform: Shape 248">
              <a:extLst>
                <a:ext uri="{FF2B5EF4-FFF2-40B4-BE49-F238E27FC236}">
                  <a16:creationId xmlns:a16="http://schemas.microsoft.com/office/drawing/2014/main" id="{8EB5B13E-B93F-4CDA-AE43-FBD8AE126B5C}"/>
                </a:ext>
              </a:extLst>
            </p:cNvPr>
            <p:cNvSpPr/>
            <p:nvPr/>
          </p:nvSpPr>
          <p:spPr>
            <a:xfrm>
              <a:off x="11719549" y="6750860"/>
              <a:ext cx="19630" cy="26558"/>
            </a:xfrm>
            <a:custGeom>
              <a:avLst/>
              <a:gdLst>
                <a:gd name="connsiteX0" fmla="*/ 994 w 34784"/>
                <a:gd name="connsiteY0" fmla="*/ 44632 h 47062"/>
                <a:gd name="connsiteX1" fmla="*/ 994 w 34784"/>
                <a:gd name="connsiteY1" fmla="*/ 2270 h 47062"/>
                <a:gd name="connsiteX2" fmla="*/ 2711 w 34784"/>
                <a:gd name="connsiteY2" fmla="*/ 270 h 47062"/>
                <a:gd name="connsiteX3" fmla="*/ 3018 w 34784"/>
                <a:gd name="connsiteY3" fmla="*/ 273 h 47062"/>
                <a:gd name="connsiteX4" fmla="*/ 5015 w 34784"/>
                <a:gd name="connsiteY4" fmla="*/ 273 h 47062"/>
                <a:gd name="connsiteX5" fmla="*/ 7278 w 34784"/>
                <a:gd name="connsiteY5" fmla="*/ 1897 h 47062"/>
                <a:gd name="connsiteX6" fmla="*/ 9594 w 34784"/>
                <a:gd name="connsiteY6" fmla="*/ 2589 h 47062"/>
                <a:gd name="connsiteX7" fmla="*/ 19206 w 34784"/>
                <a:gd name="connsiteY7" fmla="*/ -339 h 47062"/>
                <a:gd name="connsiteX8" fmla="*/ 35771 w 34784"/>
                <a:gd name="connsiteY8" fmla="*/ 16060 h 47062"/>
                <a:gd name="connsiteX9" fmla="*/ 35768 w 34784"/>
                <a:gd name="connsiteY9" fmla="*/ 16462 h 47062"/>
                <a:gd name="connsiteX10" fmla="*/ 19558 w 34784"/>
                <a:gd name="connsiteY10" fmla="*/ 33524 h 47062"/>
                <a:gd name="connsiteX11" fmla="*/ 19073 w 34784"/>
                <a:gd name="connsiteY11" fmla="*/ 33529 h 47062"/>
                <a:gd name="connsiteX12" fmla="*/ 11085 w 34784"/>
                <a:gd name="connsiteY12" fmla="*/ 31585 h 47062"/>
                <a:gd name="connsiteX13" fmla="*/ 9009 w 34784"/>
                <a:gd name="connsiteY13" fmla="*/ 32597 h 47062"/>
                <a:gd name="connsiteX14" fmla="*/ 9009 w 34784"/>
                <a:gd name="connsiteY14" fmla="*/ 44712 h 47062"/>
                <a:gd name="connsiteX15" fmla="*/ 7347 w 34784"/>
                <a:gd name="connsiteY15" fmla="*/ 46709 h 47062"/>
                <a:gd name="connsiteX16" fmla="*/ 7012 w 34784"/>
                <a:gd name="connsiteY16" fmla="*/ 46709 h 47062"/>
                <a:gd name="connsiteX17" fmla="*/ 3124 w 34784"/>
                <a:gd name="connsiteY17" fmla="*/ 46709 h 47062"/>
                <a:gd name="connsiteX18" fmla="*/ 1103 w 34784"/>
                <a:gd name="connsiteY18" fmla="*/ 45018 h 47062"/>
                <a:gd name="connsiteX19" fmla="*/ 1101 w 34784"/>
                <a:gd name="connsiteY19" fmla="*/ 44712 h 47062"/>
                <a:gd name="connsiteX20" fmla="*/ 10340 w 34784"/>
                <a:gd name="connsiteY20" fmla="*/ 22106 h 47062"/>
                <a:gd name="connsiteX21" fmla="*/ 18328 w 34784"/>
                <a:gd name="connsiteY21" fmla="*/ 26127 h 47062"/>
                <a:gd name="connsiteX22" fmla="*/ 27064 w 34784"/>
                <a:gd name="connsiteY22" fmla="*/ 16512 h 47062"/>
                <a:gd name="connsiteX23" fmla="*/ 27061 w 34784"/>
                <a:gd name="connsiteY23" fmla="*/ 16462 h 47062"/>
                <a:gd name="connsiteX24" fmla="*/ 18328 w 34784"/>
                <a:gd name="connsiteY24" fmla="*/ 7063 h 47062"/>
                <a:gd name="connsiteX25" fmla="*/ 10340 w 34784"/>
                <a:gd name="connsiteY25" fmla="*/ 11057 h 47062"/>
                <a:gd name="connsiteX26" fmla="*/ 9781 w 34784"/>
                <a:gd name="connsiteY26" fmla="*/ 13213 h 47062"/>
                <a:gd name="connsiteX27" fmla="*/ 9781 w 34784"/>
                <a:gd name="connsiteY27" fmla="*/ 19976 h 47062"/>
                <a:gd name="connsiteX28" fmla="*/ 10340 w 34784"/>
                <a:gd name="connsiteY28" fmla="*/ 22106 h 470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</a:cxnLst>
              <a:rect l="l" t="t" r="r" b="b"/>
              <a:pathLst>
                <a:path w="34784" h="47062">
                  <a:moveTo>
                    <a:pt x="994" y="44632"/>
                  </a:moveTo>
                  <a:lnTo>
                    <a:pt x="994" y="2270"/>
                  </a:lnTo>
                  <a:cubicBezTo>
                    <a:pt x="917" y="1245"/>
                    <a:pt x="1686" y="348"/>
                    <a:pt x="2711" y="270"/>
                  </a:cubicBezTo>
                  <a:cubicBezTo>
                    <a:pt x="2813" y="262"/>
                    <a:pt x="2917" y="265"/>
                    <a:pt x="3018" y="273"/>
                  </a:cubicBezTo>
                  <a:lnTo>
                    <a:pt x="5015" y="273"/>
                  </a:lnTo>
                  <a:cubicBezTo>
                    <a:pt x="6064" y="190"/>
                    <a:pt x="7022" y="875"/>
                    <a:pt x="7278" y="1897"/>
                  </a:cubicBezTo>
                  <a:cubicBezTo>
                    <a:pt x="7597" y="3228"/>
                    <a:pt x="8529" y="3415"/>
                    <a:pt x="9594" y="2589"/>
                  </a:cubicBezTo>
                  <a:cubicBezTo>
                    <a:pt x="12393" y="592"/>
                    <a:pt x="15769" y="-435"/>
                    <a:pt x="19206" y="-339"/>
                  </a:cubicBezTo>
                  <a:cubicBezTo>
                    <a:pt x="28310" y="-385"/>
                    <a:pt x="35725" y="6956"/>
                    <a:pt x="35771" y="16060"/>
                  </a:cubicBezTo>
                  <a:cubicBezTo>
                    <a:pt x="35771" y="16193"/>
                    <a:pt x="35771" y="16329"/>
                    <a:pt x="35768" y="16462"/>
                  </a:cubicBezTo>
                  <a:cubicBezTo>
                    <a:pt x="36002" y="25650"/>
                    <a:pt x="28747" y="33289"/>
                    <a:pt x="19558" y="33524"/>
                  </a:cubicBezTo>
                  <a:cubicBezTo>
                    <a:pt x="19395" y="33529"/>
                    <a:pt x="19236" y="33529"/>
                    <a:pt x="19073" y="33529"/>
                  </a:cubicBezTo>
                  <a:cubicBezTo>
                    <a:pt x="16288" y="33580"/>
                    <a:pt x="13538" y="32909"/>
                    <a:pt x="11085" y="31585"/>
                  </a:cubicBezTo>
                  <a:cubicBezTo>
                    <a:pt x="9834" y="30840"/>
                    <a:pt x="9009" y="31213"/>
                    <a:pt x="9009" y="32597"/>
                  </a:cubicBezTo>
                  <a:lnTo>
                    <a:pt x="9009" y="44712"/>
                  </a:lnTo>
                  <a:cubicBezTo>
                    <a:pt x="9102" y="45721"/>
                    <a:pt x="8356" y="46616"/>
                    <a:pt x="7347" y="46709"/>
                  </a:cubicBezTo>
                  <a:cubicBezTo>
                    <a:pt x="7235" y="46720"/>
                    <a:pt x="7123" y="46720"/>
                    <a:pt x="7012" y="46709"/>
                  </a:cubicBezTo>
                  <a:lnTo>
                    <a:pt x="3124" y="46709"/>
                  </a:lnTo>
                  <a:cubicBezTo>
                    <a:pt x="2099" y="46799"/>
                    <a:pt x="1194" y="46043"/>
                    <a:pt x="1103" y="45018"/>
                  </a:cubicBezTo>
                  <a:cubicBezTo>
                    <a:pt x="1093" y="44917"/>
                    <a:pt x="1093" y="44813"/>
                    <a:pt x="1101" y="44712"/>
                  </a:cubicBezTo>
                  <a:moveTo>
                    <a:pt x="10340" y="22106"/>
                  </a:moveTo>
                  <a:cubicBezTo>
                    <a:pt x="12148" y="24716"/>
                    <a:pt x="15154" y="26231"/>
                    <a:pt x="18328" y="26127"/>
                  </a:cubicBezTo>
                  <a:cubicBezTo>
                    <a:pt x="23395" y="25885"/>
                    <a:pt x="27306" y="21579"/>
                    <a:pt x="27064" y="16512"/>
                  </a:cubicBezTo>
                  <a:cubicBezTo>
                    <a:pt x="27064" y="16496"/>
                    <a:pt x="27061" y="16478"/>
                    <a:pt x="27061" y="16462"/>
                  </a:cubicBezTo>
                  <a:cubicBezTo>
                    <a:pt x="27210" y="11467"/>
                    <a:pt x="23320" y="7278"/>
                    <a:pt x="18328" y="7063"/>
                  </a:cubicBezTo>
                  <a:cubicBezTo>
                    <a:pt x="15165" y="6972"/>
                    <a:pt x="12166" y="8471"/>
                    <a:pt x="10340" y="11057"/>
                  </a:cubicBezTo>
                  <a:cubicBezTo>
                    <a:pt x="9924" y="11696"/>
                    <a:pt x="9727" y="12452"/>
                    <a:pt x="9781" y="13213"/>
                  </a:cubicBezTo>
                  <a:lnTo>
                    <a:pt x="9781" y="19976"/>
                  </a:lnTo>
                  <a:cubicBezTo>
                    <a:pt x="9746" y="20727"/>
                    <a:pt x="9941" y="21470"/>
                    <a:pt x="10340" y="2210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0" name="Freeform: Shape 249">
              <a:extLst>
                <a:ext uri="{FF2B5EF4-FFF2-40B4-BE49-F238E27FC236}">
                  <a16:creationId xmlns:a16="http://schemas.microsoft.com/office/drawing/2014/main" id="{88D06C89-3215-4536-9D25-B64C0E2F649F}"/>
                </a:ext>
              </a:extLst>
            </p:cNvPr>
            <p:cNvSpPr/>
            <p:nvPr/>
          </p:nvSpPr>
          <p:spPr>
            <a:xfrm>
              <a:off x="11741806" y="6750833"/>
              <a:ext cx="20150" cy="19139"/>
            </a:xfrm>
            <a:custGeom>
              <a:avLst/>
              <a:gdLst>
                <a:gd name="connsiteX0" fmla="*/ 18882 w 35707"/>
                <a:gd name="connsiteY0" fmla="*/ -346 h 33914"/>
                <a:gd name="connsiteX1" fmla="*/ 36695 w 35707"/>
                <a:gd name="connsiteY1" fmla="*/ 16349 h 33914"/>
                <a:gd name="connsiteX2" fmla="*/ 19833 w 35707"/>
                <a:gd name="connsiteY2" fmla="*/ 33565 h 33914"/>
                <a:gd name="connsiteX3" fmla="*/ 18882 w 35707"/>
                <a:gd name="connsiteY3" fmla="*/ 33550 h 33914"/>
                <a:gd name="connsiteX4" fmla="*/ 1008 w 35707"/>
                <a:gd name="connsiteY4" fmla="*/ 17273 h 33914"/>
                <a:gd name="connsiteX5" fmla="*/ 989 w 35707"/>
                <a:gd name="connsiteY5" fmla="*/ 16349 h 33914"/>
                <a:gd name="connsiteX6" fmla="*/ 18882 w 35707"/>
                <a:gd name="connsiteY6" fmla="*/ -346 h 33914"/>
                <a:gd name="connsiteX7" fmla="*/ 18882 w 35707"/>
                <a:gd name="connsiteY7" fmla="*/ 26147 h 33914"/>
                <a:gd name="connsiteX8" fmla="*/ 28052 w 35707"/>
                <a:gd name="connsiteY8" fmla="*/ 17158 h 33914"/>
                <a:gd name="connsiteX9" fmla="*/ 28041 w 35707"/>
                <a:gd name="connsiteY9" fmla="*/ 16615 h 33914"/>
                <a:gd name="connsiteX10" fmla="*/ 19425 w 35707"/>
                <a:gd name="connsiteY10" fmla="*/ 7094 h 33914"/>
                <a:gd name="connsiteX11" fmla="*/ 18882 w 35707"/>
                <a:gd name="connsiteY11" fmla="*/ 7083 h 33914"/>
                <a:gd name="connsiteX12" fmla="*/ 9709 w 35707"/>
                <a:gd name="connsiteY12" fmla="*/ 15960 h 33914"/>
                <a:gd name="connsiteX13" fmla="*/ 9723 w 35707"/>
                <a:gd name="connsiteY13" fmla="*/ 16615 h 33914"/>
                <a:gd name="connsiteX14" fmla="*/ 18227 w 35707"/>
                <a:gd name="connsiteY14" fmla="*/ 26134 h 33914"/>
                <a:gd name="connsiteX15" fmla="*/ 18882 w 35707"/>
                <a:gd name="connsiteY15" fmla="*/ 26147 h 339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35707" h="33914">
                  <a:moveTo>
                    <a:pt x="18882" y="-346"/>
                  </a:moveTo>
                  <a:cubicBezTo>
                    <a:pt x="29346" y="-346"/>
                    <a:pt x="36695" y="7003"/>
                    <a:pt x="36695" y="16349"/>
                  </a:cubicBezTo>
                  <a:cubicBezTo>
                    <a:pt x="36793" y="25759"/>
                    <a:pt x="29242" y="33467"/>
                    <a:pt x="19833" y="33565"/>
                  </a:cubicBezTo>
                  <a:cubicBezTo>
                    <a:pt x="19516" y="33568"/>
                    <a:pt x="19199" y="33563"/>
                    <a:pt x="18882" y="33550"/>
                  </a:cubicBezTo>
                  <a:cubicBezTo>
                    <a:pt x="9451" y="33991"/>
                    <a:pt x="1450" y="26704"/>
                    <a:pt x="1008" y="17273"/>
                  </a:cubicBezTo>
                  <a:cubicBezTo>
                    <a:pt x="992" y="16967"/>
                    <a:pt x="987" y="16658"/>
                    <a:pt x="989" y="16349"/>
                  </a:cubicBezTo>
                  <a:cubicBezTo>
                    <a:pt x="989" y="7003"/>
                    <a:pt x="8391" y="-346"/>
                    <a:pt x="18882" y="-346"/>
                  </a:cubicBezTo>
                  <a:moveTo>
                    <a:pt x="18882" y="26147"/>
                  </a:moveTo>
                  <a:cubicBezTo>
                    <a:pt x="23896" y="26198"/>
                    <a:pt x="28002" y="22175"/>
                    <a:pt x="28052" y="17158"/>
                  </a:cubicBezTo>
                  <a:cubicBezTo>
                    <a:pt x="28055" y="16977"/>
                    <a:pt x="28049" y="16796"/>
                    <a:pt x="28041" y="16615"/>
                  </a:cubicBezTo>
                  <a:cubicBezTo>
                    <a:pt x="28292" y="11607"/>
                    <a:pt x="24434" y="7344"/>
                    <a:pt x="19425" y="7094"/>
                  </a:cubicBezTo>
                  <a:cubicBezTo>
                    <a:pt x="19244" y="7086"/>
                    <a:pt x="19063" y="7080"/>
                    <a:pt x="18882" y="7083"/>
                  </a:cubicBezTo>
                  <a:cubicBezTo>
                    <a:pt x="13898" y="7001"/>
                    <a:pt x="9792" y="10976"/>
                    <a:pt x="9709" y="15960"/>
                  </a:cubicBezTo>
                  <a:cubicBezTo>
                    <a:pt x="9707" y="16179"/>
                    <a:pt x="9709" y="16397"/>
                    <a:pt x="9723" y="16615"/>
                  </a:cubicBezTo>
                  <a:cubicBezTo>
                    <a:pt x="9443" y="21592"/>
                    <a:pt x="13251" y="25855"/>
                    <a:pt x="18227" y="26134"/>
                  </a:cubicBezTo>
                  <a:cubicBezTo>
                    <a:pt x="18445" y="26147"/>
                    <a:pt x="18664" y="26150"/>
                    <a:pt x="18882" y="26147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1" name="Freeform: Shape 250">
              <a:extLst>
                <a:ext uri="{FF2B5EF4-FFF2-40B4-BE49-F238E27FC236}">
                  <a16:creationId xmlns:a16="http://schemas.microsoft.com/office/drawing/2014/main" id="{6657FD92-8E11-4CCF-B833-0CB577250E05}"/>
                </a:ext>
              </a:extLst>
            </p:cNvPr>
            <p:cNvSpPr/>
            <p:nvPr/>
          </p:nvSpPr>
          <p:spPr>
            <a:xfrm>
              <a:off x="11764305" y="6750833"/>
              <a:ext cx="16853" cy="19128"/>
            </a:xfrm>
            <a:custGeom>
              <a:avLst/>
              <a:gdLst>
                <a:gd name="connsiteX0" fmla="*/ 16288 w 29863"/>
                <a:gd name="connsiteY0" fmla="*/ -346 h 33895"/>
                <a:gd name="connsiteX1" fmla="*/ 30266 w 29863"/>
                <a:gd name="connsiteY1" fmla="*/ 9400 h 33895"/>
                <a:gd name="connsiteX2" fmla="*/ 28376 w 29863"/>
                <a:gd name="connsiteY2" fmla="*/ 11476 h 33895"/>
                <a:gd name="connsiteX3" fmla="*/ 24275 w 29863"/>
                <a:gd name="connsiteY3" fmla="*/ 11476 h 33895"/>
                <a:gd name="connsiteX4" fmla="*/ 22065 w 29863"/>
                <a:gd name="connsiteY4" fmla="*/ 9719 h 33895"/>
                <a:gd name="connsiteX5" fmla="*/ 16048 w 29863"/>
                <a:gd name="connsiteY5" fmla="*/ 6444 h 33895"/>
                <a:gd name="connsiteX6" fmla="*/ 10723 w 29863"/>
                <a:gd name="connsiteY6" fmla="*/ 9266 h 33895"/>
                <a:gd name="connsiteX7" fmla="*/ 30852 w 29863"/>
                <a:gd name="connsiteY7" fmla="*/ 23591 h 33895"/>
                <a:gd name="connsiteX8" fmla="*/ 16687 w 29863"/>
                <a:gd name="connsiteY8" fmla="*/ 33550 h 33895"/>
                <a:gd name="connsiteX9" fmla="*/ 1058 w 29863"/>
                <a:gd name="connsiteY9" fmla="*/ 23511 h 33895"/>
                <a:gd name="connsiteX10" fmla="*/ 2868 w 29863"/>
                <a:gd name="connsiteY10" fmla="*/ 21381 h 33895"/>
                <a:gd name="connsiteX11" fmla="*/ 7128 w 29863"/>
                <a:gd name="connsiteY11" fmla="*/ 21381 h 33895"/>
                <a:gd name="connsiteX12" fmla="*/ 9338 w 29863"/>
                <a:gd name="connsiteY12" fmla="*/ 23006 h 33895"/>
                <a:gd name="connsiteX13" fmla="*/ 16873 w 29863"/>
                <a:gd name="connsiteY13" fmla="*/ 26786 h 33895"/>
                <a:gd name="connsiteX14" fmla="*/ 22385 w 29863"/>
                <a:gd name="connsiteY14" fmla="*/ 23645 h 33895"/>
                <a:gd name="connsiteX15" fmla="*/ 2256 w 29863"/>
                <a:gd name="connsiteY15" fmla="*/ 9453 h 33895"/>
                <a:gd name="connsiteX16" fmla="*/ 16128 w 29863"/>
                <a:gd name="connsiteY16" fmla="*/ -346 h 338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9863" h="33895">
                  <a:moveTo>
                    <a:pt x="16288" y="-346"/>
                  </a:moveTo>
                  <a:cubicBezTo>
                    <a:pt x="24275" y="-346"/>
                    <a:pt x="28962" y="3622"/>
                    <a:pt x="30266" y="9400"/>
                  </a:cubicBezTo>
                  <a:cubicBezTo>
                    <a:pt x="30586" y="10704"/>
                    <a:pt x="29760" y="11476"/>
                    <a:pt x="28376" y="11476"/>
                  </a:cubicBezTo>
                  <a:lnTo>
                    <a:pt x="24275" y="11476"/>
                  </a:lnTo>
                  <a:cubicBezTo>
                    <a:pt x="23077" y="11476"/>
                    <a:pt x="22518" y="10837"/>
                    <a:pt x="22065" y="9719"/>
                  </a:cubicBezTo>
                  <a:cubicBezTo>
                    <a:pt x="21320" y="7642"/>
                    <a:pt x="19403" y="6444"/>
                    <a:pt x="16048" y="6444"/>
                  </a:cubicBezTo>
                  <a:cubicBezTo>
                    <a:pt x="12693" y="6444"/>
                    <a:pt x="10723" y="7562"/>
                    <a:pt x="10723" y="9266"/>
                  </a:cubicBezTo>
                  <a:cubicBezTo>
                    <a:pt x="10723" y="15364"/>
                    <a:pt x="30852" y="10971"/>
                    <a:pt x="30852" y="23591"/>
                  </a:cubicBezTo>
                  <a:cubicBezTo>
                    <a:pt x="30852" y="29982"/>
                    <a:pt x="25021" y="33550"/>
                    <a:pt x="16687" y="33550"/>
                  </a:cubicBezTo>
                  <a:cubicBezTo>
                    <a:pt x="8353" y="33550"/>
                    <a:pt x="2362" y="29928"/>
                    <a:pt x="1058" y="23511"/>
                  </a:cubicBezTo>
                  <a:cubicBezTo>
                    <a:pt x="738" y="22127"/>
                    <a:pt x="1563" y="21381"/>
                    <a:pt x="2868" y="21381"/>
                  </a:cubicBezTo>
                  <a:lnTo>
                    <a:pt x="7128" y="21381"/>
                  </a:lnTo>
                  <a:cubicBezTo>
                    <a:pt x="8153" y="21344"/>
                    <a:pt x="9067" y="22018"/>
                    <a:pt x="9338" y="23006"/>
                  </a:cubicBezTo>
                  <a:cubicBezTo>
                    <a:pt x="10853" y="25673"/>
                    <a:pt x="13827" y="27165"/>
                    <a:pt x="16873" y="26786"/>
                  </a:cubicBezTo>
                  <a:cubicBezTo>
                    <a:pt x="20255" y="26786"/>
                    <a:pt x="22385" y="25721"/>
                    <a:pt x="22385" y="23645"/>
                  </a:cubicBezTo>
                  <a:cubicBezTo>
                    <a:pt x="22385" y="17494"/>
                    <a:pt x="2256" y="22127"/>
                    <a:pt x="2256" y="9453"/>
                  </a:cubicBezTo>
                  <a:cubicBezTo>
                    <a:pt x="2256" y="3808"/>
                    <a:pt x="7075" y="-346"/>
                    <a:pt x="16128" y="-346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2" name="Freeform: Shape 251">
              <a:extLst>
                <a:ext uri="{FF2B5EF4-FFF2-40B4-BE49-F238E27FC236}">
                  <a16:creationId xmlns:a16="http://schemas.microsoft.com/office/drawing/2014/main" id="{57F2DFD0-5700-46B3-A274-136FDC130C8A}"/>
                </a:ext>
              </a:extLst>
            </p:cNvPr>
            <p:cNvSpPr/>
            <p:nvPr/>
          </p:nvSpPr>
          <p:spPr>
            <a:xfrm>
              <a:off x="11784416" y="6742209"/>
              <a:ext cx="6552" cy="27380"/>
            </a:xfrm>
            <a:custGeom>
              <a:avLst/>
              <a:gdLst>
                <a:gd name="connsiteX0" fmla="*/ 1098 w 11611"/>
                <a:gd name="connsiteY0" fmla="*/ 5352 h 48518"/>
                <a:gd name="connsiteX1" fmla="*/ 6796 w 11611"/>
                <a:gd name="connsiteY1" fmla="*/ -346 h 48518"/>
                <a:gd name="connsiteX2" fmla="*/ 6876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1098" y="5352"/>
                  </a:moveTo>
                  <a:cubicBezTo>
                    <a:pt x="1098" y="2205"/>
                    <a:pt x="3649" y="-346"/>
                    <a:pt x="6796" y="-346"/>
                  </a:cubicBezTo>
                  <a:cubicBezTo>
                    <a:pt x="6823" y="-346"/>
                    <a:pt x="6849" y="-346"/>
                    <a:pt x="6876" y="-346"/>
                  </a:cubicBezTo>
                  <a:cubicBezTo>
                    <a:pt x="10004" y="-290"/>
                    <a:pt x="12529" y="222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6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3" name="Freeform: Shape 252">
              <a:extLst>
                <a:ext uri="{FF2B5EF4-FFF2-40B4-BE49-F238E27FC236}">
                  <a16:creationId xmlns:a16="http://schemas.microsoft.com/office/drawing/2014/main" id="{4B23D51E-11B9-4298-AE92-BDB221D51BDD}"/>
                </a:ext>
              </a:extLst>
            </p:cNvPr>
            <p:cNvSpPr/>
            <p:nvPr/>
          </p:nvSpPr>
          <p:spPr>
            <a:xfrm>
              <a:off x="11793381" y="6746197"/>
              <a:ext cx="13675" cy="23794"/>
            </a:xfrm>
            <a:custGeom>
              <a:avLst/>
              <a:gdLst>
                <a:gd name="connsiteX0" fmla="*/ 1029 w 24233"/>
                <a:gd name="connsiteY0" fmla="*/ 13782 h 42164"/>
                <a:gd name="connsiteX1" fmla="*/ 1029 w 24233"/>
                <a:gd name="connsiteY1" fmla="*/ 10533 h 42164"/>
                <a:gd name="connsiteX2" fmla="*/ 2608 w 24233"/>
                <a:gd name="connsiteY2" fmla="*/ 8518 h 42164"/>
                <a:gd name="connsiteX3" fmla="*/ 2972 w 24233"/>
                <a:gd name="connsiteY3" fmla="*/ 8510 h 42164"/>
                <a:gd name="connsiteX4" fmla="*/ 5049 w 24233"/>
                <a:gd name="connsiteY4" fmla="*/ 8510 h 42164"/>
                <a:gd name="connsiteX5" fmla="*/ 5741 w 24233"/>
                <a:gd name="connsiteY5" fmla="*/ 7817 h 42164"/>
                <a:gd name="connsiteX6" fmla="*/ 5741 w 24233"/>
                <a:gd name="connsiteY6" fmla="*/ 3105 h 42164"/>
                <a:gd name="connsiteX7" fmla="*/ 7419 w 24233"/>
                <a:gd name="connsiteY7" fmla="*/ 921 h 42164"/>
                <a:gd name="connsiteX8" fmla="*/ 11892 w 24233"/>
                <a:gd name="connsiteY8" fmla="*/ -224 h 42164"/>
                <a:gd name="connsiteX9" fmla="*/ 14043 w 24233"/>
                <a:gd name="connsiteY9" fmla="*/ 684 h 42164"/>
                <a:gd name="connsiteX10" fmla="*/ 14155 w 24233"/>
                <a:gd name="connsiteY10" fmla="*/ 1480 h 42164"/>
                <a:gd name="connsiteX11" fmla="*/ 14155 w 24233"/>
                <a:gd name="connsiteY11" fmla="*/ 7871 h 42164"/>
                <a:gd name="connsiteX12" fmla="*/ 14794 w 24233"/>
                <a:gd name="connsiteY12" fmla="*/ 8563 h 42164"/>
                <a:gd name="connsiteX13" fmla="*/ 14848 w 24233"/>
                <a:gd name="connsiteY13" fmla="*/ 8563 h 42164"/>
                <a:gd name="connsiteX14" fmla="*/ 22835 w 24233"/>
                <a:gd name="connsiteY14" fmla="*/ 8563 h 42164"/>
                <a:gd name="connsiteX15" fmla="*/ 24859 w 24233"/>
                <a:gd name="connsiteY15" fmla="*/ 10251 h 42164"/>
                <a:gd name="connsiteX16" fmla="*/ 24859 w 24233"/>
                <a:gd name="connsiteY16" fmla="*/ 10587 h 42164"/>
                <a:gd name="connsiteX17" fmla="*/ 24859 w 24233"/>
                <a:gd name="connsiteY17" fmla="*/ 13888 h 42164"/>
                <a:gd name="connsiteX18" fmla="*/ 23171 w 24233"/>
                <a:gd name="connsiteY18" fmla="*/ 15912 h 42164"/>
                <a:gd name="connsiteX19" fmla="*/ 22835 w 24233"/>
                <a:gd name="connsiteY19" fmla="*/ 15912 h 42164"/>
                <a:gd name="connsiteX20" fmla="*/ 14848 w 24233"/>
                <a:gd name="connsiteY20" fmla="*/ 15912 h 42164"/>
                <a:gd name="connsiteX21" fmla="*/ 14150 w 24233"/>
                <a:gd name="connsiteY21" fmla="*/ 16545 h 42164"/>
                <a:gd name="connsiteX22" fmla="*/ 14155 w 24233"/>
                <a:gd name="connsiteY22" fmla="*/ 16657 h 42164"/>
                <a:gd name="connsiteX23" fmla="*/ 14155 w 24233"/>
                <a:gd name="connsiteY23" fmla="*/ 30157 h 42164"/>
                <a:gd name="connsiteX24" fmla="*/ 17590 w 24233"/>
                <a:gd name="connsiteY24" fmla="*/ 34177 h 42164"/>
                <a:gd name="connsiteX25" fmla="*/ 22436 w 24233"/>
                <a:gd name="connsiteY25" fmla="*/ 33485 h 42164"/>
                <a:gd name="connsiteX26" fmla="*/ 24683 w 24233"/>
                <a:gd name="connsiteY26" fmla="*/ 34454 h 42164"/>
                <a:gd name="connsiteX27" fmla="*/ 24806 w 24233"/>
                <a:gd name="connsiteY27" fmla="*/ 35109 h 42164"/>
                <a:gd name="connsiteX28" fmla="*/ 25178 w 24233"/>
                <a:gd name="connsiteY28" fmla="*/ 38384 h 42164"/>
                <a:gd name="connsiteX29" fmla="*/ 23639 w 24233"/>
                <a:gd name="connsiteY29" fmla="*/ 40754 h 42164"/>
                <a:gd name="connsiteX30" fmla="*/ 23634 w 24233"/>
                <a:gd name="connsiteY30" fmla="*/ 40754 h 42164"/>
                <a:gd name="connsiteX31" fmla="*/ 15966 w 24233"/>
                <a:gd name="connsiteY31" fmla="*/ 41819 h 42164"/>
                <a:gd name="connsiteX32" fmla="*/ 5315 w 24233"/>
                <a:gd name="connsiteY32" fmla="*/ 30343 h 42164"/>
                <a:gd name="connsiteX33" fmla="*/ 5315 w 24233"/>
                <a:gd name="connsiteY33" fmla="*/ 16657 h 42164"/>
                <a:gd name="connsiteX34" fmla="*/ 4703 w 24233"/>
                <a:gd name="connsiteY34" fmla="*/ 15859 h 42164"/>
                <a:gd name="connsiteX35" fmla="*/ 2946 w 24233"/>
                <a:gd name="connsiteY35" fmla="*/ 15859 h 42164"/>
                <a:gd name="connsiteX36" fmla="*/ 994 w 24233"/>
                <a:gd name="connsiteY36" fmla="*/ 14200 h 42164"/>
                <a:gd name="connsiteX37" fmla="*/ 1002 w 24233"/>
                <a:gd name="connsiteY37" fmla="*/ 13835 h 421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</a:cxnLst>
              <a:rect l="l" t="t" r="r" b="b"/>
              <a:pathLst>
                <a:path w="24233" h="42164">
                  <a:moveTo>
                    <a:pt x="1029" y="13782"/>
                  </a:moveTo>
                  <a:lnTo>
                    <a:pt x="1029" y="10533"/>
                  </a:lnTo>
                  <a:cubicBezTo>
                    <a:pt x="909" y="9540"/>
                    <a:pt x="1614" y="8637"/>
                    <a:pt x="2608" y="8518"/>
                  </a:cubicBezTo>
                  <a:cubicBezTo>
                    <a:pt x="2727" y="8502"/>
                    <a:pt x="2850" y="8499"/>
                    <a:pt x="2972" y="8510"/>
                  </a:cubicBezTo>
                  <a:lnTo>
                    <a:pt x="5049" y="8510"/>
                  </a:lnTo>
                  <a:cubicBezTo>
                    <a:pt x="5432" y="8510"/>
                    <a:pt x="5741" y="8201"/>
                    <a:pt x="5741" y="7817"/>
                  </a:cubicBezTo>
                  <a:lnTo>
                    <a:pt x="5741" y="3105"/>
                  </a:lnTo>
                  <a:cubicBezTo>
                    <a:pt x="5630" y="2045"/>
                    <a:pt x="6367" y="1086"/>
                    <a:pt x="7419" y="921"/>
                  </a:cubicBezTo>
                  <a:lnTo>
                    <a:pt x="11892" y="-224"/>
                  </a:lnTo>
                  <a:cubicBezTo>
                    <a:pt x="12736" y="-567"/>
                    <a:pt x="13700" y="-160"/>
                    <a:pt x="14043" y="684"/>
                  </a:cubicBezTo>
                  <a:cubicBezTo>
                    <a:pt x="14145" y="937"/>
                    <a:pt x="14184" y="1209"/>
                    <a:pt x="14155" y="1480"/>
                  </a:cubicBezTo>
                  <a:lnTo>
                    <a:pt x="14155" y="7871"/>
                  </a:lnTo>
                  <a:cubicBezTo>
                    <a:pt x="14139" y="8238"/>
                    <a:pt x="14427" y="8547"/>
                    <a:pt x="14794" y="8563"/>
                  </a:cubicBezTo>
                  <a:cubicBezTo>
                    <a:pt x="14810" y="8563"/>
                    <a:pt x="14829" y="8563"/>
                    <a:pt x="14848" y="8563"/>
                  </a:cubicBezTo>
                  <a:lnTo>
                    <a:pt x="22835" y="8563"/>
                  </a:lnTo>
                  <a:cubicBezTo>
                    <a:pt x="23861" y="8470"/>
                    <a:pt x="24766" y="9226"/>
                    <a:pt x="24859" y="10251"/>
                  </a:cubicBezTo>
                  <a:cubicBezTo>
                    <a:pt x="24870" y="10363"/>
                    <a:pt x="24870" y="10475"/>
                    <a:pt x="24859" y="10587"/>
                  </a:cubicBezTo>
                  <a:lnTo>
                    <a:pt x="24859" y="13888"/>
                  </a:lnTo>
                  <a:cubicBezTo>
                    <a:pt x="24952" y="14913"/>
                    <a:pt x="24196" y="15819"/>
                    <a:pt x="23171" y="15912"/>
                  </a:cubicBezTo>
                  <a:cubicBezTo>
                    <a:pt x="23059" y="15922"/>
                    <a:pt x="22947" y="15922"/>
                    <a:pt x="22835" y="15912"/>
                  </a:cubicBezTo>
                  <a:lnTo>
                    <a:pt x="14848" y="15912"/>
                  </a:lnTo>
                  <a:cubicBezTo>
                    <a:pt x="14480" y="15893"/>
                    <a:pt x="14169" y="16178"/>
                    <a:pt x="14150" y="16545"/>
                  </a:cubicBezTo>
                  <a:cubicBezTo>
                    <a:pt x="14150" y="16583"/>
                    <a:pt x="14150" y="16620"/>
                    <a:pt x="14155" y="16657"/>
                  </a:cubicBezTo>
                  <a:lnTo>
                    <a:pt x="14155" y="30157"/>
                  </a:lnTo>
                  <a:cubicBezTo>
                    <a:pt x="14155" y="32819"/>
                    <a:pt x="15034" y="34177"/>
                    <a:pt x="17590" y="34177"/>
                  </a:cubicBezTo>
                  <a:cubicBezTo>
                    <a:pt x="19230" y="34175"/>
                    <a:pt x="20860" y="33940"/>
                    <a:pt x="22436" y="33485"/>
                  </a:cubicBezTo>
                  <a:cubicBezTo>
                    <a:pt x="23325" y="33131"/>
                    <a:pt x="24332" y="33565"/>
                    <a:pt x="24683" y="34454"/>
                  </a:cubicBezTo>
                  <a:cubicBezTo>
                    <a:pt x="24766" y="34662"/>
                    <a:pt x="24808" y="34886"/>
                    <a:pt x="24806" y="35109"/>
                  </a:cubicBezTo>
                  <a:lnTo>
                    <a:pt x="25178" y="38384"/>
                  </a:lnTo>
                  <a:cubicBezTo>
                    <a:pt x="25407" y="39463"/>
                    <a:pt x="24718" y="40522"/>
                    <a:pt x="23639" y="40754"/>
                  </a:cubicBezTo>
                  <a:cubicBezTo>
                    <a:pt x="23639" y="40754"/>
                    <a:pt x="23637" y="40754"/>
                    <a:pt x="23634" y="40754"/>
                  </a:cubicBezTo>
                  <a:cubicBezTo>
                    <a:pt x="21139" y="41462"/>
                    <a:pt x="18559" y="41822"/>
                    <a:pt x="15966" y="41819"/>
                  </a:cubicBezTo>
                  <a:cubicBezTo>
                    <a:pt x="10241" y="41819"/>
                    <a:pt x="5315" y="38943"/>
                    <a:pt x="5315" y="30343"/>
                  </a:cubicBezTo>
                  <a:lnTo>
                    <a:pt x="5315" y="16657"/>
                  </a:lnTo>
                  <a:cubicBezTo>
                    <a:pt x="5363" y="16269"/>
                    <a:pt x="5092" y="15914"/>
                    <a:pt x="4703" y="15859"/>
                  </a:cubicBezTo>
                  <a:lnTo>
                    <a:pt x="2946" y="15859"/>
                  </a:lnTo>
                  <a:cubicBezTo>
                    <a:pt x="1950" y="15938"/>
                    <a:pt x="1076" y="15198"/>
                    <a:pt x="994" y="14200"/>
                  </a:cubicBezTo>
                  <a:cubicBezTo>
                    <a:pt x="986" y="14080"/>
                    <a:pt x="986" y="13957"/>
                    <a:pt x="1002" y="13835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4" name="Freeform: Shape 253">
              <a:extLst>
                <a:ext uri="{FF2B5EF4-FFF2-40B4-BE49-F238E27FC236}">
                  <a16:creationId xmlns:a16="http://schemas.microsoft.com/office/drawing/2014/main" id="{168A6792-EEEF-4E98-ABAC-EBB45FF4AD91}"/>
                </a:ext>
              </a:extLst>
            </p:cNvPr>
            <p:cNvSpPr/>
            <p:nvPr/>
          </p:nvSpPr>
          <p:spPr>
            <a:xfrm>
              <a:off x="11809766" y="6742209"/>
              <a:ext cx="6552" cy="27380"/>
            </a:xfrm>
            <a:custGeom>
              <a:avLst/>
              <a:gdLst>
                <a:gd name="connsiteX0" fmla="*/ 991 w 11611"/>
                <a:gd name="connsiteY0" fmla="*/ 5352 h 48518"/>
                <a:gd name="connsiteX1" fmla="*/ 6689 w 11611"/>
                <a:gd name="connsiteY1" fmla="*/ -346 h 48518"/>
                <a:gd name="connsiteX2" fmla="*/ 6769 w 11611"/>
                <a:gd name="connsiteY2" fmla="*/ -346 h 48518"/>
                <a:gd name="connsiteX3" fmla="*/ 12600 w 11611"/>
                <a:gd name="connsiteY3" fmla="*/ 5352 h 48518"/>
                <a:gd name="connsiteX4" fmla="*/ 6769 w 11611"/>
                <a:gd name="connsiteY4" fmla="*/ 11263 h 48518"/>
                <a:gd name="connsiteX5" fmla="*/ 989 w 11611"/>
                <a:gd name="connsiteY5" fmla="*/ 5488 h 48518"/>
                <a:gd name="connsiteX6" fmla="*/ 991 w 11611"/>
                <a:gd name="connsiteY6" fmla="*/ 5352 h 48518"/>
                <a:gd name="connsiteX7" fmla="*/ 10710 w 11611"/>
                <a:gd name="connsiteY7" fmla="*/ 17521 h 48518"/>
                <a:gd name="connsiteX8" fmla="*/ 10710 w 11611"/>
                <a:gd name="connsiteY8" fmla="*/ 46144 h 48518"/>
                <a:gd name="connsiteX9" fmla="*/ 9019 w 11611"/>
                <a:gd name="connsiteY9" fmla="*/ 48165 h 48518"/>
                <a:gd name="connsiteX10" fmla="*/ 8713 w 11611"/>
                <a:gd name="connsiteY10" fmla="*/ 48167 h 48518"/>
                <a:gd name="connsiteX11" fmla="*/ 4000 w 11611"/>
                <a:gd name="connsiteY11" fmla="*/ 48167 h 48518"/>
                <a:gd name="connsiteX12" fmla="*/ 2001 w 11611"/>
                <a:gd name="connsiteY12" fmla="*/ 46450 h 48518"/>
                <a:gd name="connsiteX13" fmla="*/ 2003 w 11611"/>
                <a:gd name="connsiteY13" fmla="*/ 46144 h 48518"/>
                <a:gd name="connsiteX14" fmla="*/ 2003 w 11611"/>
                <a:gd name="connsiteY14" fmla="*/ 17600 h 48518"/>
                <a:gd name="connsiteX15" fmla="*/ 3665 w 11611"/>
                <a:gd name="connsiteY15" fmla="*/ 15603 h 48518"/>
                <a:gd name="connsiteX16" fmla="*/ 4000 w 11611"/>
                <a:gd name="connsiteY16" fmla="*/ 15603 h 48518"/>
                <a:gd name="connsiteX17" fmla="*/ 8713 w 11611"/>
                <a:gd name="connsiteY17" fmla="*/ 15603 h 48518"/>
                <a:gd name="connsiteX18" fmla="*/ 10710 w 11611"/>
                <a:gd name="connsiteY18" fmla="*/ 17265 h 48518"/>
                <a:gd name="connsiteX19" fmla="*/ 10710 w 11611"/>
                <a:gd name="connsiteY19" fmla="*/ 17600 h 485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1611" h="48518">
                  <a:moveTo>
                    <a:pt x="991" y="5352"/>
                  </a:moveTo>
                  <a:cubicBezTo>
                    <a:pt x="991" y="2205"/>
                    <a:pt x="3542" y="-346"/>
                    <a:pt x="6689" y="-346"/>
                  </a:cubicBezTo>
                  <a:cubicBezTo>
                    <a:pt x="6716" y="-346"/>
                    <a:pt x="6743" y="-346"/>
                    <a:pt x="6769" y="-346"/>
                  </a:cubicBezTo>
                  <a:cubicBezTo>
                    <a:pt x="9938" y="-346"/>
                    <a:pt x="12529" y="2184"/>
                    <a:pt x="12600" y="5352"/>
                  </a:cubicBezTo>
                  <a:cubicBezTo>
                    <a:pt x="12600" y="8585"/>
                    <a:pt x="10002" y="11221"/>
                    <a:pt x="6769" y="11263"/>
                  </a:cubicBezTo>
                  <a:cubicBezTo>
                    <a:pt x="3579" y="11263"/>
                    <a:pt x="991" y="8678"/>
                    <a:pt x="989" y="5488"/>
                  </a:cubicBezTo>
                  <a:cubicBezTo>
                    <a:pt x="989" y="5443"/>
                    <a:pt x="991" y="5398"/>
                    <a:pt x="991" y="5352"/>
                  </a:cubicBezTo>
                  <a:moveTo>
                    <a:pt x="10710" y="17521"/>
                  </a:moveTo>
                  <a:lnTo>
                    <a:pt x="10710" y="46144"/>
                  </a:lnTo>
                  <a:cubicBezTo>
                    <a:pt x="10800" y="47169"/>
                    <a:pt x="10044" y="48074"/>
                    <a:pt x="9019" y="48165"/>
                  </a:cubicBezTo>
                  <a:cubicBezTo>
                    <a:pt x="8918" y="48175"/>
                    <a:pt x="8814" y="48175"/>
                    <a:pt x="8713" y="48167"/>
                  </a:cubicBezTo>
                  <a:lnTo>
                    <a:pt x="4000" y="48167"/>
                  </a:lnTo>
                  <a:cubicBezTo>
                    <a:pt x="2975" y="48244"/>
                    <a:pt x="2078" y="47475"/>
                    <a:pt x="2001" y="46450"/>
                  </a:cubicBezTo>
                  <a:cubicBezTo>
                    <a:pt x="1993" y="46349"/>
                    <a:pt x="1995" y="46245"/>
                    <a:pt x="2003" y="46144"/>
                  </a:cubicBezTo>
                  <a:lnTo>
                    <a:pt x="2003" y="17600"/>
                  </a:lnTo>
                  <a:cubicBezTo>
                    <a:pt x="1910" y="16591"/>
                    <a:pt x="2656" y="15697"/>
                    <a:pt x="3665" y="15603"/>
                  </a:cubicBezTo>
                  <a:cubicBezTo>
                    <a:pt x="3777" y="15593"/>
                    <a:pt x="3888" y="15593"/>
                    <a:pt x="4000" y="15603"/>
                  </a:cubicBezTo>
                  <a:lnTo>
                    <a:pt x="8713" y="15603"/>
                  </a:lnTo>
                  <a:cubicBezTo>
                    <a:pt x="9722" y="15510"/>
                    <a:pt x="10617" y="16256"/>
                    <a:pt x="10710" y="17265"/>
                  </a:cubicBezTo>
                  <a:cubicBezTo>
                    <a:pt x="10721" y="17377"/>
                    <a:pt x="10721" y="17489"/>
                    <a:pt x="10710" y="1760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5" name="Freeform: Shape 254">
              <a:extLst>
                <a:ext uri="{FF2B5EF4-FFF2-40B4-BE49-F238E27FC236}">
                  <a16:creationId xmlns:a16="http://schemas.microsoft.com/office/drawing/2014/main" id="{758036A5-8937-4775-B3F1-C2B639AF46A7}"/>
                </a:ext>
              </a:extLst>
            </p:cNvPr>
            <p:cNvSpPr/>
            <p:nvPr/>
          </p:nvSpPr>
          <p:spPr>
            <a:xfrm>
              <a:off x="11818135" y="6751161"/>
              <a:ext cx="19391" cy="18427"/>
            </a:xfrm>
            <a:custGeom>
              <a:avLst/>
              <a:gdLst>
                <a:gd name="connsiteX0" fmla="*/ 3041 w 34361"/>
                <a:gd name="connsiteY0" fmla="*/ -340 h 32653"/>
                <a:gd name="connsiteX1" fmla="*/ 8766 w 34361"/>
                <a:gd name="connsiteY1" fmla="*/ -340 h 32653"/>
                <a:gd name="connsiteX2" fmla="*/ 11029 w 34361"/>
                <a:gd name="connsiteY2" fmla="*/ 1364 h 32653"/>
                <a:gd name="connsiteX3" fmla="*/ 17606 w 34361"/>
                <a:gd name="connsiteY3" fmla="*/ 22665 h 32653"/>
                <a:gd name="connsiteX4" fmla="*/ 19257 w 34361"/>
                <a:gd name="connsiteY4" fmla="*/ 22665 h 32653"/>
                <a:gd name="connsiteX5" fmla="*/ 26020 w 34361"/>
                <a:gd name="connsiteY5" fmla="*/ 1364 h 32653"/>
                <a:gd name="connsiteX6" fmla="*/ 28230 w 34361"/>
                <a:gd name="connsiteY6" fmla="*/ -340 h 32653"/>
                <a:gd name="connsiteX7" fmla="*/ 33555 w 34361"/>
                <a:gd name="connsiteY7" fmla="*/ -340 h 32653"/>
                <a:gd name="connsiteX8" fmla="*/ 35179 w 34361"/>
                <a:gd name="connsiteY8" fmla="*/ 1976 h 32653"/>
                <a:gd name="connsiteX9" fmla="*/ 23623 w 34361"/>
                <a:gd name="connsiteY9" fmla="*/ 30546 h 32653"/>
                <a:gd name="connsiteX10" fmla="*/ 20961 w 34361"/>
                <a:gd name="connsiteY10" fmla="*/ 32304 h 32653"/>
                <a:gd name="connsiteX11" fmla="*/ 15130 w 34361"/>
                <a:gd name="connsiteY11" fmla="*/ 32304 h 32653"/>
                <a:gd name="connsiteX12" fmla="*/ 12467 w 34361"/>
                <a:gd name="connsiteY12" fmla="*/ 30546 h 32653"/>
                <a:gd name="connsiteX13" fmla="*/ 1178 w 34361"/>
                <a:gd name="connsiteY13" fmla="*/ 1923 h 32653"/>
                <a:gd name="connsiteX14" fmla="*/ 2748 w 34361"/>
                <a:gd name="connsiteY14" fmla="*/ -340 h 32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34361" h="32653">
                  <a:moveTo>
                    <a:pt x="3041" y="-340"/>
                  </a:moveTo>
                  <a:lnTo>
                    <a:pt x="8766" y="-340"/>
                  </a:lnTo>
                  <a:cubicBezTo>
                    <a:pt x="9839" y="-417"/>
                    <a:pt x="10806" y="310"/>
                    <a:pt x="11029" y="1364"/>
                  </a:cubicBezTo>
                  <a:lnTo>
                    <a:pt x="17606" y="22665"/>
                  </a:lnTo>
                  <a:cubicBezTo>
                    <a:pt x="18005" y="23757"/>
                    <a:pt x="18884" y="23757"/>
                    <a:pt x="19257" y="22665"/>
                  </a:cubicBezTo>
                  <a:lnTo>
                    <a:pt x="26020" y="1364"/>
                  </a:lnTo>
                  <a:cubicBezTo>
                    <a:pt x="26230" y="326"/>
                    <a:pt x="27173" y="-401"/>
                    <a:pt x="28230" y="-340"/>
                  </a:cubicBezTo>
                  <a:lnTo>
                    <a:pt x="33555" y="-340"/>
                  </a:lnTo>
                  <a:cubicBezTo>
                    <a:pt x="35046" y="-340"/>
                    <a:pt x="35685" y="592"/>
                    <a:pt x="35179" y="1976"/>
                  </a:cubicBezTo>
                  <a:lnTo>
                    <a:pt x="23623" y="30546"/>
                  </a:lnTo>
                  <a:cubicBezTo>
                    <a:pt x="23224" y="31657"/>
                    <a:pt x="22140" y="32373"/>
                    <a:pt x="20961" y="32304"/>
                  </a:cubicBezTo>
                  <a:lnTo>
                    <a:pt x="15130" y="32304"/>
                  </a:lnTo>
                  <a:cubicBezTo>
                    <a:pt x="13950" y="32373"/>
                    <a:pt x="12866" y="31657"/>
                    <a:pt x="12467" y="30546"/>
                  </a:cubicBezTo>
                  <a:lnTo>
                    <a:pt x="1178" y="1923"/>
                  </a:lnTo>
                  <a:cubicBezTo>
                    <a:pt x="672" y="592"/>
                    <a:pt x="1178" y="-340"/>
                    <a:pt x="2748" y="-340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6" name="Freeform: Shape 255">
              <a:extLst>
                <a:ext uri="{FF2B5EF4-FFF2-40B4-BE49-F238E27FC236}">
                  <a16:creationId xmlns:a16="http://schemas.microsoft.com/office/drawing/2014/main" id="{F464DE81-AC7E-4A0A-BC6D-B5CE633BCBA9}"/>
                </a:ext>
              </a:extLst>
            </p:cNvPr>
            <p:cNvSpPr/>
            <p:nvPr/>
          </p:nvSpPr>
          <p:spPr>
            <a:xfrm>
              <a:off x="11839093" y="6750822"/>
              <a:ext cx="18454" cy="19157"/>
            </a:xfrm>
            <a:custGeom>
              <a:avLst/>
              <a:gdLst>
                <a:gd name="connsiteX0" fmla="*/ 17931 w 32701"/>
                <a:gd name="connsiteY0" fmla="*/ -324 h 33946"/>
                <a:gd name="connsiteX1" fmla="*/ 33689 w 32701"/>
                <a:gd name="connsiteY1" fmla="*/ 15867 h 33946"/>
                <a:gd name="connsiteX2" fmla="*/ 33614 w 32701"/>
                <a:gd name="connsiteY2" fmla="*/ 17196 h 33946"/>
                <a:gd name="connsiteX3" fmla="*/ 31809 w 32701"/>
                <a:gd name="connsiteY3" fmla="*/ 19012 h 33946"/>
                <a:gd name="connsiteX4" fmla="*/ 31670 w 32701"/>
                <a:gd name="connsiteY4" fmla="*/ 19006 h 33946"/>
                <a:gd name="connsiteX5" fmla="*/ 11568 w 32701"/>
                <a:gd name="connsiteY5" fmla="*/ 19006 h 33946"/>
                <a:gd name="connsiteX6" fmla="*/ 10130 w 32701"/>
                <a:gd name="connsiteY6" fmla="*/ 20950 h 33946"/>
                <a:gd name="connsiteX7" fmla="*/ 18118 w 32701"/>
                <a:gd name="connsiteY7" fmla="*/ 26488 h 33946"/>
                <a:gd name="connsiteX8" fmla="*/ 24455 w 32701"/>
                <a:gd name="connsiteY8" fmla="*/ 23613 h 33946"/>
                <a:gd name="connsiteX9" fmla="*/ 26771 w 32701"/>
                <a:gd name="connsiteY9" fmla="*/ 22148 h 33946"/>
                <a:gd name="connsiteX10" fmla="*/ 31058 w 32701"/>
                <a:gd name="connsiteY10" fmla="*/ 22148 h 33946"/>
                <a:gd name="connsiteX11" fmla="*/ 32789 w 32701"/>
                <a:gd name="connsiteY11" fmla="*/ 24358 h 33946"/>
                <a:gd name="connsiteX12" fmla="*/ 18118 w 32701"/>
                <a:gd name="connsiteY12" fmla="*/ 33571 h 33946"/>
                <a:gd name="connsiteX13" fmla="*/ 994 w 32701"/>
                <a:gd name="connsiteY13" fmla="*/ 17371 h 33946"/>
                <a:gd name="connsiteX14" fmla="*/ 997 w 32701"/>
                <a:gd name="connsiteY14" fmla="*/ 16370 h 33946"/>
                <a:gd name="connsiteX15" fmla="*/ 16866 w 32701"/>
                <a:gd name="connsiteY15" fmla="*/ -340 h 33946"/>
                <a:gd name="connsiteX16" fmla="*/ 18118 w 32701"/>
                <a:gd name="connsiteY16" fmla="*/ -324 h 33946"/>
                <a:gd name="connsiteX17" fmla="*/ 12020 w 32701"/>
                <a:gd name="connsiteY17" fmla="*/ 13362 h 33946"/>
                <a:gd name="connsiteX18" fmla="*/ 23257 w 32701"/>
                <a:gd name="connsiteY18" fmla="*/ 13362 h 33946"/>
                <a:gd name="connsiteX19" fmla="*/ 24774 w 32701"/>
                <a:gd name="connsiteY19" fmla="*/ 11365 h 33946"/>
                <a:gd name="connsiteX20" fmla="*/ 17984 w 32701"/>
                <a:gd name="connsiteY20" fmla="*/ 6705 h 33946"/>
                <a:gd name="connsiteX21" fmla="*/ 10582 w 32701"/>
                <a:gd name="connsiteY21" fmla="*/ 11285 h 33946"/>
                <a:gd name="connsiteX22" fmla="*/ 12020 w 32701"/>
                <a:gd name="connsiteY22" fmla="*/ 13362 h 339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2701" h="33946">
                  <a:moveTo>
                    <a:pt x="17931" y="-324"/>
                  </a:moveTo>
                  <a:cubicBezTo>
                    <a:pt x="26753" y="-204"/>
                    <a:pt x="33809" y="7046"/>
                    <a:pt x="33689" y="15867"/>
                  </a:cubicBezTo>
                  <a:cubicBezTo>
                    <a:pt x="33681" y="16312"/>
                    <a:pt x="33657" y="16754"/>
                    <a:pt x="33614" y="17196"/>
                  </a:cubicBezTo>
                  <a:cubicBezTo>
                    <a:pt x="33617" y="18197"/>
                    <a:pt x="32807" y="19009"/>
                    <a:pt x="31809" y="19012"/>
                  </a:cubicBezTo>
                  <a:cubicBezTo>
                    <a:pt x="31764" y="19012"/>
                    <a:pt x="31716" y="19009"/>
                    <a:pt x="31670" y="19006"/>
                  </a:cubicBezTo>
                  <a:lnTo>
                    <a:pt x="11568" y="19006"/>
                  </a:lnTo>
                  <a:cubicBezTo>
                    <a:pt x="10369" y="19006"/>
                    <a:pt x="9624" y="19778"/>
                    <a:pt x="10130" y="20950"/>
                  </a:cubicBezTo>
                  <a:cubicBezTo>
                    <a:pt x="11272" y="24361"/>
                    <a:pt x="14523" y="26616"/>
                    <a:pt x="18118" y="26488"/>
                  </a:cubicBezTo>
                  <a:cubicBezTo>
                    <a:pt x="20589" y="26709"/>
                    <a:pt x="22996" y="25618"/>
                    <a:pt x="24455" y="23613"/>
                  </a:cubicBezTo>
                  <a:cubicBezTo>
                    <a:pt x="24897" y="22734"/>
                    <a:pt x="25789" y="22172"/>
                    <a:pt x="26771" y="22148"/>
                  </a:cubicBezTo>
                  <a:lnTo>
                    <a:pt x="31058" y="22148"/>
                  </a:lnTo>
                  <a:cubicBezTo>
                    <a:pt x="32416" y="22148"/>
                    <a:pt x="33295" y="23027"/>
                    <a:pt x="32789" y="24358"/>
                  </a:cubicBezTo>
                  <a:cubicBezTo>
                    <a:pt x="30387" y="30264"/>
                    <a:pt x="24479" y="33973"/>
                    <a:pt x="18118" y="33571"/>
                  </a:cubicBezTo>
                  <a:cubicBezTo>
                    <a:pt x="8916" y="33826"/>
                    <a:pt x="1250" y="26573"/>
                    <a:pt x="994" y="17371"/>
                  </a:cubicBezTo>
                  <a:cubicBezTo>
                    <a:pt x="986" y="17036"/>
                    <a:pt x="986" y="16703"/>
                    <a:pt x="997" y="16370"/>
                  </a:cubicBezTo>
                  <a:cubicBezTo>
                    <a:pt x="765" y="7373"/>
                    <a:pt x="7869" y="-109"/>
                    <a:pt x="16866" y="-340"/>
                  </a:cubicBezTo>
                  <a:cubicBezTo>
                    <a:pt x="17284" y="-351"/>
                    <a:pt x="17700" y="-346"/>
                    <a:pt x="18118" y="-324"/>
                  </a:cubicBezTo>
                  <a:moveTo>
                    <a:pt x="12020" y="13362"/>
                  </a:moveTo>
                  <a:lnTo>
                    <a:pt x="23257" y="13362"/>
                  </a:lnTo>
                  <a:cubicBezTo>
                    <a:pt x="24508" y="13362"/>
                    <a:pt x="25280" y="12616"/>
                    <a:pt x="24774" y="11365"/>
                  </a:cubicBezTo>
                  <a:cubicBezTo>
                    <a:pt x="23707" y="8545"/>
                    <a:pt x="20999" y="6686"/>
                    <a:pt x="17984" y="6705"/>
                  </a:cubicBezTo>
                  <a:cubicBezTo>
                    <a:pt x="14859" y="6737"/>
                    <a:pt x="12007" y="8502"/>
                    <a:pt x="10582" y="11285"/>
                  </a:cubicBezTo>
                  <a:cubicBezTo>
                    <a:pt x="10023" y="12483"/>
                    <a:pt x="10716" y="13362"/>
                    <a:pt x="12020" y="13362"/>
                  </a:cubicBezTo>
                </a:path>
              </a:pathLst>
            </a:custGeom>
            <a:solidFill>
              <a:srgbClr val="8FDB42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7" name="Freeform: Shape 256">
              <a:extLst>
                <a:ext uri="{FF2B5EF4-FFF2-40B4-BE49-F238E27FC236}">
                  <a16:creationId xmlns:a16="http://schemas.microsoft.com/office/drawing/2014/main" id="{96A411E5-C801-4AB5-A640-45055F227504}"/>
                </a:ext>
              </a:extLst>
            </p:cNvPr>
            <p:cNvSpPr/>
            <p:nvPr/>
          </p:nvSpPr>
          <p:spPr>
            <a:xfrm>
              <a:off x="11575064" y="6784526"/>
              <a:ext cx="208318" cy="27505"/>
            </a:xfrm>
            <a:custGeom>
              <a:avLst/>
              <a:gdLst>
                <a:gd name="connsiteX0" fmla="*/ 2220 w 369143"/>
                <a:gd name="connsiteY0" fmla="*/ 48333 h 48740"/>
                <a:gd name="connsiteX1" fmla="*/ 4004 w 369143"/>
                <a:gd name="connsiteY1" fmla="*/ 48333 h 48740"/>
                <a:gd name="connsiteX2" fmla="*/ 5226 w 369143"/>
                <a:gd name="connsiteY2" fmla="*/ 47390 h 48740"/>
                <a:gd name="connsiteX3" fmla="*/ 5229 w 369143"/>
                <a:gd name="connsiteY3" fmla="*/ 47135 h 48740"/>
                <a:gd name="connsiteX4" fmla="*/ 5229 w 369143"/>
                <a:gd name="connsiteY4" fmla="*/ 37043 h 48740"/>
                <a:gd name="connsiteX5" fmla="*/ 7172 w 369143"/>
                <a:gd name="connsiteY5" fmla="*/ 36165 h 48740"/>
                <a:gd name="connsiteX6" fmla="*/ 14202 w 369143"/>
                <a:gd name="connsiteY6" fmla="*/ 38109 h 48740"/>
                <a:gd name="connsiteX7" fmla="*/ 26961 w 369143"/>
                <a:gd name="connsiteY7" fmla="*/ 25096 h 48740"/>
                <a:gd name="connsiteX8" fmla="*/ 26955 w 369143"/>
                <a:gd name="connsiteY8" fmla="*/ 24795 h 48740"/>
                <a:gd name="connsiteX9" fmla="*/ 14444 w 369143"/>
                <a:gd name="connsiteY9" fmla="*/ 11751 h 48740"/>
                <a:gd name="connsiteX10" fmla="*/ 14281 w 369143"/>
                <a:gd name="connsiteY10" fmla="*/ 11749 h 48740"/>
                <a:gd name="connsiteX11" fmla="*/ 6533 w 369143"/>
                <a:gd name="connsiteY11" fmla="*/ 14198 h 48740"/>
                <a:gd name="connsiteX12" fmla="*/ 4403 w 369143"/>
                <a:gd name="connsiteY12" fmla="*/ 13453 h 48740"/>
                <a:gd name="connsiteX13" fmla="*/ 4403 w 369143"/>
                <a:gd name="connsiteY13" fmla="*/ 13453 h 48740"/>
                <a:gd name="connsiteX14" fmla="*/ 3098 w 369143"/>
                <a:gd name="connsiteY14" fmla="*/ 12334 h 48740"/>
                <a:gd name="connsiteX15" fmla="*/ 2220 w 369143"/>
                <a:gd name="connsiteY15" fmla="*/ 12334 h 48740"/>
                <a:gd name="connsiteX16" fmla="*/ 998 w 369143"/>
                <a:gd name="connsiteY16" fmla="*/ 13277 h 48740"/>
                <a:gd name="connsiteX17" fmla="*/ 995 w 369143"/>
                <a:gd name="connsiteY17" fmla="*/ 13533 h 48740"/>
                <a:gd name="connsiteX18" fmla="*/ 995 w 369143"/>
                <a:gd name="connsiteY18" fmla="*/ 47135 h 48740"/>
                <a:gd name="connsiteX19" fmla="*/ 1964 w 369143"/>
                <a:gd name="connsiteY19" fmla="*/ 48336 h 48740"/>
                <a:gd name="connsiteX20" fmla="*/ 2220 w 369143"/>
                <a:gd name="connsiteY20" fmla="*/ 48333 h 48740"/>
                <a:gd name="connsiteX21" fmla="*/ 5575 w 369143"/>
                <a:gd name="connsiteY21" fmla="*/ 27991 h 48740"/>
                <a:gd name="connsiteX22" fmla="*/ 5575 w 369143"/>
                <a:gd name="connsiteY22" fmla="*/ 21920 h 48740"/>
                <a:gd name="connsiteX23" fmla="*/ 6107 w 369143"/>
                <a:gd name="connsiteY23" fmla="*/ 19816 h 48740"/>
                <a:gd name="connsiteX24" fmla="*/ 13749 w 369143"/>
                <a:gd name="connsiteY24" fmla="*/ 15769 h 48740"/>
                <a:gd name="connsiteX25" fmla="*/ 22269 w 369143"/>
                <a:gd name="connsiteY25" fmla="*/ 24875 h 48740"/>
                <a:gd name="connsiteX26" fmla="*/ 13749 w 369143"/>
                <a:gd name="connsiteY26" fmla="*/ 34195 h 48740"/>
                <a:gd name="connsiteX27" fmla="*/ 6107 w 369143"/>
                <a:gd name="connsiteY27" fmla="*/ 30094 h 48740"/>
                <a:gd name="connsiteX28" fmla="*/ 5575 w 369143"/>
                <a:gd name="connsiteY28" fmla="*/ 27991 h 48740"/>
                <a:gd name="connsiteX29" fmla="*/ 36967 w 369143"/>
                <a:gd name="connsiteY29" fmla="*/ -340 h 48740"/>
                <a:gd name="connsiteX30" fmla="*/ 34837 w 369143"/>
                <a:gd name="connsiteY30" fmla="*/ -340 h 48740"/>
                <a:gd name="connsiteX31" fmla="*/ 33612 w 369143"/>
                <a:gd name="connsiteY31" fmla="*/ 662 h 48740"/>
                <a:gd name="connsiteX32" fmla="*/ 33612 w 369143"/>
                <a:gd name="connsiteY32" fmla="*/ 885 h 48740"/>
                <a:gd name="connsiteX33" fmla="*/ 33612 w 369143"/>
                <a:gd name="connsiteY33" fmla="*/ 36431 h 48740"/>
                <a:gd name="connsiteX34" fmla="*/ 34581 w 369143"/>
                <a:gd name="connsiteY34" fmla="*/ 37632 h 48740"/>
                <a:gd name="connsiteX35" fmla="*/ 34837 w 369143"/>
                <a:gd name="connsiteY35" fmla="*/ 37629 h 48740"/>
                <a:gd name="connsiteX36" fmla="*/ 36967 w 369143"/>
                <a:gd name="connsiteY36" fmla="*/ 37629 h 48740"/>
                <a:gd name="connsiteX37" fmla="*/ 38189 w 369143"/>
                <a:gd name="connsiteY37" fmla="*/ 36687 h 48740"/>
                <a:gd name="connsiteX38" fmla="*/ 38192 w 369143"/>
                <a:gd name="connsiteY38" fmla="*/ 36431 h 48740"/>
                <a:gd name="connsiteX39" fmla="*/ 38192 w 369143"/>
                <a:gd name="connsiteY39" fmla="*/ 885 h 48740"/>
                <a:gd name="connsiteX40" fmla="*/ 37191 w 369143"/>
                <a:gd name="connsiteY40" fmla="*/ -340 h 48740"/>
                <a:gd name="connsiteX41" fmla="*/ 36967 w 369143"/>
                <a:gd name="connsiteY41" fmla="*/ -340 h 48740"/>
                <a:gd name="connsiteX42" fmla="*/ 44768 w 369143"/>
                <a:gd name="connsiteY42" fmla="*/ 30680 h 48740"/>
                <a:gd name="connsiteX43" fmla="*/ 52485 w 369143"/>
                <a:gd name="connsiteY43" fmla="*/ 38141 h 48740"/>
                <a:gd name="connsiteX44" fmla="*/ 53049 w 369143"/>
                <a:gd name="connsiteY44" fmla="*/ 38109 h 48740"/>
                <a:gd name="connsiteX45" fmla="*/ 61756 w 369143"/>
                <a:gd name="connsiteY45" fmla="*/ 35446 h 48740"/>
                <a:gd name="connsiteX46" fmla="*/ 63992 w 369143"/>
                <a:gd name="connsiteY46" fmla="*/ 36218 h 48740"/>
                <a:gd name="connsiteX47" fmla="*/ 64152 w 369143"/>
                <a:gd name="connsiteY47" fmla="*/ 36724 h 48740"/>
                <a:gd name="connsiteX48" fmla="*/ 65510 w 369143"/>
                <a:gd name="connsiteY48" fmla="*/ 37736 h 48740"/>
                <a:gd name="connsiteX49" fmla="*/ 66096 w 369143"/>
                <a:gd name="connsiteY49" fmla="*/ 37736 h 48740"/>
                <a:gd name="connsiteX50" fmla="*/ 67294 w 369143"/>
                <a:gd name="connsiteY50" fmla="*/ 36761 h 48740"/>
                <a:gd name="connsiteX51" fmla="*/ 67294 w 369143"/>
                <a:gd name="connsiteY51" fmla="*/ 36538 h 48740"/>
                <a:gd name="connsiteX52" fmla="*/ 67294 w 369143"/>
                <a:gd name="connsiteY52" fmla="*/ 22905 h 48740"/>
                <a:gd name="connsiteX53" fmla="*/ 56644 w 369143"/>
                <a:gd name="connsiteY53" fmla="*/ 11935 h 48740"/>
                <a:gd name="connsiteX54" fmla="*/ 45993 w 369143"/>
                <a:gd name="connsiteY54" fmla="*/ 19497 h 48740"/>
                <a:gd name="connsiteX55" fmla="*/ 46712 w 369143"/>
                <a:gd name="connsiteY55" fmla="*/ 20778 h 48740"/>
                <a:gd name="connsiteX56" fmla="*/ 47165 w 369143"/>
                <a:gd name="connsiteY56" fmla="*/ 20802 h 48740"/>
                <a:gd name="connsiteX57" fmla="*/ 49055 w 369143"/>
                <a:gd name="connsiteY57" fmla="*/ 20802 h 48740"/>
                <a:gd name="connsiteX58" fmla="*/ 50386 w 369143"/>
                <a:gd name="connsiteY58" fmla="*/ 19736 h 48740"/>
                <a:gd name="connsiteX59" fmla="*/ 56510 w 369143"/>
                <a:gd name="connsiteY59" fmla="*/ 15929 h 48740"/>
                <a:gd name="connsiteX60" fmla="*/ 62938 w 369143"/>
                <a:gd name="connsiteY60" fmla="*/ 20791 h 48740"/>
                <a:gd name="connsiteX61" fmla="*/ 62981 w 369143"/>
                <a:gd name="connsiteY61" fmla="*/ 21920 h 48740"/>
                <a:gd name="connsiteX62" fmla="*/ 61277 w 369143"/>
                <a:gd name="connsiteY62" fmla="*/ 23491 h 48740"/>
                <a:gd name="connsiteX63" fmla="*/ 55632 w 369143"/>
                <a:gd name="connsiteY63" fmla="*/ 23491 h 48740"/>
                <a:gd name="connsiteX64" fmla="*/ 44981 w 369143"/>
                <a:gd name="connsiteY64" fmla="*/ 30840 h 48740"/>
                <a:gd name="connsiteX65" fmla="*/ 49561 w 369143"/>
                <a:gd name="connsiteY65" fmla="*/ 30840 h 48740"/>
                <a:gd name="connsiteX66" fmla="*/ 55792 w 369143"/>
                <a:gd name="connsiteY66" fmla="*/ 27325 h 48740"/>
                <a:gd name="connsiteX67" fmla="*/ 61330 w 369143"/>
                <a:gd name="connsiteY67" fmla="*/ 27325 h 48740"/>
                <a:gd name="connsiteX68" fmla="*/ 63034 w 369143"/>
                <a:gd name="connsiteY68" fmla="*/ 28691 h 48740"/>
                <a:gd name="connsiteX69" fmla="*/ 63034 w 369143"/>
                <a:gd name="connsiteY69" fmla="*/ 29029 h 48740"/>
                <a:gd name="connsiteX70" fmla="*/ 63034 w 369143"/>
                <a:gd name="connsiteY70" fmla="*/ 29535 h 48740"/>
                <a:gd name="connsiteX71" fmla="*/ 62022 w 369143"/>
                <a:gd name="connsiteY71" fmla="*/ 31585 h 48740"/>
                <a:gd name="connsiteX72" fmla="*/ 54274 w 369143"/>
                <a:gd name="connsiteY72" fmla="*/ 34248 h 48740"/>
                <a:gd name="connsiteX73" fmla="*/ 49561 w 369143"/>
                <a:gd name="connsiteY73" fmla="*/ 30733 h 48740"/>
                <a:gd name="connsiteX74" fmla="*/ 76826 w 369143"/>
                <a:gd name="connsiteY74" fmla="*/ 37789 h 48740"/>
                <a:gd name="connsiteX75" fmla="*/ 78956 w 369143"/>
                <a:gd name="connsiteY75" fmla="*/ 37789 h 48740"/>
                <a:gd name="connsiteX76" fmla="*/ 80179 w 369143"/>
                <a:gd name="connsiteY76" fmla="*/ 36846 h 48740"/>
                <a:gd name="connsiteX77" fmla="*/ 80181 w 369143"/>
                <a:gd name="connsiteY77" fmla="*/ 36591 h 48740"/>
                <a:gd name="connsiteX78" fmla="*/ 80181 w 369143"/>
                <a:gd name="connsiteY78" fmla="*/ 20988 h 48740"/>
                <a:gd name="connsiteX79" fmla="*/ 81299 w 369143"/>
                <a:gd name="connsiteY79" fmla="*/ 18964 h 48740"/>
                <a:gd name="connsiteX80" fmla="*/ 89580 w 369143"/>
                <a:gd name="connsiteY80" fmla="*/ 16035 h 48740"/>
                <a:gd name="connsiteX81" fmla="*/ 95140 w 369143"/>
                <a:gd name="connsiteY81" fmla="*/ 20658 h 48740"/>
                <a:gd name="connsiteX82" fmla="*/ 95118 w 369143"/>
                <a:gd name="connsiteY82" fmla="*/ 21787 h 48740"/>
                <a:gd name="connsiteX83" fmla="*/ 95118 w 369143"/>
                <a:gd name="connsiteY83" fmla="*/ 36591 h 48740"/>
                <a:gd name="connsiteX84" fmla="*/ 96088 w 369143"/>
                <a:gd name="connsiteY84" fmla="*/ 37792 h 48740"/>
                <a:gd name="connsiteX85" fmla="*/ 96343 w 369143"/>
                <a:gd name="connsiteY85" fmla="*/ 37789 h 48740"/>
                <a:gd name="connsiteX86" fmla="*/ 98473 w 369143"/>
                <a:gd name="connsiteY86" fmla="*/ 37789 h 48740"/>
                <a:gd name="connsiteX87" fmla="*/ 99696 w 369143"/>
                <a:gd name="connsiteY87" fmla="*/ 36846 h 48740"/>
                <a:gd name="connsiteX88" fmla="*/ 99698 w 369143"/>
                <a:gd name="connsiteY88" fmla="*/ 36591 h 48740"/>
                <a:gd name="connsiteX89" fmla="*/ 99698 w 369143"/>
                <a:gd name="connsiteY89" fmla="*/ 21574 h 48740"/>
                <a:gd name="connsiteX90" fmla="*/ 90885 w 369143"/>
                <a:gd name="connsiteY90" fmla="*/ 11988 h 48740"/>
                <a:gd name="connsiteX91" fmla="*/ 81326 w 369143"/>
                <a:gd name="connsiteY91" fmla="*/ 14811 h 48740"/>
                <a:gd name="connsiteX92" fmla="*/ 79143 w 369143"/>
                <a:gd name="connsiteY92" fmla="*/ 13932 h 48740"/>
                <a:gd name="connsiteX93" fmla="*/ 79143 w 369143"/>
                <a:gd name="connsiteY93" fmla="*/ 13559 h 48740"/>
                <a:gd name="connsiteX94" fmla="*/ 77758 w 369143"/>
                <a:gd name="connsiteY94" fmla="*/ 12494 h 48740"/>
                <a:gd name="connsiteX95" fmla="*/ 76906 w 369143"/>
                <a:gd name="connsiteY95" fmla="*/ 12494 h 48740"/>
                <a:gd name="connsiteX96" fmla="*/ 75684 w 369143"/>
                <a:gd name="connsiteY96" fmla="*/ 13437 h 48740"/>
                <a:gd name="connsiteX97" fmla="*/ 75681 w 369143"/>
                <a:gd name="connsiteY97" fmla="*/ 13692 h 48740"/>
                <a:gd name="connsiteX98" fmla="*/ 75681 w 369143"/>
                <a:gd name="connsiteY98" fmla="*/ 36591 h 48740"/>
                <a:gd name="connsiteX99" fmla="*/ 76651 w 369143"/>
                <a:gd name="connsiteY99" fmla="*/ 37792 h 48740"/>
                <a:gd name="connsiteX100" fmla="*/ 76906 w 369143"/>
                <a:gd name="connsiteY100" fmla="*/ 37789 h 48740"/>
                <a:gd name="connsiteX101" fmla="*/ 106195 w 369143"/>
                <a:gd name="connsiteY101" fmla="*/ 24982 h 48740"/>
                <a:gd name="connsiteX102" fmla="*/ 118323 w 369143"/>
                <a:gd name="connsiteY102" fmla="*/ 38282 h 48740"/>
                <a:gd name="connsiteX103" fmla="*/ 119055 w 369143"/>
                <a:gd name="connsiteY103" fmla="*/ 38295 h 48740"/>
                <a:gd name="connsiteX104" fmla="*/ 129945 w 369143"/>
                <a:gd name="connsiteY104" fmla="*/ 31212 h 48740"/>
                <a:gd name="connsiteX105" fmla="*/ 128880 w 369143"/>
                <a:gd name="connsiteY105" fmla="*/ 29828 h 48740"/>
                <a:gd name="connsiteX106" fmla="*/ 127043 w 369143"/>
                <a:gd name="connsiteY106" fmla="*/ 29828 h 48740"/>
                <a:gd name="connsiteX107" fmla="*/ 125632 w 369143"/>
                <a:gd name="connsiteY107" fmla="*/ 30813 h 48740"/>
                <a:gd name="connsiteX108" fmla="*/ 119055 w 369143"/>
                <a:gd name="connsiteY108" fmla="*/ 34381 h 48740"/>
                <a:gd name="connsiteX109" fmla="*/ 111068 w 369143"/>
                <a:gd name="connsiteY109" fmla="*/ 28177 h 48740"/>
                <a:gd name="connsiteX110" fmla="*/ 112638 w 369143"/>
                <a:gd name="connsiteY110" fmla="*/ 26340 h 48740"/>
                <a:gd name="connsiteX111" fmla="*/ 129173 w 369143"/>
                <a:gd name="connsiteY111" fmla="*/ 26340 h 48740"/>
                <a:gd name="connsiteX112" fmla="*/ 130821 w 369143"/>
                <a:gd name="connsiteY112" fmla="*/ 24905 h 48740"/>
                <a:gd name="connsiteX113" fmla="*/ 130824 w 369143"/>
                <a:gd name="connsiteY113" fmla="*/ 24769 h 48740"/>
                <a:gd name="connsiteX114" fmla="*/ 119372 w 369143"/>
                <a:gd name="connsiteY114" fmla="*/ 11975 h 48740"/>
                <a:gd name="connsiteX115" fmla="*/ 119055 w 369143"/>
                <a:gd name="connsiteY115" fmla="*/ 11962 h 48740"/>
                <a:gd name="connsiteX116" fmla="*/ 106245 w 369143"/>
                <a:gd name="connsiteY116" fmla="*/ 24444 h 48740"/>
                <a:gd name="connsiteX117" fmla="*/ 106248 w 369143"/>
                <a:gd name="connsiteY117" fmla="*/ 24955 h 48740"/>
                <a:gd name="connsiteX118" fmla="*/ 111707 w 369143"/>
                <a:gd name="connsiteY118" fmla="*/ 20535 h 48740"/>
                <a:gd name="connsiteX119" fmla="*/ 119002 w 369143"/>
                <a:gd name="connsiteY119" fmla="*/ 15849 h 48740"/>
                <a:gd name="connsiteX120" fmla="*/ 125792 w 369143"/>
                <a:gd name="connsiteY120" fmla="*/ 20589 h 48740"/>
                <a:gd name="connsiteX121" fmla="*/ 124327 w 369143"/>
                <a:gd name="connsiteY121" fmla="*/ 22532 h 48740"/>
                <a:gd name="connsiteX122" fmla="*/ 113065 w 369143"/>
                <a:gd name="connsiteY122" fmla="*/ 22532 h 48740"/>
                <a:gd name="connsiteX123" fmla="*/ 111707 w 369143"/>
                <a:gd name="connsiteY123" fmla="*/ 20589 h 48740"/>
                <a:gd name="connsiteX124" fmla="*/ 135670 w 369143"/>
                <a:gd name="connsiteY124" fmla="*/ 16408 h 48740"/>
                <a:gd name="connsiteX125" fmla="*/ 137720 w 369143"/>
                <a:gd name="connsiteY125" fmla="*/ 16408 h 48740"/>
                <a:gd name="connsiteX126" fmla="*/ 138200 w 369143"/>
                <a:gd name="connsiteY126" fmla="*/ 16832 h 48740"/>
                <a:gd name="connsiteX127" fmla="*/ 138200 w 369143"/>
                <a:gd name="connsiteY127" fmla="*/ 16888 h 48740"/>
                <a:gd name="connsiteX128" fmla="*/ 138200 w 369143"/>
                <a:gd name="connsiteY128" fmla="*/ 30414 h 48740"/>
                <a:gd name="connsiteX129" fmla="*/ 145495 w 369143"/>
                <a:gd name="connsiteY129" fmla="*/ 38401 h 48740"/>
                <a:gd name="connsiteX130" fmla="*/ 151592 w 369143"/>
                <a:gd name="connsiteY130" fmla="*/ 37443 h 48740"/>
                <a:gd name="connsiteX131" fmla="*/ 151939 w 369143"/>
                <a:gd name="connsiteY131" fmla="*/ 35819 h 48740"/>
                <a:gd name="connsiteX132" fmla="*/ 151779 w 369143"/>
                <a:gd name="connsiteY132" fmla="*/ 34354 h 48740"/>
                <a:gd name="connsiteX133" fmla="*/ 150314 w 369143"/>
                <a:gd name="connsiteY133" fmla="*/ 33476 h 48740"/>
                <a:gd name="connsiteX134" fmla="*/ 145735 w 369143"/>
                <a:gd name="connsiteY134" fmla="*/ 34221 h 48740"/>
                <a:gd name="connsiteX135" fmla="*/ 142247 w 369143"/>
                <a:gd name="connsiteY135" fmla="*/ 30281 h 48740"/>
                <a:gd name="connsiteX136" fmla="*/ 142247 w 369143"/>
                <a:gd name="connsiteY136" fmla="*/ 16834 h 48740"/>
                <a:gd name="connsiteX137" fmla="*/ 142670 w 369143"/>
                <a:gd name="connsiteY137" fmla="*/ 16355 h 48740"/>
                <a:gd name="connsiteX138" fmla="*/ 142726 w 369143"/>
                <a:gd name="connsiteY138" fmla="*/ 16355 h 48740"/>
                <a:gd name="connsiteX139" fmla="*/ 150714 w 369143"/>
                <a:gd name="connsiteY139" fmla="*/ 16355 h 48740"/>
                <a:gd name="connsiteX140" fmla="*/ 151939 w 369143"/>
                <a:gd name="connsiteY140" fmla="*/ 15354 h 48740"/>
                <a:gd name="connsiteX141" fmla="*/ 151939 w 369143"/>
                <a:gd name="connsiteY141" fmla="*/ 15130 h 48740"/>
                <a:gd name="connsiteX142" fmla="*/ 151939 w 369143"/>
                <a:gd name="connsiteY142" fmla="*/ 13666 h 48740"/>
                <a:gd name="connsiteX143" fmla="*/ 150969 w 369143"/>
                <a:gd name="connsiteY143" fmla="*/ 12465 h 48740"/>
                <a:gd name="connsiteX144" fmla="*/ 150714 w 369143"/>
                <a:gd name="connsiteY144" fmla="*/ 12468 h 48740"/>
                <a:gd name="connsiteX145" fmla="*/ 142726 w 369143"/>
                <a:gd name="connsiteY145" fmla="*/ 12468 h 48740"/>
                <a:gd name="connsiteX146" fmla="*/ 142247 w 369143"/>
                <a:gd name="connsiteY146" fmla="*/ 11988 h 48740"/>
                <a:gd name="connsiteX147" fmla="*/ 142247 w 369143"/>
                <a:gd name="connsiteY147" fmla="*/ 11962 h 48740"/>
                <a:gd name="connsiteX148" fmla="*/ 142247 w 369143"/>
                <a:gd name="connsiteY148" fmla="*/ 6636 h 48740"/>
                <a:gd name="connsiteX149" fmla="*/ 140889 w 369143"/>
                <a:gd name="connsiteY149" fmla="*/ 5571 h 48740"/>
                <a:gd name="connsiteX150" fmla="*/ 138839 w 369143"/>
                <a:gd name="connsiteY150" fmla="*/ 6104 h 48740"/>
                <a:gd name="connsiteX151" fmla="*/ 137827 w 369143"/>
                <a:gd name="connsiteY151" fmla="*/ 7462 h 48740"/>
                <a:gd name="connsiteX152" fmla="*/ 137827 w 369143"/>
                <a:gd name="connsiteY152" fmla="*/ 11855 h 48740"/>
                <a:gd name="connsiteX153" fmla="*/ 137377 w 369143"/>
                <a:gd name="connsiteY153" fmla="*/ 12361 h 48740"/>
                <a:gd name="connsiteX154" fmla="*/ 137321 w 369143"/>
                <a:gd name="connsiteY154" fmla="*/ 12361 h 48740"/>
                <a:gd name="connsiteX155" fmla="*/ 135138 w 369143"/>
                <a:gd name="connsiteY155" fmla="*/ 12361 h 48740"/>
                <a:gd name="connsiteX156" fmla="*/ 133915 w 369143"/>
                <a:gd name="connsiteY156" fmla="*/ 13304 h 48740"/>
                <a:gd name="connsiteX157" fmla="*/ 133913 w 369143"/>
                <a:gd name="connsiteY157" fmla="*/ 13559 h 48740"/>
                <a:gd name="connsiteX158" fmla="*/ 133913 w 369143"/>
                <a:gd name="connsiteY158" fmla="*/ 15024 h 48740"/>
                <a:gd name="connsiteX159" fmla="*/ 134914 w 369143"/>
                <a:gd name="connsiteY159" fmla="*/ 16248 h 48740"/>
                <a:gd name="connsiteX160" fmla="*/ 135138 w 369143"/>
                <a:gd name="connsiteY160" fmla="*/ 16248 h 48740"/>
                <a:gd name="connsiteX161" fmla="*/ 168820 w 369143"/>
                <a:gd name="connsiteY161" fmla="*/ 24023 h 48740"/>
                <a:gd name="connsiteX162" fmla="*/ 169821 w 369143"/>
                <a:gd name="connsiteY162" fmla="*/ 25248 h 48740"/>
                <a:gd name="connsiteX163" fmla="*/ 170044 w 369143"/>
                <a:gd name="connsiteY163" fmla="*/ 25248 h 48740"/>
                <a:gd name="connsiteX164" fmla="*/ 175609 w 369143"/>
                <a:gd name="connsiteY164" fmla="*/ 25248 h 48740"/>
                <a:gd name="connsiteX165" fmla="*/ 176674 w 369143"/>
                <a:gd name="connsiteY165" fmla="*/ 26087 h 48740"/>
                <a:gd name="connsiteX166" fmla="*/ 176674 w 369143"/>
                <a:gd name="connsiteY166" fmla="*/ 26313 h 48740"/>
                <a:gd name="connsiteX167" fmla="*/ 176674 w 369143"/>
                <a:gd name="connsiteY167" fmla="*/ 31772 h 48740"/>
                <a:gd name="connsiteX168" fmla="*/ 177556 w 369143"/>
                <a:gd name="connsiteY168" fmla="*/ 32994 h 48740"/>
                <a:gd name="connsiteX169" fmla="*/ 177872 w 369143"/>
                <a:gd name="connsiteY169" fmla="*/ 32996 h 48740"/>
                <a:gd name="connsiteX170" fmla="*/ 179230 w 369143"/>
                <a:gd name="connsiteY170" fmla="*/ 32996 h 48740"/>
                <a:gd name="connsiteX171" fmla="*/ 180455 w 369143"/>
                <a:gd name="connsiteY171" fmla="*/ 31995 h 48740"/>
                <a:gd name="connsiteX172" fmla="*/ 180455 w 369143"/>
                <a:gd name="connsiteY172" fmla="*/ 31772 h 48740"/>
                <a:gd name="connsiteX173" fmla="*/ 180455 w 369143"/>
                <a:gd name="connsiteY173" fmla="*/ 26313 h 48740"/>
                <a:gd name="connsiteX174" fmla="*/ 181353 w 369143"/>
                <a:gd name="connsiteY174" fmla="*/ 25248 h 48740"/>
                <a:gd name="connsiteX175" fmla="*/ 181520 w 369143"/>
                <a:gd name="connsiteY175" fmla="*/ 25248 h 48740"/>
                <a:gd name="connsiteX176" fmla="*/ 186979 w 369143"/>
                <a:gd name="connsiteY176" fmla="*/ 25248 h 48740"/>
                <a:gd name="connsiteX177" fmla="*/ 188203 w 369143"/>
                <a:gd name="connsiteY177" fmla="*/ 24247 h 48740"/>
                <a:gd name="connsiteX178" fmla="*/ 188203 w 369143"/>
                <a:gd name="connsiteY178" fmla="*/ 24023 h 48740"/>
                <a:gd name="connsiteX179" fmla="*/ 188203 w 369143"/>
                <a:gd name="connsiteY179" fmla="*/ 22665 h 48740"/>
                <a:gd name="connsiteX180" fmla="*/ 187234 w 369143"/>
                <a:gd name="connsiteY180" fmla="*/ 21465 h 48740"/>
                <a:gd name="connsiteX181" fmla="*/ 186979 w 369143"/>
                <a:gd name="connsiteY181" fmla="*/ 21467 h 48740"/>
                <a:gd name="connsiteX182" fmla="*/ 181520 w 369143"/>
                <a:gd name="connsiteY182" fmla="*/ 21467 h 48740"/>
                <a:gd name="connsiteX183" fmla="*/ 180453 w 369143"/>
                <a:gd name="connsiteY183" fmla="*/ 20573 h 48740"/>
                <a:gd name="connsiteX184" fmla="*/ 180455 w 369143"/>
                <a:gd name="connsiteY184" fmla="*/ 20376 h 48740"/>
                <a:gd name="connsiteX185" fmla="*/ 180455 w 369143"/>
                <a:gd name="connsiteY185" fmla="*/ 15050 h 48740"/>
                <a:gd name="connsiteX186" fmla="*/ 179515 w 369143"/>
                <a:gd name="connsiteY186" fmla="*/ 13825 h 48740"/>
                <a:gd name="connsiteX187" fmla="*/ 179230 w 369143"/>
                <a:gd name="connsiteY187" fmla="*/ 13825 h 48740"/>
                <a:gd name="connsiteX188" fmla="*/ 177846 w 369143"/>
                <a:gd name="connsiteY188" fmla="*/ 13825 h 48740"/>
                <a:gd name="connsiteX189" fmla="*/ 176621 w 369143"/>
                <a:gd name="connsiteY189" fmla="*/ 14702 h 48740"/>
                <a:gd name="connsiteX190" fmla="*/ 176621 w 369143"/>
                <a:gd name="connsiteY190" fmla="*/ 15050 h 48740"/>
                <a:gd name="connsiteX191" fmla="*/ 176621 w 369143"/>
                <a:gd name="connsiteY191" fmla="*/ 20376 h 48740"/>
                <a:gd name="connsiteX192" fmla="*/ 175814 w 369143"/>
                <a:gd name="connsiteY192" fmla="*/ 21465 h 48740"/>
                <a:gd name="connsiteX193" fmla="*/ 175556 w 369143"/>
                <a:gd name="connsiteY193" fmla="*/ 21467 h 48740"/>
                <a:gd name="connsiteX194" fmla="*/ 170044 w 369143"/>
                <a:gd name="connsiteY194" fmla="*/ 21467 h 48740"/>
                <a:gd name="connsiteX195" fmla="*/ 168822 w 369143"/>
                <a:gd name="connsiteY195" fmla="*/ 22410 h 48740"/>
                <a:gd name="connsiteX196" fmla="*/ 168820 w 369143"/>
                <a:gd name="connsiteY196" fmla="*/ 22665 h 48740"/>
                <a:gd name="connsiteX197" fmla="*/ 209185 w 369143"/>
                <a:gd name="connsiteY197" fmla="*/ 48360 h 48740"/>
                <a:gd name="connsiteX198" fmla="*/ 210995 w 369143"/>
                <a:gd name="connsiteY198" fmla="*/ 48360 h 48740"/>
                <a:gd name="connsiteX199" fmla="*/ 212194 w 369143"/>
                <a:gd name="connsiteY199" fmla="*/ 47385 h 48740"/>
                <a:gd name="connsiteX200" fmla="*/ 212194 w 369143"/>
                <a:gd name="connsiteY200" fmla="*/ 47161 h 48740"/>
                <a:gd name="connsiteX201" fmla="*/ 212194 w 369143"/>
                <a:gd name="connsiteY201" fmla="*/ 37070 h 48740"/>
                <a:gd name="connsiteX202" fmla="*/ 214137 w 369143"/>
                <a:gd name="connsiteY202" fmla="*/ 36192 h 48740"/>
                <a:gd name="connsiteX203" fmla="*/ 221167 w 369143"/>
                <a:gd name="connsiteY203" fmla="*/ 38135 h 48740"/>
                <a:gd name="connsiteX204" fmla="*/ 233926 w 369143"/>
                <a:gd name="connsiteY204" fmla="*/ 25123 h 48740"/>
                <a:gd name="connsiteX205" fmla="*/ 233921 w 369143"/>
                <a:gd name="connsiteY205" fmla="*/ 24822 h 48740"/>
                <a:gd name="connsiteX206" fmla="*/ 221409 w 369143"/>
                <a:gd name="connsiteY206" fmla="*/ 11778 h 48740"/>
                <a:gd name="connsiteX207" fmla="*/ 221247 w 369143"/>
                <a:gd name="connsiteY207" fmla="*/ 11775 h 48740"/>
                <a:gd name="connsiteX208" fmla="*/ 213525 w 369143"/>
                <a:gd name="connsiteY208" fmla="*/ 14225 h 48740"/>
                <a:gd name="connsiteX209" fmla="*/ 211368 w 369143"/>
                <a:gd name="connsiteY209" fmla="*/ 13479 h 48740"/>
                <a:gd name="connsiteX210" fmla="*/ 211368 w 369143"/>
                <a:gd name="connsiteY210" fmla="*/ 13479 h 48740"/>
                <a:gd name="connsiteX211" fmla="*/ 210064 w 369143"/>
                <a:gd name="connsiteY211" fmla="*/ 12361 h 48740"/>
                <a:gd name="connsiteX212" fmla="*/ 209185 w 369143"/>
                <a:gd name="connsiteY212" fmla="*/ 12361 h 48740"/>
                <a:gd name="connsiteX213" fmla="*/ 207963 w 369143"/>
                <a:gd name="connsiteY213" fmla="*/ 13304 h 48740"/>
                <a:gd name="connsiteX214" fmla="*/ 207960 w 369143"/>
                <a:gd name="connsiteY214" fmla="*/ 13559 h 48740"/>
                <a:gd name="connsiteX215" fmla="*/ 207960 w 369143"/>
                <a:gd name="connsiteY215" fmla="*/ 47161 h 48740"/>
                <a:gd name="connsiteX216" fmla="*/ 208929 w 369143"/>
                <a:gd name="connsiteY216" fmla="*/ 48362 h 48740"/>
                <a:gd name="connsiteX217" fmla="*/ 209185 w 369143"/>
                <a:gd name="connsiteY217" fmla="*/ 48360 h 48740"/>
                <a:gd name="connsiteX218" fmla="*/ 212540 w 369143"/>
                <a:gd name="connsiteY218" fmla="*/ 28017 h 48740"/>
                <a:gd name="connsiteX219" fmla="*/ 212540 w 369143"/>
                <a:gd name="connsiteY219" fmla="*/ 21947 h 48740"/>
                <a:gd name="connsiteX220" fmla="*/ 213072 w 369143"/>
                <a:gd name="connsiteY220" fmla="*/ 19843 h 48740"/>
                <a:gd name="connsiteX221" fmla="*/ 220714 w 369143"/>
                <a:gd name="connsiteY221" fmla="*/ 15796 h 48740"/>
                <a:gd name="connsiteX222" fmla="*/ 229234 w 369143"/>
                <a:gd name="connsiteY222" fmla="*/ 24902 h 48740"/>
                <a:gd name="connsiteX223" fmla="*/ 220714 w 369143"/>
                <a:gd name="connsiteY223" fmla="*/ 34221 h 48740"/>
                <a:gd name="connsiteX224" fmla="*/ 213072 w 369143"/>
                <a:gd name="connsiteY224" fmla="*/ 30121 h 48740"/>
                <a:gd name="connsiteX225" fmla="*/ 212540 w 369143"/>
                <a:gd name="connsiteY225" fmla="*/ 28017 h 48740"/>
                <a:gd name="connsiteX226" fmla="*/ 238740 w 369143"/>
                <a:gd name="connsiteY226" fmla="*/ 24849 h 48740"/>
                <a:gd name="connsiteX227" fmla="*/ 250868 w 369143"/>
                <a:gd name="connsiteY227" fmla="*/ 38148 h 48740"/>
                <a:gd name="connsiteX228" fmla="*/ 251600 w 369143"/>
                <a:gd name="connsiteY228" fmla="*/ 38162 h 48740"/>
                <a:gd name="connsiteX229" fmla="*/ 262491 w 369143"/>
                <a:gd name="connsiteY229" fmla="*/ 31079 h 48740"/>
                <a:gd name="connsiteX230" fmla="*/ 261425 w 369143"/>
                <a:gd name="connsiteY230" fmla="*/ 29695 h 48740"/>
                <a:gd name="connsiteX231" fmla="*/ 259588 w 369143"/>
                <a:gd name="connsiteY231" fmla="*/ 29695 h 48740"/>
                <a:gd name="connsiteX232" fmla="*/ 258177 w 369143"/>
                <a:gd name="connsiteY232" fmla="*/ 30680 h 48740"/>
                <a:gd name="connsiteX233" fmla="*/ 251600 w 369143"/>
                <a:gd name="connsiteY233" fmla="*/ 34248 h 48740"/>
                <a:gd name="connsiteX234" fmla="*/ 243612 w 369143"/>
                <a:gd name="connsiteY234" fmla="*/ 28044 h 48740"/>
                <a:gd name="connsiteX235" fmla="*/ 245184 w 369143"/>
                <a:gd name="connsiteY235" fmla="*/ 26207 h 48740"/>
                <a:gd name="connsiteX236" fmla="*/ 261718 w 369143"/>
                <a:gd name="connsiteY236" fmla="*/ 26207 h 48740"/>
                <a:gd name="connsiteX237" fmla="*/ 263366 w 369143"/>
                <a:gd name="connsiteY237" fmla="*/ 24774 h 48740"/>
                <a:gd name="connsiteX238" fmla="*/ 263369 w 369143"/>
                <a:gd name="connsiteY238" fmla="*/ 24636 h 48740"/>
                <a:gd name="connsiteX239" fmla="*/ 251917 w 369143"/>
                <a:gd name="connsiteY239" fmla="*/ 11842 h 48740"/>
                <a:gd name="connsiteX240" fmla="*/ 251600 w 369143"/>
                <a:gd name="connsiteY240" fmla="*/ 11829 h 48740"/>
                <a:gd name="connsiteX241" fmla="*/ 238791 w 369143"/>
                <a:gd name="connsiteY241" fmla="*/ 24311 h 48740"/>
                <a:gd name="connsiteX242" fmla="*/ 238793 w 369143"/>
                <a:gd name="connsiteY242" fmla="*/ 24822 h 48740"/>
                <a:gd name="connsiteX243" fmla="*/ 244118 w 369143"/>
                <a:gd name="connsiteY243" fmla="*/ 20402 h 48740"/>
                <a:gd name="connsiteX244" fmla="*/ 251414 w 369143"/>
                <a:gd name="connsiteY244" fmla="*/ 15716 h 48740"/>
                <a:gd name="connsiteX245" fmla="*/ 258204 w 369143"/>
                <a:gd name="connsiteY245" fmla="*/ 20455 h 48740"/>
                <a:gd name="connsiteX246" fmla="*/ 256739 w 369143"/>
                <a:gd name="connsiteY246" fmla="*/ 22399 h 48740"/>
                <a:gd name="connsiteX247" fmla="*/ 245476 w 369143"/>
                <a:gd name="connsiteY247" fmla="*/ 22399 h 48740"/>
                <a:gd name="connsiteX248" fmla="*/ 244118 w 369143"/>
                <a:gd name="connsiteY248" fmla="*/ 20455 h 48740"/>
                <a:gd name="connsiteX249" fmla="*/ 268082 w 369143"/>
                <a:gd name="connsiteY249" fmla="*/ 24875 h 48740"/>
                <a:gd name="connsiteX250" fmla="*/ 280801 w 369143"/>
                <a:gd name="connsiteY250" fmla="*/ 38188 h 48740"/>
                <a:gd name="connsiteX251" fmla="*/ 281395 w 369143"/>
                <a:gd name="connsiteY251" fmla="*/ 38188 h 48740"/>
                <a:gd name="connsiteX252" fmla="*/ 294708 w 369143"/>
                <a:gd name="connsiteY252" fmla="*/ 25469 h 48740"/>
                <a:gd name="connsiteX253" fmla="*/ 294708 w 369143"/>
                <a:gd name="connsiteY253" fmla="*/ 24875 h 48740"/>
                <a:gd name="connsiteX254" fmla="*/ 281989 w 369143"/>
                <a:gd name="connsiteY254" fmla="*/ 11874 h 48740"/>
                <a:gd name="connsiteX255" fmla="*/ 281395 w 369143"/>
                <a:gd name="connsiteY255" fmla="*/ 11882 h 48740"/>
                <a:gd name="connsiteX256" fmla="*/ 268087 w 369143"/>
                <a:gd name="connsiteY256" fmla="*/ 24335 h 48740"/>
                <a:gd name="connsiteX257" fmla="*/ 268082 w 369143"/>
                <a:gd name="connsiteY257" fmla="*/ 24875 h 48740"/>
                <a:gd name="connsiteX258" fmla="*/ 272662 w 369143"/>
                <a:gd name="connsiteY258" fmla="*/ 25035 h 48740"/>
                <a:gd name="connsiteX259" fmla="*/ 281012 w 369143"/>
                <a:gd name="connsiteY259" fmla="*/ 15833 h 48740"/>
                <a:gd name="connsiteX260" fmla="*/ 281528 w 369143"/>
                <a:gd name="connsiteY260" fmla="*/ 15822 h 48740"/>
                <a:gd name="connsiteX261" fmla="*/ 290349 w 369143"/>
                <a:gd name="connsiteY261" fmla="*/ 24628 h 48740"/>
                <a:gd name="connsiteX262" fmla="*/ 290341 w 369143"/>
                <a:gd name="connsiteY262" fmla="*/ 25035 h 48740"/>
                <a:gd name="connsiteX263" fmla="*/ 281882 w 369143"/>
                <a:gd name="connsiteY263" fmla="*/ 34240 h 48740"/>
                <a:gd name="connsiteX264" fmla="*/ 281528 w 369143"/>
                <a:gd name="connsiteY264" fmla="*/ 34248 h 48740"/>
                <a:gd name="connsiteX265" fmla="*/ 272654 w 369143"/>
                <a:gd name="connsiteY265" fmla="*/ 25442 h 48740"/>
                <a:gd name="connsiteX266" fmla="*/ 272662 w 369143"/>
                <a:gd name="connsiteY266" fmla="*/ 25035 h 48740"/>
                <a:gd name="connsiteX267" fmla="*/ 302749 w 369143"/>
                <a:gd name="connsiteY267" fmla="*/ 48386 h 48740"/>
                <a:gd name="connsiteX268" fmla="*/ 304533 w 369143"/>
                <a:gd name="connsiteY268" fmla="*/ 48386 h 48740"/>
                <a:gd name="connsiteX269" fmla="*/ 305755 w 369143"/>
                <a:gd name="connsiteY269" fmla="*/ 47444 h 48740"/>
                <a:gd name="connsiteX270" fmla="*/ 305758 w 369143"/>
                <a:gd name="connsiteY270" fmla="*/ 47188 h 48740"/>
                <a:gd name="connsiteX271" fmla="*/ 305758 w 369143"/>
                <a:gd name="connsiteY271" fmla="*/ 37097 h 48740"/>
                <a:gd name="connsiteX272" fmla="*/ 307702 w 369143"/>
                <a:gd name="connsiteY272" fmla="*/ 36218 h 48740"/>
                <a:gd name="connsiteX273" fmla="*/ 314731 w 369143"/>
                <a:gd name="connsiteY273" fmla="*/ 38162 h 48740"/>
                <a:gd name="connsiteX274" fmla="*/ 327490 w 369143"/>
                <a:gd name="connsiteY274" fmla="*/ 25096 h 48740"/>
                <a:gd name="connsiteX275" fmla="*/ 327485 w 369143"/>
                <a:gd name="connsiteY275" fmla="*/ 24849 h 48740"/>
                <a:gd name="connsiteX276" fmla="*/ 314973 w 369143"/>
                <a:gd name="connsiteY276" fmla="*/ 11805 h 48740"/>
                <a:gd name="connsiteX277" fmla="*/ 314811 w 369143"/>
                <a:gd name="connsiteY277" fmla="*/ 11802 h 48740"/>
                <a:gd name="connsiteX278" fmla="*/ 307063 w 369143"/>
                <a:gd name="connsiteY278" fmla="*/ 14252 h 48740"/>
                <a:gd name="connsiteX279" fmla="*/ 304933 w 369143"/>
                <a:gd name="connsiteY279" fmla="*/ 13506 h 48740"/>
                <a:gd name="connsiteX280" fmla="*/ 304933 w 369143"/>
                <a:gd name="connsiteY280" fmla="*/ 13506 h 48740"/>
                <a:gd name="connsiteX281" fmla="*/ 303628 w 369143"/>
                <a:gd name="connsiteY281" fmla="*/ 12388 h 48740"/>
                <a:gd name="connsiteX282" fmla="*/ 302749 w 369143"/>
                <a:gd name="connsiteY282" fmla="*/ 12388 h 48740"/>
                <a:gd name="connsiteX283" fmla="*/ 301527 w 369143"/>
                <a:gd name="connsiteY283" fmla="*/ 13330 h 48740"/>
                <a:gd name="connsiteX284" fmla="*/ 301524 w 369143"/>
                <a:gd name="connsiteY284" fmla="*/ 13586 h 48740"/>
                <a:gd name="connsiteX285" fmla="*/ 301524 w 369143"/>
                <a:gd name="connsiteY285" fmla="*/ 47188 h 48740"/>
                <a:gd name="connsiteX286" fmla="*/ 302494 w 369143"/>
                <a:gd name="connsiteY286" fmla="*/ 48389 h 48740"/>
                <a:gd name="connsiteX287" fmla="*/ 302749 w 369143"/>
                <a:gd name="connsiteY287" fmla="*/ 48386 h 48740"/>
                <a:gd name="connsiteX288" fmla="*/ 306104 w 369143"/>
                <a:gd name="connsiteY288" fmla="*/ 28044 h 48740"/>
                <a:gd name="connsiteX289" fmla="*/ 306104 w 369143"/>
                <a:gd name="connsiteY289" fmla="*/ 21973 h 48740"/>
                <a:gd name="connsiteX290" fmla="*/ 306637 w 369143"/>
                <a:gd name="connsiteY290" fmla="*/ 19870 h 48740"/>
                <a:gd name="connsiteX291" fmla="*/ 314278 w 369143"/>
                <a:gd name="connsiteY291" fmla="*/ 15822 h 48740"/>
                <a:gd name="connsiteX292" fmla="*/ 322799 w 369143"/>
                <a:gd name="connsiteY292" fmla="*/ 24929 h 48740"/>
                <a:gd name="connsiteX293" fmla="*/ 314278 w 369143"/>
                <a:gd name="connsiteY293" fmla="*/ 34248 h 48740"/>
                <a:gd name="connsiteX294" fmla="*/ 306637 w 369143"/>
                <a:gd name="connsiteY294" fmla="*/ 30147 h 48740"/>
                <a:gd name="connsiteX295" fmla="*/ 306104 w 369143"/>
                <a:gd name="connsiteY295" fmla="*/ 28044 h 48740"/>
                <a:gd name="connsiteX296" fmla="*/ 337496 w 369143"/>
                <a:gd name="connsiteY296" fmla="*/ -286 h 48740"/>
                <a:gd name="connsiteX297" fmla="*/ 335366 w 369143"/>
                <a:gd name="connsiteY297" fmla="*/ -286 h 48740"/>
                <a:gd name="connsiteX298" fmla="*/ 334141 w 369143"/>
                <a:gd name="connsiteY298" fmla="*/ 715 h 48740"/>
                <a:gd name="connsiteX299" fmla="*/ 334141 w 369143"/>
                <a:gd name="connsiteY299" fmla="*/ 938 h 48740"/>
                <a:gd name="connsiteX300" fmla="*/ 334141 w 369143"/>
                <a:gd name="connsiteY300" fmla="*/ 36484 h 48740"/>
                <a:gd name="connsiteX301" fmla="*/ 335111 w 369143"/>
                <a:gd name="connsiteY301" fmla="*/ 37685 h 48740"/>
                <a:gd name="connsiteX302" fmla="*/ 335366 w 369143"/>
                <a:gd name="connsiteY302" fmla="*/ 37683 h 48740"/>
                <a:gd name="connsiteX303" fmla="*/ 337496 w 369143"/>
                <a:gd name="connsiteY303" fmla="*/ 37683 h 48740"/>
                <a:gd name="connsiteX304" fmla="*/ 338718 w 369143"/>
                <a:gd name="connsiteY304" fmla="*/ 36740 h 48740"/>
                <a:gd name="connsiteX305" fmla="*/ 338721 w 369143"/>
                <a:gd name="connsiteY305" fmla="*/ 36484 h 48740"/>
                <a:gd name="connsiteX306" fmla="*/ 338721 w 369143"/>
                <a:gd name="connsiteY306" fmla="*/ 885 h 48740"/>
                <a:gd name="connsiteX307" fmla="*/ 337720 w 369143"/>
                <a:gd name="connsiteY307" fmla="*/ -340 h 48740"/>
                <a:gd name="connsiteX308" fmla="*/ 337496 w 369143"/>
                <a:gd name="connsiteY308" fmla="*/ -340 h 48740"/>
                <a:gd name="connsiteX309" fmla="*/ 345484 w 369143"/>
                <a:gd name="connsiteY309" fmla="*/ 24822 h 48740"/>
                <a:gd name="connsiteX310" fmla="*/ 357612 w 369143"/>
                <a:gd name="connsiteY310" fmla="*/ 38122 h 48740"/>
                <a:gd name="connsiteX311" fmla="*/ 358345 w 369143"/>
                <a:gd name="connsiteY311" fmla="*/ 38135 h 48740"/>
                <a:gd name="connsiteX312" fmla="*/ 369235 w 369143"/>
                <a:gd name="connsiteY312" fmla="*/ 31053 h 48740"/>
                <a:gd name="connsiteX313" fmla="*/ 368170 w 369143"/>
                <a:gd name="connsiteY313" fmla="*/ 29668 h 48740"/>
                <a:gd name="connsiteX314" fmla="*/ 366333 w 369143"/>
                <a:gd name="connsiteY314" fmla="*/ 29668 h 48740"/>
                <a:gd name="connsiteX315" fmla="*/ 364921 w 369143"/>
                <a:gd name="connsiteY315" fmla="*/ 30653 h 48740"/>
                <a:gd name="connsiteX316" fmla="*/ 358345 w 369143"/>
                <a:gd name="connsiteY316" fmla="*/ 34221 h 48740"/>
                <a:gd name="connsiteX317" fmla="*/ 350357 w 369143"/>
                <a:gd name="connsiteY317" fmla="*/ 28017 h 48740"/>
                <a:gd name="connsiteX318" fmla="*/ 351928 w 369143"/>
                <a:gd name="connsiteY318" fmla="*/ 26180 h 48740"/>
                <a:gd name="connsiteX319" fmla="*/ 368463 w 369143"/>
                <a:gd name="connsiteY319" fmla="*/ 26180 h 48740"/>
                <a:gd name="connsiteX320" fmla="*/ 370111 w 369143"/>
                <a:gd name="connsiteY320" fmla="*/ 24745 h 48740"/>
                <a:gd name="connsiteX321" fmla="*/ 370113 w 369143"/>
                <a:gd name="connsiteY321" fmla="*/ 24609 h 48740"/>
                <a:gd name="connsiteX322" fmla="*/ 358661 w 369143"/>
                <a:gd name="connsiteY322" fmla="*/ 11815 h 48740"/>
                <a:gd name="connsiteX323" fmla="*/ 358371 w 369143"/>
                <a:gd name="connsiteY323" fmla="*/ 11802 h 48740"/>
                <a:gd name="connsiteX324" fmla="*/ 345535 w 369143"/>
                <a:gd name="connsiteY324" fmla="*/ 24311 h 48740"/>
                <a:gd name="connsiteX325" fmla="*/ 345538 w 369143"/>
                <a:gd name="connsiteY325" fmla="*/ 24795 h 48740"/>
                <a:gd name="connsiteX326" fmla="*/ 350863 w 369143"/>
                <a:gd name="connsiteY326" fmla="*/ 20376 h 48740"/>
                <a:gd name="connsiteX327" fmla="*/ 358185 w 369143"/>
                <a:gd name="connsiteY327" fmla="*/ 15689 h 48740"/>
                <a:gd name="connsiteX328" fmla="*/ 364948 w 369143"/>
                <a:gd name="connsiteY328" fmla="*/ 20429 h 48740"/>
                <a:gd name="connsiteX329" fmla="*/ 363484 w 369143"/>
                <a:gd name="connsiteY329" fmla="*/ 22373 h 48740"/>
                <a:gd name="connsiteX330" fmla="*/ 352221 w 369143"/>
                <a:gd name="connsiteY330" fmla="*/ 22373 h 48740"/>
                <a:gd name="connsiteX331" fmla="*/ 350863 w 369143"/>
                <a:gd name="connsiteY331" fmla="*/ 20429 h 487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</a:cxnLst>
              <a:rect l="l" t="t" r="r" b="b"/>
              <a:pathLst>
                <a:path w="369143" h="48740">
                  <a:moveTo>
                    <a:pt x="2220" y="48333"/>
                  </a:moveTo>
                  <a:lnTo>
                    <a:pt x="4004" y="48333"/>
                  </a:lnTo>
                  <a:cubicBezTo>
                    <a:pt x="4603" y="48410"/>
                    <a:pt x="5149" y="47987"/>
                    <a:pt x="5226" y="47390"/>
                  </a:cubicBezTo>
                  <a:cubicBezTo>
                    <a:pt x="5237" y="47305"/>
                    <a:pt x="5237" y="47220"/>
                    <a:pt x="5229" y="47135"/>
                  </a:cubicBezTo>
                  <a:lnTo>
                    <a:pt x="5229" y="37043"/>
                  </a:lnTo>
                  <a:cubicBezTo>
                    <a:pt x="5229" y="35632"/>
                    <a:pt x="6001" y="35339"/>
                    <a:pt x="7172" y="36165"/>
                  </a:cubicBezTo>
                  <a:cubicBezTo>
                    <a:pt x="9265" y="37507"/>
                    <a:pt x="11717" y="38183"/>
                    <a:pt x="14202" y="38109"/>
                  </a:cubicBezTo>
                  <a:cubicBezTo>
                    <a:pt x="21319" y="38039"/>
                    <a:pt x="27033" y="32214"/>
                    <a:pt x="26961" y="25096"/>
                  </a:cubicBezTo>
                  <a:cubicBezTo>
                    <a:pt x="26961" y="24995"/>
                    <a:pt x="26958" y="24897"/>
                    <a:pt x="26955" y="24795"/>
                  </a:cubicBezTo>
                  <a:cubicBezTo>
                    <a:pt x="27102" y="17740"/>
                    <a:pt x="21502" y="11898"/>
                    <a:pt x="14444" y="11751"/>
                  </a:cubicBezTo>
                  <a:cubicBezTo>
                    <a:pt x="14391" y="11749"/>
                    <a:pt x="14335" y="11749"/>
                    <a:pt x="14281" y="11749"/>
                  </a:cubicBezTo>
                  <a:cubicBezTo>
                    <a:pt x="11496" y="11671"/>
                    <a:pt x="8767" y="12534"/>
                    <a:pt x="6533" y="14198"/>
                  </a:cubicBezTo>
                  <a:cubicBezTo>
                    <a:pt x="5468" y="15024"/>
                    <a:pt x="4643" y="14837"/>
                    <a:pt x="4403" y="13453"/>
                  </a:cubicBezTo>
                  <a:lnTo>
                    <a:pt x="4403" y="13453"/>
                  </a:lnTo>
                  <a:cubicBezTo>
                    <a:pt x="4347" y="12787"/>
                    <a:pt x="3767" y="12289"/>
                    <a:pt x="3098" y="12334"/>
                  </a:cubicBezTo>
                  <a:lnTo>
                    <a:pt x="2220" y="12334"/>
                  </a:lnTo>
                  <a:cubicBezTo>
                    <a:pt x="1621" y="12257"/>
                    <a:pt x="1075" y="12681"/>
                    <a:pt x="998" y="13277"/>
                  </a:cubicBezTo>
                  <a:cubicBezTo>
                    <a:pt x="987" y="13362"/>
                    <a:pt x="987" y="13447"/>
                    <a:pt x="995" y="13533"/>
                  </a:cubicBezTo>
                  <a:lnTo>
                    <a:pt x="995" y="47135"/>
                  </a:lnTo>
                  <a:cubicBezTo>
                    <a:pt x="931" y="47734"/>
                    <a:pt x="1365" y="48272"/>
                    <a:pt x="1964" y="48336"/>
                  </a:cubicBezTo>
                  <a:cubicBezTo>
                    <a:pt x="2049" y="48344"/>
                    <a:pt x="2134" y="48344"/>
                    <a:pt x="2220" y="48333"/>
                  </a:cubicBezTo>
                  <a:moveTo>
                    <a:pt x="5575" y="27991"/>
                  </a:moveTo>
                  <a:lnTo>
                    <a:pt x="5575" y="21920"/>
                  </a:lnTo>
                  <a:cubicBezTo>
                    <a:pt x="5535" y="21180"/>
                    <a:pt x="5721" y="20447"/>
                    <a:pt x="6107" y="19816"/>
                  </a:cubicBezTo>
                  <a:cubicBezTo>
                    <a:pt x="7777" y="17228"/>
                    <a:pt x="10671" y="15695"/>
                    <a:pt x="13749" y="15769"/>
                  </a:cubicBezTo>
                  <a:cubicBezTo>
                    <a:pt x="18606" y="15958"/>
                    <a:pt x="22405" y="20019"/>
                    <a:pt x="22269" y="24875"/>
                  </a:cubicBezTo>
                  <a:cubicBezTo>
                    <a:pt x="22480" y="29799"/>
                    <a:pt x="18672" y="33965"/>
                    <a:pt x="13749" y="34195"/>
                  </a:cubicBezTo>
                  <a:cubicBezTo>
                    <a:pt x="10655" y="34285"/>
                    <a:pt x="7745" y="32722"/>
                    <a:pt x="6107" y="30094"/>
                  </a:cubicBezTo>
                  <a:cubicBezTo>
                    <a:pt x="5721" y="29463"/>
                    <a:pt x="5535" y="28731"/>
                    <a:pt x="5575" y="27991"/>
                  </a:cubicBezTo>
                  <a:moveTo>
                    <a:pt x="36967" y="-340"/>
                  </a:moveTo>
                  <a:lnTo>
                    <a:pt x="34837" y="-340"/>
                  </a:lnTo>
                  <a:cubicBezTo>
                    <a:pt x="34222" y="-401"/>
                    <a:pt x="33673" y="46"/>
                    <a:pt x="33612" y="662"/>
                  </a:cubicBezTo>
                  <a:cubicBezTo>
                    <a:pt x="33604" y="736"/>
                    <a:pt x="33604" y="811"/>
                    <a:pt x="33612" y="885"/>
                  </a:cubicBezTo>
                  <a:lnTo>
                    <a:pt x="33612" y="36431"/>
                  </a:lnTo>
                  <a:cubicBezTo>
                    <a:pt x="33548" y="37030"/>
                    <a:pt x="33982" y="37568"/>
                    <a:pt x="34581" y="37632"/>
                  </a:cubicBezTo>
                  <a:cubicBezTo>
                    <a:pt x="34666" y="37640"/>
                    <a:pt x="34752" y="37640"/>
                    <a:pt x="34837" y="37629"/>
                  </a:cubicBezTo>
                  <a:lnTo>
                    <a:pt x="36967" y="37629"/>
                  </a:lnTo>
                  <a:cubicBezTo>
                    <a:pt x="37566" y="37707"/>
                    <a:pt x="38112" y="37283"/>
                    <a:pt x="38189" y="36687"/>
                  </a:cubicBezTo>
                  <a:cubicBezTo>
                    <a:pt x="38200" y="36602"/>
                    <a:pt x="38200" y="36516"/>
                    <a:pt x="38192" y="36431"/>
                  </a:cubicBezTo>
                  <a:lnTo>
                    <a:pt x="38192" y="885"/>
                  </a:lnTo>
                  <a:cubicBezTo>
                    <a:pt x="38253" y="270"/>
                    <a:pt x="37806" y="-278"/>
                    <a:pt x="37191" y="-340"/>
                  </a:cubicBezTo>
                  <a:cubicBezTo>
                    <a:pt x="37116" y="-348"/>
                    <a:pt x="37041" y="-348"/>
                    <a:pt x="36967" y="-340"/>
                  </a:cubicBezTo>
                  <a:moveTo>
                    <a:pt x="44768" y="30680"/>
                  </a:moveTo>
                  <a:cubicBezTo>
                    <a:pt x="44840" y="34871"/>
                    <a:pt x="48294" y="38210"/>
                    <a:pt x="52485" y="38141"/>
                  </a:cubicBezTo>
                  <a:cubicBezTo>
                    <a:pt x="52674" y="38135"/>
                    <a:pt x="52860" y="38125"/>
                    <a:pt x="53049" y="38109"/>
                  </a:cubicBezTo>
                  <a:cubicBezTo>
                    <a:pt x="56154" y="38127"/>
                    <a:pt x="59192" y="37198"/>
                    <a:pt x="61756" y="35446"/>
                  </a:cubicBezTo>
                  <a:cubicBezTo>
                    <a:pt x="62821" y="34780"/>
                    <a:pt x="63646" y="35020"/>
                    <a:pt x="63992" y="36218"/>
                  </a:cubicBezTo>
                  <a:lnTo>
                    <a:pt x="64152" y="36724"/>
                  </a:lnTo>
                  <a:cubicBezTo>
                    <a:pt x="64275" y="37363"/>
                    <a:pt x="64863" y="37802"/>
                    <a:pt x="65510" y="37736"/>
                  </a:cubicBezTo>
                  <a:lnTo>
                    <a:pt x="66096" y="37736"/>
                  </a:lnTo>
                  <a:cubicBezTo>
                    <a:pt x="66695" y="37797"/>
                    <a:pt x="67233" y="37363"/>
                    <a:pt x="67294" y="36761"/>
                  </a:cubicBezTo>
                  <a:cubicBezTo>
                    <a:pt x="67302" y="36687"/>
                    <a:pt x="67302" y="36612"/>
                    <a:pt x="67294" y="36538"/>
                  </a:cubicBezTo>
                  <a:lnTo>
                    <a:pt x="67294" y="22905"/>
                  </a:lnTo>
                  <a:cubicBezTo>
                    <a:pt x="67294" y="15982"/>
                    <a:pt x="63353" y="11935"/>
                    <a:pt x="56644" y="11935"/>
                  </a:cubicBezTo>
                  <a:cubicBezTo>
                    <a:pt x="50892" y="11935"/>
                    <a:pt x="46872" y="14864"/>
                    <a:pt x="45993" y="19497"/>
                  </a:cubicBezTo>
                  <a:cubicBezTo>
                    <a:pt x="45839" y="20048"/>
                    <a:pt x="46161" y="20623"/>
                    <a:pt x="46712" y="20778"/>
                  </a:cubicBezTo>
                  <a:cubicBezTo>
                    <a:pt x="46858" y="20818"/>
                    <a:pt x="47013" y="20825"/>
                    <a:pt x="47165" y="20802"/>
                  </a:cubicBezTo>
                  <a:lnTo>
                    <a:pt x="49055" y="20802"/>
                  </a:lnTo>
                  <a:cubicBezTo>
                    <a:pt x="49702" y="20825"/>
                    <a:pt x="50269" y="20373"/>
                    <a:pt x="50386" y="19736"/>
                  </a:cubicBezTo>
                  <a:cubicBezTo>
                    <a:pt x="51305" y="17207"/>
                    <a:pt x="53835" y="15633"/>
                    <a:pt x="56510" y="15929"/>
                  </a:cubicBezTo>
                  <a:cubicBezTo>
                    <a:pt x="59628" y="15498"/>
                    <a:pt x="62504" y="17673"/>
                    <a:pt x="62938" y="20791"/>
                  </a:cubicBezTo>
                  <a:cubicBezTo>
                    <a:pt x="62989" y="21164"/>
                    <a:pt x="63005" y="21542"/>
                    <a:pt x="62981" y="21920"/>
                  </a:cubicBezTo>
                  <a:cubicBezTo>
                    <a:pt x="62981" y="22958"/>
                    <a:pt x="62368" y="23491"/>
                    <a:pt x="61277" y="23491"/>
                  </a:cubicBezTo>
                  <a:lnTo>
                    <a:pt x="55632" y="23491"/>
                  </a:lnTo>
                  <a:cubicBezTo>
                    <a:pt x="48975" y="23491"/>
                    <a:pt x="44981" y="26606"/>
                    <a:pt x="44981" y="30840"/>
                  </a:cubicBezTo>
                  <a:moveTo>
                    <a:pt x="49561" y="30840"/>
                  </a:moveTo>
                  <a:cubicBezTo>
                    <a:pt x="49561" y="28417"/>
                    <a:pt x="51638" y="27325"/>
                    <a:pt x="55792" y="27325"/>
                  </a:cubicBezTo>
                  <a:lnTo>
                    <a:pt x="61330" y="27325"/>
                  </a:lnTo>
                  <a:cubicBezTo>
                    <a:pt x="62177" y="27232"/>
                    <a:pt x="62941" y="27844"/>
                    <a:pt x="63034" y="28691"/>
                  </a:cubicBezTo>
                  <a:cubicBezTo>
                    <a:pt x="63047" y="28803"/>
                    <a:pt x="63047" y="28917"/>
                    <a:pt x="63034" y="29029"/>
                  </a:cubicBezTo>
                  <a:lnTo>
                    <a:pt x="63034" y="29535"/>
                  </a:lnTo>
                  <a:cubicBezTo>
                    <a:pt x="63071" y="30347"/>
                    <a:pt x="62688" y="31119"/>
                    <a:pt x="62022" y="31585"/>
                  </a:cubicBezTo>
                  <a:cubicBezTo>
                    <a:pt x="59767" y="33233"/>
                    <a:pt x="57067" y="34160"/>
                    <a:pt x="54274" y="34248"/>
                  </a:cubicBezTo>
                  <a:cubicBezTo>
                    <a:pt x="51611" y="34248"/>
                    <a:pt x="49561" y="33129"/>
                    <a:pt x="49561" y="30733"/>
                  </a:cubicBezTo>
                  <a:moveTo>
                    <a:pt x="76826" y="37789"/>
                  </a:moveTo>
                  <a:lnTo>
                    <a:pt x="78956" y="37789"/>
                  </a:lnTo>
                  <a:cubicBezTo>
                    <a:pt x="79555" y="37866"/>
                    <a:pt x="80101" y="37443"/>
                    <a:pt x="80179" y="36846"/>
                  </a:cubicBezTo>
                  <a:cubicBezTo>
                    <a:pt x="80189" y="36761"/>
                    <a:pt x="80189" y="36676"/>
                    <a:pt x="80181" y="36591"/>
                  </a:cubicBezTo>
                  <a:lnTo>
                    <a:pt x="80181" y="20988"/>
                  </a:lnTo>
                  <a:cubicBezTo>
                    <a:pt x="80123" y="20152"/>
                    <a:pt x="80562" y="19361"/>
                    <a:pt x="81299" y="18964"/>
                  </a:cubicBezTo>
                  <a:cubicBezTo>
                    <a:pt x="83752" y="17274"/>
                    <a:pt x="86609" y="16264"/>
                    <a:pt x="89580" y="16035"/>
                  </a:cubicBezTo>
                  <a:cubicBezTo>
                    <a:pt x="92392" y="15777"/>
                    <a:pt x="94881" y="17846"/>
                    <a:pt x="95140" y="20658"/>
                  </a:cubicBezTo>
                  <a:cubicBezTo>
                    <a:pt x="95174" y="21033"/>
                    <a:pt x="95166" y="21411"/>
                    <a:pt x="95118" y="21787"/>
                  </a:cubicBezTo>
                  <a:lnTo>
                    <a:pt x="95118" y="36591"/>
                  </a:lnTo>
                  <a:cubicBezTo>
                    <a:pt x="95054" y="37190"/>
                    <a:pt x="95489" y="37728"/>
                    <a:pt x="96088" y="37792"/>
                  </a:cubicBezTo>
                  <a:cubicBezTo>
                    <a:pt x="96173" y="37800"/>
                    <a:pt x="96258" y="37800"/>
                    <a:pt x="96343" y="37789"/>
                  </a:cubicBezTo>
                  <a:lnTo>
                    <a:pt x="98473" y="37789"/>
                  </a:lnTo>
                  <a:cubicBezTo>
                    <a:pt x="99072" y="37866"/>
                    <a:pt x="99618" y="37443"/>
                    <a:pt x="99696" y="36846"/>
                  </a:cubicBezTo>
                  <a:cubicBezTo>
                    <a:pt x="99706" y="36761"/>
                    <a:pt x="99706" y="36676"/>
                    <a:pt x="99698" y="36591"/>
                  </a:cubicBezTo>
                  <a:lnTo>
                    <a:pt x="99698" y="21574"/>
                  </a:lnTo>
                  <a:cubicBezTo>
                    <a:pt x="99698" y="15343"/>
                    <a:pt x="96397" y="11988"/>
                    <a:pt x="90885" y="11988"/>
                  </a:cubicBezTo>
                  <a:cubicBezTo>
                    <a:pt x="87495" y="11996"/>
                    <a:pt x="84178" y="12976"/>
                    <a:pt x="81326" y="14811"/>
                  </a:cubicBezTo>
                  <a:cubicBezTo>
                    <a:pt x="80261" y="15503"/>
                    <a:pt x="79436" y="15210"/>
                    <a:pt x="79143" y="13932"/>
                  </a:cubicBezTo>
                  <a:lnTo>
                    <a:pt x="79143" y="13559"/>
                  </a:lnTo>
                  <a:cubicBezTo>
                    <a:pt x="79023" y="12902"/>
                    <a:pt x="78424" y="12444"/>
                    <a:pt x="77758" y="12494"/>
                  </a:cubicBezTo>
                  <a:lnTo>
                    <a:pt x="76906" y="12494"/>
                  </a:lnTo>
                  <a:cubicBezTo>
                    <a:pt x="76307" y="12417"/>
                    <a:pt x="75761" y="12840"/>
                    <a:pt x="75684" y="13437"/>
                  </a:cubicBezTo>
                  <a:cubicBezTo>
                    <a:pt x="75673" y="13522"/>
                    <a:pt x="75673" y="13607"/>
                    <a:pt x="75681" y="13692"/>
                  </a:cubicBezTo>
                  <a:lnTo>
                    <a:pt x="75681" y="36591"/>
                  </a:lnTo>
                  <a:cubicBezTo>
                    <a:pt x="75617" y="37190"/>
                    <a:pt x="76051" y="37728"/>
                    <a:pt x="76651" y="37792"/>
                  </a:cubicBezTo>
                  <a:cubicBezTo>
                    <a:pt x="76736" y="37800"/>
                    <a:pt x="76821" y="37800"/>
                    <a:pt x="76906" y="37789"/>
                  </a:cubicBezTo>
                  <a:moveTo>
                    <a:pt x="106195" y="24982"/>
                  </a:moveTo>
                  <a:cubicBezTo>
                    <a:pt x="105870" y="32003"/>
                    <a:pt x="111299" y="37959"/>
                    <a:pt x="118323" y="38282"/>
                  </a:cubicBezTo>
                  <a:cubicBezTo>
                    <a:pt x="118565" y="38292"/>
                    <a:pt x="118810" y="38298"/>
                    <a:pt x="119055" y="38295"/>
                  </a:cubicBezTo>
                  <a:cubicBezTo>
                    <a:pt x="123824" y="38492"/>
                    <a:pt x="128193" y="35651"/>
                    <a:pt x="129945" y="31212"/>
                  </a:cubicBezTo>
                  <a:cubicBezTo>
                    <a:pt x="130238" y="30387"/>
                    <a:pt x="129706" y="29828"/>
                    <a:pt x="128880" y="29828"/>
                  </a:cubicBezTo>
                  <a:lnTo>
                    <a:pt x="127043" y="29828"/>
                  </a:lnTo>
                  <a:cubicBezTo>
                    <a:pt x="126409" y="29817"/>
                    <a:pt x="125840" y="30214"/>
                    <a:pt x="125632" y="30813"/>
                  </a:cubicBezTo>
                  <a:cubicBezTo>
                    <a:pt x="124357" y="33217"/>
                    <a:pt x="121766" y="34623"/>
                    <a:pt x="119055" y="34381"/>
                  </a:cubicBezTo>
                  <a:cubicBezTo>
                    <a:pt x="115256" y="34477"/>
                    <a:pt x="111914" y="31881"/>
                    <a:pt x="111068" y="28177"/>
                  </a:cubicBezTo>
                  <a:cubicBezTo>
                    <a:pt x="110775" y="27059"/>
                    <a:pt x="111467" y="26340"/>
                    <a:pt x="112638" y="26340"/>
                  </a:cubicBezTo>
                  <a:lnTo>
                    <a:pt x="129173" y="26340"/>
                  </a:lnTo>
                  <a:cubicBezTo>
                    <a:pt x="130025" y="26398"/>
                    <a:pt x="130763" y="25757"/>
                    <a:pt x="130821" y="24905"/>
                  </a:cubicBezTo>
                  <a:cubicBezTo>
                    <a:pt x="130824" y="24859"/>
                    <a:pt x="130824" y="24814"/>
                    <a:pt x="130824" y="24769"/>
                  </a:cubicBezTo>
                  <a:cubicBezTo>
                    <a:pt x="131194" y="18072"/>
                    <a:pt x="126069" y="12345"/>
                    <a:pt x="119372" y="11975"/>
                  </a:cubicBezTo>
                  <a:cubicBezTo>
                    <a:pt x="119266" y="11970"/>
                    <a:pt x="119162" y="11964"/>
                    <a:pt x="119055" y="11962"/>
                  </a:cubicBezTo>
                  <a:cubicBezTo>
                    <a:pt x="112071" y="11871"/>
                    <a:pt x="106336" y="17460"/>
                    <a:pt x="106245" y="24444"/>
                  </a:cubicBezTo>
                  <a:cubicBezTo>
                    <a:pt x="106243" y="24614"/>
                    <a:pt x="106243" y="24785"/>
                    <a:pt x="106248" y="24955"/>
                  </a:cubicBezTo>
                  <a:moveTo>
                    <a:pt x="111707" y="20535"/>
                  </a:moveTo>
                  <a:cubicBezTo>
                    <a:pt x="113006" y="17676"/>
                    <a:pt x="115860" y="15841"/>
                    <a:pt x="119002" y="15849"/>
                  </a:cubicBezTo>
                  <a:cubicBezTo>
                    <a:pt x="122038" y="15844"/>
                    <a:pt x="124751" y="17737"/>
                    <a:pt x="125792" y="20589"/>
                  </a:cubicBezTo>
                  <a:cubicBezTo>
                    <a:pt x="126218" y="21760"/>
                    <a:pt x="125526" y="22532"/>
                    <a:pt x="124327" y="22532"/>
                  </a:cubicBezTo>
                  <a:lnTo>
                    <a:pt x="113065" y="22532"/>
                  </a:lnTo>
                  <a:cubicBezTo>
                    <a:pt x="111786" y="22532"/>
                    <a:pt x="111121" y="21707"/>
                    <a:pt x="111707" y="20589"/>
                  </a:cubicBezTo>
                  <a:moveTo>
                    <a:pt x="135670" y="16408"/>
                  </a:moveTo>
                  <a:lnTo>
                    <a:pt x="137720" y="16408"/>
                  </a:lnTo>
                  <a:cubicBezTo>
                    <a:pt x="137971" y="16392"/>
                    <a:pt x="138184" y="16584"/>
                    <a:pt x="138200" y="16832"/>
                  </a:cubicBezTo>
                  <a:cubicBezTo>
                    <a:pt x="138200" y="16850"/>
                    <a:pt x="138200" y="16869"/>
                    <a:pt x="138200" y="16888"/>
                  </a:cubicBezTo>
                  <a:lnTo>
                    <a:pt x="138200" y="30414"/>
                  </a:lnTo>
                  <a:cubicBezTo>
                    <a:pt x="138200" y="36218"/>
                    <a:pt x="141475" y="38401"/>
                    <a:pt x="145495" y="38401"/>
                  </a:cubicBezTo>
                  <a:cubicBezTo>
                    <a:pt x="147564" y="38404"/>
                    <a:pt x="149622" y="38079"/>
                    <a:pt x="151592" y="37443"/>
                  </a:cubicBezTo>
                  <a:cubicBezTo>
                    <a:pt x="152090" y="37059"/>
                    <a:pt x="152239" y="36373"/>
                    <a:pt x="151939" y="35819"/>
                  </a:cubicBezTo>
                  <a:lnTo>
                    <a:pt x="151779" y="34354"/>
                  </a:lnTo>
                  <a:cubicBezTo>
                    <a:pt x="151779" y="33529"/>
                    <a:pt x="151140" y="33183"/>
                    <a:pt x="150314" y="33476"/>
                  </a:cubicBezTo>
                  <a:cubicBezTo>
                    <a:pt x="148837" y="33963"/>
                    <a:pt x="147292" y="34216"/>
                    <a:pt x="145735" y="34221"/>
                  </a:cubicBezTo>
                  <a:cubicBezTo>
                    <a:pt x="143472" y="34221"/>
                    <a:pt x="142247" y="32996"/>
                    <a:pt x="142247" y="30281"/>
                  </a:cubicBezTo>
                  <a:lnTo>
                    <a:pt x="142247" y="16834"/>
                  </a:lnTo>
                  <a:cubicBezTo>
                    <a:pt x="142231" y="16584"/>
                    <a:pt x="142423" y="16371"/>
                    <a:pt x="142670" y="16355"/>
                  </a:cubicBezTo>
                  <a:cubicBezTo>
                    <a:pt x="142689" y="16355"/>
                    <a:pt x="142707" y="16355"/>
                    <a:pt x="142726" y="16355"/>
                  </a:cubicBezTo>
                  <a:lnTo>
                    <a:pt x="150714" y="16355"/>
                  </a:lnTo>
                  <a:cubicBezTo>
                    <a:pt x="151329" y="16416"/>
                    <a:pt x="151877" y="15969"/>
                    <a:pt x="151939" y="15354"/>
                  </a:cubicBezTo>
                  <a:cubicBezTo>
                    <a:pt x="151947" y="15279"/>
                    <a:pt x="151947" y="15205"/>
                    <a:pt x="151939" y="15130"/>
                  </a:cubicBezTo>
                  <a:lnTo>
                    <a:pt x="151939" y="13666"/>
                  </a:lnTo>
                  <a:cubicBezTo>
                    <a:pt x="152003" y="13067"/>
                    <a:pt x="151569" y="12529"/>
                    <a:pt x="150969" y="12465"/>
                  </a:cubicBezTo>
                  <a:cubicBezTo>
                    <a:pt x="150884" y="12457"/>
                    <a:pt x="150799" y="12457"/>
                    <a:pt x="150714" y="12468"/>
                  </a:cubicBezTo>
                  <a:lnTo>
                    <a:pt x="142726" y="12468"/>
                  </a:lnTo>
                  <a:cubicBezTo>
                    <a:pt x="142462" y="12468"/>
                    <a:pt x="142247" y="12255"/>
                    <a:pt x="142247" y="11988"/>
                  </a:cubicBezTo>
                  <a:cubicBezTo>
                    <a:pt x="142247" y="11980"/>
                    <a:pt x="142247" y="11970"/>
                    <a:pt x="142247" y="11962"/>
                  </a:cubicBezTo>
                  <a:lnTo>
                    <a:pt x="142247" y="6636"/>
                  </a:lnTo>
                  <a:cubicBezTo>
                    <a:pt x="142247" y="5811"/>
                    <a:pt x="141767" y="5332"/>
                    <a:pt x="140889" y="5571"/>
                  </a:cubicBezTo>
                  <a:lnTo>
                    <a:pt x="138839" y="6104"/>
                  </a:lnTo>
                  <a:cubicBezTo>
                    <a:pt x="138200" y="6224"/>
                    <a:pt x="137760" y="6815"/>
                    <a:pt x="137827" y="7462"/>
                  </a:cubicBezTo>
                  <a:lnTo>
                    <a:pt x="137827" y="11855"/>
                  </a:lnTo>
                  <a:cubicBezTo>
                    <a:pt x="137843" y="12119"/>
                    <a:pt x="137640" y="12345"/>
                    <a:pt x="137377" y="12361"/>
                  </a:cubicBezTo>
                  <a:cubicBezTo>
                    <a:pt x="137358" y="12361"/>
                    <a:pt x="137340" y="12361"/>
                    <a:pt x="137321" y="12361"/>
                  </a:cubicBezTo>
                  <a:lnTo>
                    <a:pt x="135138" y="12361"/>
                  </a:lnTo>
                  <a:cubicBezTo>
                    <a:pt x="134539" y="12284"/>
                    <a:pt x="133993" y="12707"/>
                    <a:pt x="133915" y="13304"/>
                  </a:cubicBezTo>
                  <a:cubicBezTo>
                    <a:pt x="133905" y="13389"/>
                    <a:pt x="133905" y="13474"/>
                    <a:pt x="133913" y="13559"/>
                  </a:cubicBezTo>
                  <a:lnTo>
                    <a:pt x="133913" y="15024"/>
                  </a:lnTo>
                  <a:cubicBezTo>
                    <a:pt x="133851" y="15639"/>
                    <a:pt x="134299" y="16187"/>
                    <a:pt x="134914" y="16248"/>
                  </a:cubicBezTo>
                  <a:cubicBezTo>
                    <a:pt x="134988" y="16257"/>
                    <a:pt x="135063" y="16257"/>
                    <a:pt x="135138" y="16248"/>
                  </a:cubicBezTo>
                  <a:moveTo>
                    <a:pt x="168820" y="24023"/>
                  </a:moveTo>
                  <a:cubicBezTo>
                    <a:pt x="168758" y="24638"/>
                    <a:pt x="169206" y="25187"/>
                    <a:pt x="169821" y="25248"/>
                  </a:cubicBezTo>
                  <a:cubicBezTo>
                    <a:pt x="169895" y="25256"/>
                    <a:pt x="169970" y="25256"/>
                    <a:pt x="170044" y="25248"/>
                  </a:cubicBezTo>
                  <a:lnTo>
                    <a:pt x="175609" y="25248"/>
                  </a:lnTo>
                  <a:cubicBezTo>
                    <a:pt x="176134" y="25187"/>
                    <a:pt x="176613" y="25562"/>
                    <a:pt x="176674" y="26087"/>
                  </a:cubicBezTo>
                  <a:cubicBezTo>
                    <a:pt x="176682" y="26161"/>
                    <a:pt x="176682" y="26239"/>
                    <a:pt x="176674" y="26313"/>
                  </a:cubicBezTo>
                  <a:lnTo>
                    <a:pt x="176674" y="31772"/>
                  </a:lnTo>
                  <a:cubicBezTo>
                    <a:pt x="176581" y="32352"/>
                    <a:pt x="176975" y="32898"/>
                    <a:pt x="177556" y="32994"/>
                  </a:cubicBezTo>
                  <a:cubicBezTo>
                    <a:pt x="177659" y="33010"/>
                    <a:pt x="177769" y="33010"/>
                    <a:pt x="177872" y="32996"/>
                  </a:cubicBezTo>
                  <a:lnTo>
                    <a:pt x="179230" y="32996"/>
                  </a:lnTo>
                  <a:cubicBezTo>
                    <a:pt x="179846" y="33058"/>
                    <a:pt x="180394" y="32610"/>
                    <a:pt x="180455" y="31995"/>
                  </a:cubicBezTo>
                  <a:cubicBezTo>
                    <a:pt x="180463" y="31921"/>
                    <a:pt x="180463" y="31846"/>
                    <a:pt x="180455" y="31772"/>
                  </a:cubicBezTo>
                  <a:lnTo>
                    <a:pt x="180455" y="26313"/>
                  </a:lnTo>
                  <a:cubicBezTo>
                    <a:pt x="180410" y="25770"/>
                    <a:pt x="180812" y="25293"/>
                    <a:pt x="181353" y="25248"/>
                  </a:cubicBezTo>
                  <a:cubicBezTo>
                    <a:pt x="181408" y="25243"/>
                    <a:pt x="181464" y="25243"/>
                    <a:pt x="181520" y="25248"/>
                  </a:cubicBezTo>
                  <a:lnTo>
                    <a:pt x="186979" y="25248"/>
                  </a:lnTo>
                  <a:cubicBezTo>
                    <a:pt x="187594" y="25309"/>
                    <a:pt x="188142" y="24862"/>
                    <a:pt x="188203" y="24247"/>
                  </a:cubicBezTo>
                  <a:cubicBezTo>
                    <a:pt x="188211" y="24172"/>
                    <a:pt x="188211" y="24098"/>
                    <a:pt x="188203" y="24023"/>
                  </a:cubicBezTo>
                  <a:lnTo>
                    <a:pt x="188203" y="22665"/>
                  </a:lnTo>
                  <a:cubicBezTo>
                    <a:pt x="188267" y="22066"/>
                    <a:pt x="187833" y="21528"/>
                    <a:pt x="187234" y="21465"/>
                  </a:cubicBezTo>
                  <a:cubicBezTo>
                    <a:pt x="187149" y="21457"/>
                    <a:pt x="187064" y="21457"/>
                    <a:pt x="186979" y="21467"/>
                  </a:cubicBezTo>
                  <a:lnTo>
                    <a:pt x="181520" y="21467"/>
                  </a:lnTo>
                  <a:cubicBezTo>
                    <a:pt x="180977" y="21515"/>
                    <a:pt x="180500" y="21113"/>
                    <a:pt x="180453" y="20573"/>
                  </a:cubicBezTo>
                  <a:cubicBezTo>
                    <a:pt x="180447" y="20506"/>
                    <a:pt x="180447" y="20439"/>
                    <a:pt x="180455" y="20376"/>
                  </a:cubicBezTo>
                  <a:lnTo>
                    <a:pt x="180455" y="15050"/>
                  </a:lnTo>
                  <a:cubicBezTo>
                    <a:pt x="180535" y="14454"/>
                    <a:pt x="180114" y="13905"/>
                    <a:pt x="179515" y="13825"/>
                  </a:cubicBezTo>
                  <a:cubicBezTo>
                    <a:pt x="179422" y="13812"/>
                    <a:pt x="179326" y="13812"/>
                    <a:pt x="179230" y="13825"/>
                  </a:cubicBezTo>
                  <a:lnTo>
                    <a:pt x="177846" y="13825"/>
                  </a:lnTo>
                  <a:cubicBezTo>
                    <a:pt x="177266" y="13730"/>
                    <a:pt x="176717" y="14121"/>
                    <a:pt x="176621" y="14702"/>
                  </a:cubicBezTo>
                  <a:cubicBezTo>
                    <a:pt x="176602" y="14819"/>
                    <a:pt x="176602" y="14936"/>
                    <a:pt x="176621" y="15050"/>
                  </a:cubicBezTo>
                  <a:lnTo>
                    <a:pt x="176621" y="20376"/>
                  </a:lnTo>
                  <a:cubicBezTo>
                    <a:pt x="176698" y="20900"/>
                    <a:pt x="176336" y="21387"/>
                    <a:pt x="175814" y="21465"/>
                  </a:cubicBezTo>
                  <a:cubicBezTo>
                    <a:pt x="175729" y="21478"/>
                    <a:pt x="175641" y="21478"/>
                    <a:pt x="175556" y="21467"/>
                  </a:cubicBezTo>
                  <a:lnTo>
                    <a:pt x="170044" y="21467"/>
                  </a:lnTo>
                  <a:cubicBezTo>
                    <a:pt x="169445" y="21390"/>
                    <a:pt x="168899" y="21813"/>
                    <a:pt x="168822" y="22410"/>
                  </a:cubicBezTo>
                  <a:cubicBezTo>
                    <a:pt x="168812" y="22495"/>
                    <a:pt x="168812" y="22580"/>
                    <a:pt x="168820" y="22665"/>
                  </a:cubicBezTo>
                  <a:close/>
                  <a:moveTo>
                    <a:pt x="209185" y="48360"/>
                  </a:moveTo>
                  <a:lnTo>
                    <a:pt x="210995" y="48360"/>
                  </a:lnTo>
                  <a:cubicBezTo>
                    <a:pt x="211595" y="48421"/>
                    <a:pt x="212132" y="47987"/>
                    <a:pt x="212194" y="47385"/>
                  </a:cubicBezTo>
                  <a:cubicBezTo>
                    <a:pt x="212202" y="47311"/>
                    <a:pt x="212202" y="47236"/>
                    <a:pt x="212194" y="47161"/>
                  </a:cubicBezTo>
                  <a:lnTo>
                    <a:pt x="212194" y="37070"/>
                  </a:lnTo>
                  <a:cubicBezTo>
                    <a:pt x="212194" y="35659"/>
                    <a:pt x="212966" y="35366"/>
                    <a:pt x="214137" y="36192"/>
                  </a:cubicBezTo>
                  <a:cubicBezTo>
                    <a:pt x="216233" y="37528"/>
                    <a:pt x="218682" y="38207"/>
                    <a:pt x="221167" y="38135"/>
                  </a:cubicBezTo>
                  <a:cubicBezTo>
                    <a:pt x="228284" y="38066"/>
                    <a:pt x="233998" y="32240"/>
                    <a:pt x="233926" y="25123"/>
                  </a:cubicBezTo>
                  <a:cubicBezTo>
                    <a:pt x="233926" y="25022"/>
                    <a:pt x="233923" y="24923"/>
                    <a:pt x="233921" y="24822"/>
                  </a:cubicBezTo>
                  <a:cubicBezTo>
                    <a:pt x="234067" y="17766"/>
                    <a:pt x="228468" y="11924"/>
                    <a:pt x="221409" y="11778"/>
                  </a:cubicBezTo>
                  <a:cubicBezTo>
                    <a:pt x="221356" y="11775"/>
                    <a:pt x="221300" y="11775"/>
                    <a:pt x="221247" y="11775"/>
                  </a:cubicBezTo>
                  <a:cubicBezTo>
                    <a:pt x="218469" y="11695"/>
                    <a:pt x="215748" y="12558"/>
                    <a:pt x="213525" y="14225"/>
                  </a:cubicBezTo>
                  <a:cubicBezTo>
                    <a:pt x="212433" y="15050"/>
                    <a:pt x="211608" y="14864"/>
                    <a:pt x="211368" y="13479"/>
                  </a:cubicBezTo>
                  <a:lnTo>
                    <a:pt x="211368" y="13479"/>
                  </a:lnTo>
                  <a:cubicBezTo>
                    <a:pt x="211312" y="12814"/>
                    <a:pt x="210732" y="12316"/>
                    <a:pt x="210064" y="12361"/>
                  </a:cubicBezTo>
                  <a:lnTo>
                    <a:pt x="209185" y="12361"/>
                  </a:lnTo>
                  <a:cubicBezTo>
                    <a:pt x="208586" y="12284"/>
                    <a:pt x="208040" y="12707"/>
                    <a:pt x="207963" y="13304"/>
                  </a:cubicBezTo>
                  <a:cubicBezTo>
                    <a:pt x="207952" y="13389"/>
                    <a:pt x="207952" y="13474"/>
                    <a:pt x="207960" y="13559"/>
                  </a:cubicBezTo>
                  <a:lnTo>
                    <a:pt x="207960" y="47161"/>
                  </a:lnTo>
                  <a:cubicBezTo>
                    <a:pt x="207896" y="47760"/>
                    <a:pt x="208330" y="48298"/>
                    <a:pt x="208929" y="48362"/>
                  </a:cubicBezTo>
                  <a:cubicBezTo>
                    <a:pt x="209014" y="48370"/>
                    <a:pt x="209100" y="48370"/>
                    <a:pt x="209185" y="48360"/>
                  </a:cubicBezTo>
                  <a:moveTo>
                    <a:pt x="212540" y="28017"/>
                  </a:moveTo>
                  <a:lnTo>
                    <a:pt x="212540" y="21947"/>
                  </a:lnTo>
                  <a:cubicBezTo>
                    <a:pt x="212500" y="21206"/>
                    <a:pt x="212686" y="20474"/>
                    <a:pt x="213072" y="19843"/>
                  </a:cubicBezTo>
                  <a:cubicBezTo>
                    <a:pt x="214744" y="17260"/>
                    <a:pt x="217636" y="15727"/>
                    <a:pt x="220714" y="15796"/>
                  </a:cubicBezTo>
                  <a:cubicBezTo>
                    <a:pt x="225571" y="15985"/>
                    <a:pt x="229370" y="20045"/>
                    <a:pt x="229234" y="24902"/>
                  </a:cubicBezTo>
                  <a:cubicBezTo>
                    <a:pt x="229445" y="29825"/>
                    <a:pt x="225637" y="33992"/>
                    <a:pt x="220714" y="34221"/>
                  </a:cubicBezTo>
                  <a:cubicBezTo>
                    <a:pt x="217620" y="34304"/>
                    <a:pt x="214712" y="32746"/>
                    <a:pt x="213072" y="30121"/>
                  </a:cubicBezTo>
                  <a:cubicBezTo>
                    <a:pt x="212686" y="29490"/>
                    <a:pt x="212500" y="28757"/>
                    <a:pt x="212540" y="28017"/>
                  </a:cubicBezTo>
                  <a:moveTo>
                    <a:pt x="238740" y="24849"/>
                  </a:moveTo>
                  <a:cubicBezTo>
                    <a:pt x="238415" y="31870"/>
                    <a:pt x="243844" y="37826"/>
                    <a:pt x="250868" y="38148"/>
                  </a:cubicBezTo>
                  <a:cubicBezTo>
                    <a:pt x="251110" y="38159"/>
                    <a:pt x="251355" y="38165"/>
                    <a:pt x="251600" y="38162"/>
                  </a:cubicBezTo>
                  <a:cubicBezTo>
                    <a:pt x="256369" y="38359"/>
                    <a:pt x="260738" y="35518"/>
                    <a:pt x="262491" y="31079"/>
                  </a:cubicBezTo>
                  <a:cubicBezTo>
                    <a:pt x="262783" y="30254"/>
                    <a:pt x="262251" y="29695"/>
                    <a:pt x="261425" y="29695"/>
                  </a:cubicBezTo>
                  <a:lnTo>
                    <a:pt x="259588" y="29695"/>
                  </a:lnTo>
                  <a:cubicBezTo>
                    <a:pt x="258955" y="29684"/>
                    <a:pt x="258385" y="30081"/>
                    <a:pt x="258177" y="30680"/>
                  </a:cubicBezTo>
                  <a:cubicBezTo>
                    <a:pt x="256907" y="33090"/>
                    <a:pt x="254311" y="34498"/>
                    <a:pt x="251600" y="34248"/>
                  </a:cubicBezTo>
                  <a:cubicBezTo>
                    <a:pt x="247801" y="34344"/>
                    <a:pt x="244459" y="31748"/>
                    <a:pt x="243612" y="28044"/>
                  </a:cubicBezTo>
                  <a:cubicBezTo>
                    <a:pt x="243320" y="26926"/>
                    <a:pt x="244012" y="26207"/>
                    <a:pt x="245184" y="26207"/>
                  </a:cubicBezTo>
                  <a:lnTo>
                    <a:pt x="261718" y="26207"/>
                  </a:lnTo>
                  <a:cubicBezTo>
                    <a:pt x="262570" y="26265"/>
                    <a:pt x="263308" y="25624"/>
                    <a:pt x="263366" y="24774"/>
                  </a:cubicBezTo>
                  <a:cubicBezTo>
                    <a:pt x="263369" y="24726"/>
                    <a:pt x="263369" y="24681"/>
                    <a:pt x="263369" y="24636"/>
                  </a:cubicBezTo>
                  <a:cubicBezTo>
                    <a:pt x="263739" y="17939"/>
                    <a:pt x="258611" y="12212"/>
                    <a:pt x="251917" y="11842"/>
                  </a:cubicBezTo>
                  <a:cubicBezTo>
                    <a:pt x="251811" y="11837"/>
                    <a:pt x="251707" y="11831"/>
                    <a:pt x="251600" y="11829"/>
                  </a:cubicBezTo>
                  <a:cubicBezTo>
                    <a:pt x="244616" y="11738"/>
                    <a:pt x="238881" y="17327"/>
                    <a:pt x="238791" y="24311"/>
                  </a:cubicBezTo>
                  <a:cubicBezTo>
                    <a:pt x="238788" y="24481"/>
                    <a:pt x="238788" y="24652"/>
                    <a:pt x="238793" y="24822"/>
                  </a:cubicBezTo>
                  <a:moveTo>
                    <a:pt x="244118" y="20402"/>
                  </a:moveTo>
                  <a:cubicBezTo>
                    <a:pt x="245418" y="17542"/>
                    <a:pt x="248272" y="15708"/>
                    <a:pt x="251414" y="15716"/>
                  </a:cubicBezTo>
                  <a:cubicBezTo>
                    <a:pt x="254449" y="15711"/>
                    <a:pt x="257163" y="17604"/>
                    <a:pt x="258204" y="20455"/>
                  </a:cubicBezTo>
                  <a:cubicBezTo>
                    <a:pt x="258630" y="21627"/>
                    <a:pt x="257964" y="22399"/>
                    <a:pt x="256739" y="22399"/>
                  </a:cubicBezTo>
                  <a:lnTo>
                    <a:pt x="245476" y="22399"/>
                  </a:lnTo>
                  <a:cubicBezTo>
                    <a:pt x="244225" y="22399"/>
                    <a:pt x="243533" y="21574"/>
                    <a:pt x="244118" y="20455"/>
                  </a:cubicBezTo>
                  <a:moveTo>
                    <a:pt x="268082" y="24875"/>
                  </a:moveTo>
                  <a:cubicBezTo>
                    <a:pt x="267920" y="32064"/>
                    <a:pt x="273615" y="38026"/>
                    <a:pt x="280801" y="38188"/>
                  </a:cubicBezTo>
                  <a:cubicBezTo>
                    <a:pt x="281001" y="38194"/>
                    <a:pt x="281198" y="38194"/>
                    <a:pt x="281395" y="38188"/>
                  </a:cubicBezTo>
                  <a:cubicBezTo>
                    <a:pt x="288584" y="38351"/>
                    <a:pt x="294546" y="32658"/>
                    <a:pt x="294708" y="25469"/>
                  </a:cubicBezTo>
                  <a:cubicBezTo>
                    <a:pt x="294713" y="25269"/>
                    <a:pt x="294713" y="25072"/>
                    <a:pt x="294708" y="24875"/>
                  </a:cubicBezTo>
                  <a:cubicBezTo>
                    <a:pt x="294785" y="17774"/>
                    <a:pt x="289093" y="11954"/>
                    <a:pt x="281989" y="11874"/>
                  </a:cubicBezTo>
                  <a:cubicBezTo>
                    <a:pt x="281792" y="11871"/>
                    <a:pt x="281592" y="11874"/>
                    <a:pt x="281395" y="11882"/>
                  </a:cubicBezTo>
                  <a:cubicBezTo>
                    <a:pt x="274281" y="11647"/>
                    <a:pt x="268324" y="17223"/>
                    <a:pt x="268087" y="24335"/>
                  </a:cubicBezTo>
                  <a:cubicBezTo>
                    <a:pt x="268082" y="24516"/>
                    <a:pt x="268079" y="24694"/>
                    <a:pt x="268082" y="24875"/>
                  </a:cubicBezTo>
                  <a:moveTo>
                    <a:pt x="272662" y="25035"/>
                  </a:moveTo>
                  <a:cubicBezTo>
                    <a:pt x="272427" y="20189"/>
                    <a:pt x="276166" y="16067"/>
                    <a:pt x="281012" y="15833"/>
                  </a:cubicBezTo>
                  <a:cubicBezTo>
                    <a:pt x="281185" y="15825"/>
                    <a:pt x="281355" y="15820"/>
                    <a:pt x="281528" y="15822"/>
                  </a:cubicBezTo>
                  <a:cubicBezTo>
                    <a:pt x="286395" y="15817"/>
                    <a:pt x="290347" y="19760"/>
                    <a:pt x="290349" y="24628"/>
                  </a:cubicBezTo>
                  <a:cubicBezTo>
                    <a:pt x="290352" y="24764"/>
                    <a:pt x="290347" y="24899"/>
                    <a:pt x="290341" y="25035"/>
                  </a:cubicBezTo>
                  <a:cubicBezTo>
                    <a:pt x="290546" y="29913"/>
                    <a:pt x="286760" y="34035"/>
                    <a:pt x="281882" y="34240"/>
                  </a:cubicBezTo>
                  <a:cubicBezTo>
                    <a:pt x="281765" y="34245"/>
                    <a:pt x="281645" y="34248"/>
                    <a:pt x="281528" y="34248"/>
                  </a:cubicBezTo>
                  <a:cubicBezTo>
                    <a:pt x="276645" y="34266"/>
                    <a:pt x="272672" y="30326"/>
                    <a:pt x="272654" y="25442"/>
                  </a:cubicBezTo>
                  <a:cubicBezTo>
                    <a:pt x="272654" y="25307"/>
                    <a:pt x="272656" y="25171"/>
                    <a:pt x="272662" y="25035"/>
                  </a:cubicBezTo>
                  <a:moveTo>
                    <a:pt x="302749" y="48386"/>
                  </a:moveTo>
                  <a:lnTo>
                    <a:pt x="304533" y="48386"/>
                  </a:lnTo>
                  <a:cubicBezTo>
                    <a:pt x="305132" y="48463"/>
                    <a:pt x="305678" y="48040"/>
                    <a:pt x="305755" y="47444"/>
                  </a:cubicBezTo>
                  <a:cubicBezTo>
                    <a:pt x="305766" y="47359"/>
                    <a:pt x="305766" y="47273"/>
                    <a:pt x="305758" y="47188"/>
                  </a:cubicBezTo>
                  <a:lnTo>
                    <a:pt x="305758" y="37097"/>
                  </a:lnTo>
                  <a:cubicBezTo>
                    <a:pt x="305758" y="35686"/>
                    <a:pt x="306530" y="35393"/>
                    <a:pt x="307702" y="36218"/>
                  </a:cubicBezTo>
                  <a:cubicBezTo>
                    <a:pt x="309795" y="37560"/>
                    <a:pt x="312247" y="38236"/>
                    <a:pt x="314731" y="38162"/>
                  </a:cubicBezTo>
                  <a:cubicBezTo>
                    <a:pt x="321861" y="38077"/>
                    <a:pt x="327575" y="32227"/>
                    <a:pt x="327490" y="25096"/>
                  </a:cubicBezTo>
                  <a:cubicBezTo>
                    <a:pt x="327490" y="25014"/>
                    <a:pt x="327488" y="24931"/>
                    <a:pt x="327485" y="24849"/>
                  </a:cubicBezTo>
                  <a:cubicBezTo>
                    <a:pt x="327631" y="17793"/>
                    <a:pt x="322032" y="11951"/>
                    <a:pt x="314973" y="11805"/>
                  </a:cubicBezTo>
                  <a:cubicBezTo>
                    <a:pt x="314920" y="11802"/>
                    <a:pt x="314864" y="11802"/>
                    <a:pt x="314811" y="11802"/>
                  </a:cubicBezTo>
                  <a:cubicBezTo>
                    <a:pt x="312026" y="11725"/>
                    <a:pt x="309297" y="12587"/>
                    <a:pt x="307063" y="14252"/>
                  </a:cubicBezTo>
                  <a:cubicBezTo>
                    <a:pt x="305998" y="15077"/>
                    <a:pt x="305172" y="14891"/>
                    <a:pt x="304933" y="13506"/>
                  </a:cubicBezTo>
                  <a:lnTo>
                    <a:pt x="304933" y="13506"/>
                  </a:lnTo>
                  <a:cubicBezTo>
                    <a:pt x="304877" y="12840"/>
                    <a:pt x="304296" y="12342"/>
                    <a:pt x="303628" y="12388"/>
                  </a:cubicBezTo>
                  <a:lnTo>
                    <a:pt x="302749" y="12388"/>
                  </a:lnTo>
                  <a:cubicBezTo>
                    <a:pt x="302150" y="12310"/>
                    <a:pt x="301604" y="12734"/>
                    <a:pt x="301527" y="13330"/>
                  </a:cubicBezTo>
                  <a:cubicBezTo>
                    <a:pt x="301516" y="13415"/>
                    <a:pt x="301516" y="13501"/>
                    <a:pt x="301524" y="13586"/>
                  </a:cubicBezTo>
                  <a:lnTo>
                    <a:pt x="301524" y="47188"/>
                  </a:lnTo>
                  <a:cubicBezTo>
                    <a:pt x="301461" y="47787"/>
                    <a:pt x="301894" y="48325"/>
                    <a:pt x="302494" y="48389"/>
                  </a:cubicBezTo>
                  <a:cubicBezTo>
                    <a:pt x="302579" y="48397"/>
                    <a:pt x="302664" y="48397"/>
                    <a:pt x="302749" y="48386"/>
                  </a:cubicBezTo>
                  <a:moveTo>
                    <a:pt x="306104" y="28044"/>
                  </a:moveTo>
                  <a:lnTo>
                    <a:pt x="306104" y="21973"/>
                  </a:lnTo>
                  <a:cubicBezTo>
                    <a:pt x="306051" y="21233"/>
                    <a:pt x="306237" y="20495"/>
                    <a:pt x="306637" y="19870"/>
                  </a:cubicBezTo>
                  <a:cubicBezTo>
                    <a:pt x="308306" y="17282"/>
                    <a:pt x="311200" y="15748"/>
                    <a:pt x="314278" y="15822"/>
                  </a:cubicBezTo>
                  <a:cubicBezTo>
                    <a:pt x="319135" y="16012"/>
                    <a:pt x="322935" y="20072"/>
                    <a:pt x="322799" y="24929"/>
                  </a:cubicBezTo>
                  <a:cubicBezTo>
                    <a:pt x="323009" y="29852"/>
                    <a:pt x="319201" y="34019"/>
                    <a:pt x="314278" y="34248"/>
                  </a:cubicBezTo>
                  <a:cubicBezTo>
                    <a:pt x="311184" y="34338"/>
                    <a:pt x="308274" y="32775"/>
                    <a:pt x="306637" y="30147"/>
                  </a:cubicBezTo>
                  <a:cubicBezTo>
                    <a:pt x="306237" y="29522"/>
                    <a:pt x="306051" y="28784"/>
                    <a:pt x="306104" y="28044"/>
                  </a:cubicBezTo>
                  <a:moveTo>
                    <a:pt x="337496" y="-286"/>
                  </a:moveTo>
                  <a:lnTo>
                    <a:pt x="335366" y="-286"/>
                  </a:lnTo>
                  <a:cubicBezTo>
                    <a:pt x="334751" y="-348"/>
                    <a:pt x="334203" y="100"/>
                    <a:pt x="334141" y="715"/>
                  </a:cubicBezTo>
                  <a:cubicBezTo>
                    <a:pt x="334133" y="789"/>
                    <a:pt x="334133" y="864"/>
                    <a:pt x="334141" y="938"/>
                  </a:cubicBezTo>
                  <a:lnTo>
                    <a:pt x="334141" y="36484"/>
                  </a:lnTo>
                  <a:cubicBezTo>
                    <a:pt x="334078" y="37083"/>
                    <a:pt x="334511" y="37621"/>
                    <a:pt x="335111" y="37685"/>
                  </a:cubicBezTo>
                  <a:cubicBezTo>
                    <a:pt x="335196" y="37693"/>
                    <a:pt x="335281" y="37693"/>
                    <a:pt x="335366" y="37683"/>
                  </a:cubicBezTo>
                  <a:lnTo>
                    <a:pt x="337496" y="37683"/>
                  </a:lnTo>
                  <a:cubicBezTo>
                    <a:pt x="338095" y="37760"/>
                    <a:pt x="338641" y="37336"/>
                    <a:pt x="338718" y="36740"/>
                  </a:cubicBezTo>
                  <a:cubicBezTo>
                    <a:pt x="338729" y="36655"/>
                    <a:pt x="338729" y="36570"/>
                    <a:pt x="338721" y="36484"/>
                  </a:cubicBezTo>
                  <a:lnTo>
                    <a:pt x="338721" y="885"/>
                  </a:lnTo>
                  <a:cubicBezTo>
                    <a:pt x="338782" y="270"/>
                    <a:pt x="338335" y="-278"/>
                    <a:pt x="337720" y="-340"/>
                  </a:cubicBezTo>
                  <a:cubicBezTo>
                    <a:pt x="337645" y="-348"/>
                    <a:pt x="337571" y="-348"/>
                    <a:pt x="337496" y="-340"/>
                  </a:cubicBezTo>
                  <a:moveTo>
                    <a:pt x="345484" y="24822"/>
                  </a:moveTo>
                  <a:cubicBezTo>
                    <a:pt x="345159" y="31843"/>
                    <a:pt x="350588" y="37800"/>
                    <a:pt x="357612" y="38122"/>
                  </a:cubicBezTo>
                  <a:cubicBezTo>
                    <a:pt x="357855" y="38132"/>
                    <a:pt x="358100" y="38138"/>
                    <a:pt x="358345" y="38135"/>
                  </a:cubicBezTo>
                  <a:cubicBezTo>
                    <a:pt x="363113" y="38332"/>
                    <a:pt x="367483" y="35491"/>
                    <a:pt x="369235" y="31053"/>
                  </a:cubicBezTo>
                  <a:cubicBezTo>
                    <a:pt x="369528" y="30227"/>
                    <a:pt x="368995" y="29668"/>
                    <a:pt x="368170" y="29668"/>
                  </a:cubicBezTo>
                  <a:lnTo>
                    <a:pt x="366333" y="29668"/>
                  </a:lnTo>
                  <a:cubicBezTo>
                    <a:pt x="365699" y="29657"/>
                    <a:pt x="365129" y="30054"/>
                    <a:pt x="364921" y="30653"/>
                  </a:cubicBezTo>
                  <a:cubicBezTo>
                    <a:pt x="363651" y="33063"/>
                    <a:pt x="361058" y="34471"/>
                    <a:pt x="358345" y="34221"/>
                  </a:cubicBezTo>
                  <a:cubicBezTo>
                    <a:pt x="354561" y="34266"/>
                    <a:pt x="351249" y="31694"/>
                    <a:pt x="350357" y="28017"/>
                  </a:cubicBezTo>
                  <a:cubicBezTo>
                    <a:pt x="350064" y="26899"/>
                    <a:pt x="350756" y="26180"/>
                    <a:pt x="351928" y="26180"/>
                  </a:cubicBezTo>
                  <a:lnTo>
                    <a:pt x="368463" y="26180"/>
                  </a:lnTo>
                  <a:cubicBezTo>
                    <a:pt x="369315" y="26239"/>
                    <a:pt x="370052" y="25597"/>
                    <a:pt x="370111" y="24745"/>
                  </a:cubicBezTo>
                  <a:cubicBezTo>
                    <a:pt x="370113" y="24700"/>
                    <a:pt x="370113" y="24654"/>
                    <a:pt x="370113" y="24609"/>
                  </a:cubicBezTo>
                  <a:cubicBezTo>
                    <a:pt x="370483" y="17913"/>
                    <a:pt x="365358" y="12185"/>
                    <a:pt x="358661" y="11815"/>
                  </a:cubicBezTo>
                  <a:cubicBezTo>
                    <a:pt x="358566" y="11810"/>
                    <a:pt x="358467" y="11805"/>
                    <a:pt x="358371" y="11802"/>
                  </a:cubicBezTo>
                  <a:cubicBezTo>
                    <a:pt x="351371" y="11711"/>
                    <a:pt x="345625" y="17311"/>
                    <a:pt x="345535" y="24311"/>
                  </a:cubicBezTo>
                  <a:cubicBezTo>
                    <a:pt x="345532" y="24473"/>
                    <a:pt x="345532" y="24633"/>
                    <a:pt x="345538" y="24795"/>
                  </a:cubicBezTo>
                  <a:moveTo>
                    <a:pt x="350863" y="20376"/>
                  </a:moveTo>
                  <a:cubicBezTo>
                    <a:pt x="352165" y="17505"/>
                    <a:pt x="355032" y="15671"/>
                    <a:pt x="358185" y="15689"/>
                  </a:cubicBezTo>
                  <a:cubicBezTo>
                    <a:pt x="361215" y="15679"/>
                    <a:pt x="363923" y="17577"/>
                    <a:pt x="364948" y="20429"/>
                  </a:cubicBezTo>
                  <a:cubicBezTo>
                    <a:pt x="365401" y="21600"/>
                    <a:pt x="364708" y="22373"/>
                    <a:pt x="363484" y="22373"/>
                  </a:cubicBezTo>
                  <a:lnTo>
                    <a:pt x="352221" y="22373"/>
                  </a:lnTo>
                  <a:cubicBezTo>
                    <a:pt x="350969" y="22373"/>
                    <a:pt x="350277" y="21547"/>
                    <a:pt x="350863" y="20429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8" name="Freeform: Shape 257">
              <a:extLst>
                <a:ext uri="{FF2B5EF4-FFF2-40B4-BE49-F238E27FC236}">
                  <a16:creationId xmlns:a16="http://schemas.microsoft.com/office/drawing/2014/main" id="{AF868D36-759F-4F5C-9843-A8DD7B721928}"/>
                </a:ext>
              </a:extLst>
            </p:cNvPr>
            <p:cNvSpPr/>
            <p:nvPr/>
          </p:nvSpPr>
          <p:spPr>
            <a:xfrm>
              <a:off x="11848503" y="6635533"/>
              <a:ext cx="6855" cy="8973"/>
            </a:xfrm>
            <a:custGeom>
              <a:avLst/>
              <a:gdLst>
                <a:gd name="connsiteX0" fmla="*/ 992 w 12147"/>
                <a:gd name="connsiteY0" fmla="*/ 1467 h 15900"/>
                <a:gd name="connsiteX1" fmla="*/ 992 w 12147"/>
                <a:gd name="connsiteY1" fmla="*/ 295 h 15900"/>
                <a:gd name="connsiteX2" fmla="*/ 1519 w 12147"/>
                <a:gd name="connsiteY2" fmla="*/ -344 h 15900"/>
                <a:gd name="connsiteX3" fmla="*/ 1631 w 12147"/>
                <a:gd name="connsiteY3" fmla="*/ -344 h 15900"/>
                <a:gd name="connsiteX4" fmla="*/ 12521 w 12147"/>
                <a:gd name="connsiteY4" fmla="*/ -344 h 15900"/>
                <a:gd name="connsiteX5" fmla="*/ 13136 w 12147"/>
                <a:gd name="connsiteY5" fmla="*/ 213 h 15900"/>
                <a:gd name="connsiteX6" fmla="*/ 13133 w 12147"/>
                <a:gd name="connsiteY6" fmla="*/ 295 h 15900"/>
                <a:gd name="connsiteX7" fmla="*/ 13133 w 12147"/>
                <a:gd name="connsiteY7" fmla="*/ 1467 h 15900"/>
                <a:gd name="connsiteX8" fmla="*/ 12603 w 12147"/>
                <a:gd name="connsiteY8" fmla="*/ 2103 h 15900"/>
                <a:gd name="connsiteX9" fmla="*/ 12521 w 12147"/>
                <a:gd name="connsiteY9" fmla="*/ 2106 h 15900"/>
                <a:gd name="connsiteX10" fmla="*/ 8926 w 12147"/>
                <a:gd name="connsiteY10" fmla="*/ 2106 h 15900"/>
                <a:gd name="connsiteX11" fmla="*/ 8447 w 12147"/>
                <a:gd name="connsiteY11" fmla="*/ 2471 h 15900"/>
                <a:gd name="connsiteX12" fmla="*/ 8447 w 12147"/>
                <a:gd name="connsiteY12" fmla="*/ 2585 h 15900"/>
                <a:gd name="connsiteX13" fmla="*/ 8447 w 12147"/>
                <a:gd name="connsiteY13" fmla="*/ 14940 h 15900"/>
                <a:gd name="connsiteX14" fmla="*/ 7890 w 12147"/>
                <a:gd name="connsiteY14" fmla="*/ 15555 h 15900"/>
                <a:gd name="connsiteX15" fmla="*/ 7808 w 12147"/>
                <a:gd name="connsiteY15" fmla="*/ 15552 h 15900"/>
                <a:gd name="connsiteX16" fmla="*/ 6184 w 12147"/>
                <a:gd name="connsiteY16" fmla="*/ 15552 h 15900"/>
                <a:gd name="connsiteX17" fmla="*/ 5547 w 12147"/>
                <a:gd name="connsiteY17" fmla="*/ 15022 h 15900"/>
                <a:gd name="connsiteX18" fmla="*/ 5545 w 12147"/>
                <a:gd name="connsiteY18" fmla="*/ 14940 h 15900"/>
                <a:gd name="connsiteX19" fmla="*/ 5545 w 12147"/>
                <a:gd name="connsiteY19" fmla="*/ 2585 h 15900"/>
                <a:gd name="connsiteX20" fmla="*/ 5180 w 12147"/>
                <a:gd name="connsiteY20" fmla="*/ 2106 h 15900"/>
                <a:gd name="connsiteX21" fmla="*/ 5065 w 12147"/>
                <a:gd name="connsiteY21" fmla="*/ 2106 h 15900"/>
                <a:gd name="connsiteX22" fmla="*/ 1631 w 12147"/>
                <a:gd name="connsiteY22" fmla="*/ 2106 h 15900"/>
                <a:gd name="connsiteX23" fmla="*/ 992 w 12147"/>
                <a:gd name="connsiteY23" fmla="*/ 1579 h 15900"/>
                <a:gd name="connsiteX24" fmla="*/ 992 w 12147"/>
                <a:gd name="connsiteY24" fmla="*/ 1467 h 15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2147" h="15900">
                  <a:moveTo>
                    <a:pt x="992" y="1467"/>
                  </a:moveTo>
                  <a:lnTo>
                    <a:pt x="992" y="295"/>
                  </a:lnTo>
                  <a:cubicBezTo>
                    <a:pt x="960" y="-27"/>
                    <a:pt x="1197" y="-312"/>
                    <a:pt x="1519" y="-344"/>
                  </a:cubicBezTo>
                  <a:cubicBezTo>
                    <a:pt x="1556" y="-346"/>
                    <a:pt x="1593" y="-346"/>
                    <a:pt x="1631" y="-344"/>
                  </a:cubicBezTo>
                  <a:lnTo>
                    <a:pt x="12521" y="-344"/>
                  </a:lnTo>
                  <a:cubicBezTo>
                    <a:pt x="12843" y="-360"/>
                    <a:pt x="13120" y="-112"/>
                    <a:pt x="13136" y="213"/>
                  </a:cubicBezTo>
                  <a:cubicBezTo>
                    <a:pt x="13136" y="240"/>
                    <a:pt x="13136" y="269"/>
                    <a:pt x="13133" y="295"/>
                  </a:cubicBezTo>
                  <a:lnTo>
                    <a:pt x="13133" y="1467"/>
                  </a:lnTo>
                  <a:cubicBezTo>
                    <a:pt x="13163" y="1789"/>
                    <a:pt x="12925" y="2074"/>
                    <a:pt x="12603" y="2103"/>
                  </a:cubicBezTo>
                  <a:cubicBezTo>
                    <a:pt x="12577" y="2106"/>
                    <a:pt x="12547" y="2109"/>
                    <a:pt x="12521" y="2106"/>
                  </a:cubicBezTo>
                  <a:lnTo>
                    <a:pt x="8926" y="2106"/>
                  </a:lnTo>
                  <a:cubicBezTo>
                    <a:pt x="8692" y="2074"/>
                    <a:pt x="8479" y="2239"/>
                    <a:pt x="8447" y="2471"/>
                  </a:cubicBezTo>
                  <a:cubicBezTo>
                    <a:pt x="8442" y="2508"/>
                    <a:pt x="8442" y="2548"/>
                    <a:pt x="8447" y="2585"/>
                  </a:cubicBezTo>
                  <a:lnTo>
                    <a:pt x="8447" y="14940"/>
                  </a:lnTo>
                  <a:cubicBezTo>
                    <a:pt x="8463" y="15262"/>
                    <a:pt x="8215" y="15539"/>
                    <a:pt x="7890" y="15555"/>
                  </a:cubicBezTo>
                  <a:cubicBezTo>
                    <a:pt x="7864" y="15555"/>
                    <a:pt x="7835" y="15555"/>
                    <a:pt x="7808" y="15552"/>
                  </a:cubicBezTo>
                  <a:lnTo>
                    <a:pt x="6184" y="15552"/>
                  </a:lnTo>
                  <a:cubicBezTo>
                    <a:pt x="5862" y="15581"/>
                    <a:pt x="5577" y="15345"/>
                    <a:pt x="5547" y="15022"/>
                  </a:cubicBezTo>
                  <a:cubicBezTo>
                    <a:pt x="5545" y="14996"/>
                    <a:pt x="5545" y="14966"/>
                    <a:pt x="5545" y="14940"/>
                  </a:cubicBezTo>
                  <a:lnTo>
                    <a:pt x="5545" y="2585"/>
                  </a:lnTo>
                  <a:cubicBezTo>
                    <a:pt x="5577" y="2351"/>
                    <a:pt x="5412" y="2138"/>
                    <a:pt x="5180" y="2106"/>
                  </a:cubicBezTo>
                  <a:cubicBezTo>
                    <a:pt x="5143" y="2101"/>
                    <a:pt x="5103" y="2101"/>
                    <a:pt x="5065" y="2106"/>
                  </a:cubicBezTo>
                  <a:lnTo>
                    <a:pt x="1631" y="2106"/>
                  </a:lnTo>
                  <a:cubicBezTo>
                    <a:pt x="1308" y="2138"/>
                    <a:pt x="1024" y="1901"/>
                    <a:pt x="992" y="1579"/>
                  </a:cubicBezTo>
                  <a:cubicBezTo>
                    <a:pt x="989" y="1542"/>
                    <a:pt x="989" y="1504"/>
                    <a:pt x="992" y="1467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  <p:sp>
          <p:nvSpPr>
            <p:cNvPr id="259" name="Freeform: Shape 258">
              <a:extLst>
                <a:ext uri="{FF2B5EF4-FFF2-40B4-BE49-F238E27FC236}">
                  <a16:creationId xmlns:a16="http://schemas.microsoft.com/office/drawing/2014/main" id="{90A31ECB-A0E0-4743-8567-7936BE4BF0FD}"/>
                </a:ext>
              </a:extLst>
            </p:cNvPr>
            <p:cNvSpPr/>
            <p:nvPr/>
          </p:nvSpPr>
          <p:spPr>
            <a:xfrm>
              <a:off x="11857776" y="6635662"/>
              <a:ext cx="8810" cy="8977"/>
            </a:xfrm>
            <a:custGeom>
              <a:avLst/>
              <a:gdLst>
                <a:gd name="connsiteX0" fmla="*/ 991 w 15611"/>
                <a:gd name="connsiteY0" fmla="*/ 14943 h 15907"/>
                <a:gd name="connsiteX1" fmla="*/ 991 w 15611"/>
                <a:gd name="connsiteY1" fmla="*/ 458 h 15907"/>
                <a:gd name="connsiteX2" fmla="*/ 1675 w 15611"/>
                <a:gd name="connsiteY2" fmla="*/ -343 h 15907"/>
                <a:gd name="connsiteX3" fmla="*/ 1816 w 15611"/>
                <a:gd name="connsiteY3" fmla="*/ -340 h 15907"/>
                <a:gd name="connsiteX4" fmla="*/ 2668 w 15611"/>
                <a:gd name="connsiteY4" fmla="*/ -340 h 15907"/>
                <a:gd name="connsiteX5" fmla="*/ 3627 w 15611"/>
                <a:gd name="connsiteY5" fmla="*/ 192 h 15907"/>
                <a:gd name="connsiteX6" fmla="*/ 8526 w 15611"/>
                <a:gd name="connsiteY6" fmla="*/ 7381 h 15907"/>
                <a:gd name="connsiteX7" fmla="*/ 8915 w 15611"/>
                <a:gd name="connsiteY7" fmla="*/ 7525 h 15907"/>
                <a:gd name="connsiteX8" fmla="*/ 9059 w 15611"/>
                <a:gd name="connsiteY8" fmla="*/ 7381 h 15907"/>
                <a:gd name="connsiteX9" fmla="*/ 14064 w 15611"/>
                <a:gd name="connsiteY9" fmla="*/ 166 h 15907"/>
                <a:gd name="connsiteX10" fmla="*/ 15050 w 15611"/>
                <a:gd name="connsiteY10" fmla="*/ -340 h 15907"/>
                <a:gd name="connsiteX11" fmla="*/ 15795 w 15611"/>
                <a:gd name="connsiteY11" fmla="*/ -340 h 15907"/>
                <a:gd name="connsiteX12" fmla="*/ 16594 w 15611"/>
                <a:gd name="connsiteY12" fmla="*/ 288 h 15907"/>
                <a:gd name="connsiteX13" fmla="*/ 16594 w 15611"/>
                <a:gd name="connsiteY13" fmla="*/ 458 h 15907"/>
                <a:gd name="connsiteX14" fmla="*/ 16594 w 15611"/>
                <a:gd name="connsiteY14" fmla="*/ 14943 h 15907"/>
                <a:gd name="connsiteX15" fmla="*/ 16035 w 15611"/>
                <a:gd name="connsiteY15" fmla="*/ 15556 h 15907"/>
                <a:gd name="connsiteX16" fmla="*/ 15982 w 15611"/>
                <a:gd name="connsiteY16" fmla="*/ 15556 h 15907"/>
                <a:gd name="connsiteX17" fmla="*/ 14677 w 15611"/>
                <a:gd name="connsiteY17" fmla="*/ 15556 h 15907"/>
                <a:gd name="connsiteX18" fmla="*/ 14064 w 15611"/>
                <a:gd name="connsiteY18" fmla="*/ 15055 h 15907"/>
                <a:gd name="connsiteX19" fmla="*/ 14064 w 15611"/>
                <a:gd name="connsiteY19" fmla="*/ 14943 h 15907"/>
                <a:gd name="connsiteX20" fmla="*/ 14064 w 15611"/>
                <a:gd name="connsiteY20" fmla="*/ 4878 h 15907"/>
                <a:gd name="connsiteX21" fmla="*/ 13585 w 15611"/>
                <a:gd name="connsiteY21" fmla="*/ 4745 h 15907"/>
                <a:gd name="connsiteX22" fmla="*/ 9804 w 15611"/>
                <a:gd name="connsiteY22" fmla="*/ 10284 h 15907"/>
                <a:gd name="connsiteX23" fmla="*/ 8846 w 15611"/>
                <a:gd name="connsiteY23" fmla="*/ 10789 h 15907"/>
                <a:gd name="connsiteX24" fmla="*/ 8846 w 15611"/>
                <a:gd name="connsiteY24" fmla="*/ 10789 h 15907"/>
                <a:gd name="connsiteX25" fmla="*/ 7914 w 15611"/>
                <a:gd name="connsiteY25" fmla="*/ 10284 h 15907"/>
                <a:gd name="connsiteX26" fmla="*/ 4133 w 15611"/>
                <a:gd name="connsiteY26" fmla="*/ 4745 h 15907"/>
                <a:gd name="connsiteX27" fmla="*/ 3654 w 15611"/>
                <a:gd name="connsiteY27" fmla="*/ 4905 h 15907"/>
                <a:gd name="connsiteX28" fmla="*/ 3654 w 15611"/>
                <a:gd name="connsiteY28" fmla="*/ 14943 h 15907"/>
                <a:gd name="connsiteX29" fmla="*/ 3097 w 15611"/>
                <a:gd name="connsiteY29" fmla="*/ 15558 h 15907"/>
                <a:gd name="connsiteX30" fmla="*/ 3015 w 15611"/>
                <a:gd name="connsiteY30" fmla="*/ 15556 h 15907"/>
                <a:gd name="connsiteX31" fmla="*/ 1736 w 15611"/>
                <a:gd name="connsiteY31" fmla="*/ 15556 h 15907"/>
                <a:gd name="connsiteX32" fmla="*/ 1100 w 15611"/>
                <a:gd name="connsiteY32" fmla="*/ 15087 h 15907"/>
                <a:gd name="connsiteX33" fmla="*/ 1097 w 15611"/>
                <a:gd name="connsiteY33" fmla="*/ 14943 h 15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</a:cxnLst>
              <a:rect l="l" t="t" r="r" b="b"/>
              <a:pathLst>
                <a:path w="15611" h="15907">
                  <a:moveTo>
                    <a:pt x="991" y="14943"/>
                  </a:moveTo>
                  <a:lnTo>
                    <a:pt x="991" y="458"/>
                  </a:lnTo>
                  <a:cubicBezTo>
                    <a:pt x="959" y="48"/>
                    <a:pt x="1265" y="-311"/>
                    <a:pt x="1675" y="-343"/>
                  </a:cubicBezTo>
                  <a:cubicBezTo>
                    <a:pt x="1723" y="-346"/>
                    <a:pt x="1771" y="-346"/>
                    <a:pt x="1816" y="-340"/>
                  </a:cubicBezTo>
                  <a:lnTo>
                    <a:pt x="2668" y="-340"/>
                  </a:lnTo>
                  <a:cubicBezTo>
                    <a:pt x="3062" y="-359"/>
                    <a:pt x="3435" y="-154"/>
                    <a:pt x="3627" y="192"/>
                  </a:cubicBezTo>
                  <a:lnTo>
                    <a:pt x="8526" y="7381"/>
                  </a:lnTo>
                  <a:cubicBezTo>
                    <a:pt x="8593" y="7528"/>
                    <a:pt x="8768" y="7592"/>
                    <a:pt x="8915" y="7525"/>
                  </a:cubicBezTo>
                  <a:cubicBezTo>
                    <a:pt x="8979" y="7496"/>
                    <a:pt x="9029" y="7445"/>
                    <a:pt x="9059" y="7381"/>
                  </a:cubicBezTo>
                  <a:lnTo>
                    <a:pt x="14064" y="166"/>
                  </a:lnTo>
                  <a:cubicBezTo>
                    <a:pt x="14280" y="-165"/>
                    <a:pt x="14655" y="-356"/>
                    <a:pt x="15050" y="-340"/>
                  </a:cubicBezTo>
                  <a:lnTo>
                    <a:pt x="15795" y="-340"/>
                  </a:lnTo>
                  <a:cubicBezTo>
                    <a:pt x="16189" y="-388"/>
                    <a:pt x="16546" y="-106"/>
                    <a:pt x="16594" y="288"/>
                  </a:cubicBezTo>
                  <a:cubicBezTo>
                    <a:pt x="16602" y="344"/>
                    <a:pt x="16602" y="403"/>
                    <a:pt x="16594" y="458"/>
                  </a:cubicBezTo>
                  <a:lnTo>
                    <a:pt x="16594" y="14943"/>
                  </a:lnTo>
                  <a:cubicBezTo>
                    <a:pt x="16610" y="15265"/>
                    <a:pt x="16360" y="15540"/>
                    <a:pt x="16035" y="15556"/>
                  </a:cubicBezTo>
                  <a:cubicBezTo>
                    <a:pt x="16019" y="15556"/>
                    <a:pt x="16000" y="15556"/>
                    <a:pt x="15982" y="15556"/>
                  </a:cubicBezTo>
                  <a:lnTo>
                    <a:pt x="14677" y="15556"/>
                  </a:lnTo>
                  <a:cubicBezTo>
                    <a:pt x="14371" y="15587"/>
                    <a:pt x="14096" y="15364"/>
                    <a:pt x="14064" y="15055"/>
                  </a:cubicBezTo>
                  <a:cubicBezTo>
                    <a:pt x="14062" y="15018"/>
                    <a:pt x="14062" y="14980"/>
                    <a:pt x="14064" y="14943"/>
                  </a:cubicBezTo>
                  <a:lnTo>
                    <a:pt x="14064" y="4878"/>
                  </a:lnTo>
                  <a:cubicBezTo>
                    <a:pt x="14064" y="4506"/>
                    <a:pt x="13798" y="4399"/>
                    <a:pt x="13585" y="4745"/>
                  </a:cubicBezTo>
                  <a:lnTo>
                    <a:pt x="9804" y="10284"/>
                  </a:lnTo>
                  <a:cubicBezTo>
                    <a:pt x="9602" y="10614"/>
                    <a:pt x="9234" y="10808"/>
                    <a:pt x="8846" y="10789"/>
                  </a:cubicBezTo>
                  <a:lnTo>
                    <a:pt x="8846" y="10789"/>
                  </a:lnTo>
                  <a:cubicBezTo>
                    <a:pt x="8465" y="10803"/>
                    <a:pt x="8108" y="10611"/>
                    <a:pt x="7914" y="10284"/>
                  </a:cubicBezTo>
                  <a:lnTo>
                    <a:pt x="4133" y="4745"/>
                  </a:lnTo>
                  <a:cubicBezTo>
                    <a:pt x="3920" y="4452"/>
                    <a:pt x="3654" y="4532"/>
                    <a:pt x="3654" y="4905"/>
                  </a:cubicBezTo>
                  <a:lnTo>
                    <a:pt x="3654" y="14943"/>
                  </a:lnTo>
                  <a:cubicBezTo>
                    <a:pt x="3670" y="15265"/>
                    <a:pt x="3422" y="15542"/>
                    <a:pt x="3097" y="15558"/>
                  </a:cubicBezTo>
                  <a:cubicBezTo>
                    <a:pt x="3071" y="15558"/>
                    <a:pt x="3041" y="15558"/>
                    <a:pt x="3015" y="15556"/>
                  </a:cubicBezTo>
                  <a:lnTo>
                    <a:pt x="1736" y="15556"/>
                  </a:lnTo>
                  <a:cubicBezTo>
                    <a:pt x="1430" y="15601"/>
                    <a:pt x="1145" y="15390"/>
                    <a:pt x="1100" y="15087"/>
                  </a:cubicBezTo>
                  <a:cubicBezTo>
                    <a:pt x="1092" y="15039"/>
                    <a:pt x="1092" y="14991"/>
                    <a:pt x="1097" y="14943"/>
                  </a:cubicBezTo>
                </a:path>
              </a:pathLst>
            </a:custGeom>
            <a:solidFill>
              <a:srgbClr val="FFFFFF"/>
            </a:solidFill>
            <a:ln w="266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pl-PL"/>
            </a:p>
          </p:txBody>
        </p:sp>
      </p:grpSp>
      <p:grpSp>
        <p:nvGrpSpPr>
          <p:cNvPr id="260" name="Group 259">
            <a:extLst>
              <a:ext uri="{FF2B5EF4-FFF2-40B4-BE49-F238E27FC236}">
                <a16:creationId xmlns:a16="http://schemas.microsoft.com/office/drawing/2014/main" id="{7FD5BE93-B7CE-4247-9C24-241DCAE506BD}"/>
              </a:ext>
            </a:extLst>
          </p:cNvPr>
          <p:cNvGrpSpPr/>
          <p:nvPr userDrawn="1"/>
        </p:nvGrpSpPr>
        <p:grpSpPr>
          <a:xfrm>
            <a:off x="10855488" y="6628477"/>
            <a:ext cx="218951" cy="162658"/>
            <a:chOff x="10506075" y="6628477"/>
            <a:chExt cx="218951" cy="162658"/>
          </a:xfrm>
        </p:grpSpPr>
        <p:sp>
          <p:nvSpPr>
            <p:cNvPr id="261" name="Rectangle: Rounded Corners 260">
              <a:hlinkClick r:id="" action="ppaction://noaction"/>
              <a:extLst>
                <a:ext uri="{FF2B5EF4-FFF2-40B4-BE49-F238E27FC236}">
                  <a16:creationId xmlns:a16="http://schemas.microsoft.com/office/drawing/2014/main" id="{BA5447F8-5114-41D7-9B28-4952B8903B6A}"/>
                </a:ext>
              </a:extLst>
            </p:cNvPr>
            <p:cNvSpPr/>
            <p:nvPr userDrawn="1"/>
          </p:nvSpPr>
          <p:spPr>
            <a:xfrm>
              <a:off x="10506075" y="6628477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262" name="Rectangle: Rounded Corners 261">
              <a:hlinkClick r:id="" action="ppaction://noaction"/>
              <a:extLst>
                <a:ext uri="{FF2B5EF4-FFF2-40B4-BE49-F238E27FC236}">
                  <a16:creationId xmlns:a16="http://schemas.microsoft.com/office/drawing/2014/main" id="{4974754A-40E9-45AA-8B8C-44BB00AC4DF7}"/>
                </a:ext>
              </a:extLst>
            </p:cNvPr>
            <p:cNvSpPr/>
            <p:nvPr userDrawn="1"/>
          </p:nvSpPr>
          <p:spPr>
            <a:xfrm>
              <a:off x="10506075" y="6691806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  <p:sp>
          <p:nvSpPr>
            <p:cNvPr id="263" name="Rectangle: Rounded Corners 262">
              <a:hlinkClick r:id="" action="ppaction://noaction"/>
              <a:extLst>
                <a:ext uri="{FF2B5EF4-FFF2-40B4-BE49-F238E27FC236}">
                  <a16:creationId xmlns:a16="http://schemas.microsoft.com/office/drawing/2014/main" id="{DAD5D081-1B41-48B4-A6C6-C19DEC6A196D}"/>
                </a:ext>
              </a:extLst>
            </p:cNvPr>
            <p:cNvSpPr/>
            <p:nvPr userDrawn="1"/>
          </p:nvSpPr>
          <p:spPr>
            <a:xfrm>
              <a:off x="10506075" y="6755135"/>
              <a:ext cx="218951" cy="36000"/>
            </a:xfrm>
            <a:prstGeom prst="roundRect">
              <a:avLst>
                <a:gd name="adj" fmla="val 5402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l-PL"/>
            </a:p>
          </p:txBody>
        </p:sp>
      </p:grpSp>
      <p:sp>
        <p:nvSpPr>
          <p:cNvPr id="264" name="Rectangle 263">
            <a:hlinkClick r:id="" action="ppaction://noaction"/>
            <a:extLst>
              <a:ext uri="{FF2B5EF4-FFF2-40B4-BE49-F238E27FC236}">
                <a16:creationId xmlns:a16="http://schemas.microsoft.com/office/drawing/2014/main" id="{D79E72D0-871A-49F5-8F30-600BE296E8BD}"/>
              </a:ext>
            </a:extLst>
          </p:cNvPr>
          <p:cNvSpPr/>
          <p:nvPr userDrawn="1"/>
        </p:nvSpPr>
        <p:spPr>
          <a:xfrm>
            <a:off x="10760869" y="6579908"/>
            <a:ext cx="406177" cy="27365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l-PL"/>
          </a:p>
        </p:txBody>
      </p: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7A792D39-53EB-498E-A63C-305E3B41123E}"/>
              </a:ext>
            </a:extLst>
          </p:cNvPr>
          <p:cNvCxnSpPr/>
          <p:nvPr userDrawn="1"/>
        </p:nvCxnSpPr>
        <p:spPr>
          <a:xfrm>
            <a:off x="5214721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6" name="Rectangle 265">
            <a:hlinkClick r:id="" action="ppaction://noaction"/>
            <a:hlinkHover r:id="" action="ppaction://noaction" highlightClick="1"/>
            <a:extLst>
              <a:ext uri="{FF2B5EF4-FFF2-40B4-BE49-F238E27FC236}">
                <a16:creationId xmlns:a16="http://schemas.microsoft.com/office/drawing/2014/main" id="{E24F22F4-01EF-4588-AD65-4A804A00387C}"/>
              </a:ext>
            </a:extLst>
          </p:cNvPr>
          <p:cNvSpPr/>
          <p:nvPr userDrawn="1"/>
        </p:nvSpPr>
        <p:spPr>
          <a:xfrm>
            <a:off x="9539162" y="6570000"/>
            <a:ext cx="1200924" cy="273659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</a:pPr>
            <a:endParaRPr lang="en-GB" sz="800" b="0" noProof="0">
              <a:solidFill>
                <a:schemeClr val="bg1">
                  <a:alpha val="50000"/>
                </a:schemeClr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  <p:cxnSp>
        <p:nvCxnSpPr>
          <p:cNvPr id="267" name="Straight Connector 266">
            <a:extLst>
              <a:ext uri="{FF2B5EF4-FFF2-40B4-BE49-F238E27FC236}">
                <a16:creationId xmlns:a16="http://schemas.microsoft.com/office/drawing/2014/main" id="{4CD627D6-26D0-49B8-80E8-3E4FE6979E04}"/>
              </a:ext>
            </a:extLst>
          </p:cNvPr>
          <p:cNvCxnSpPr/>
          <p:nvPr userDrawn="1"/>
        </p:nvCxnSpPr>
        <p:spPr>
          <a:xfrm>
            <a:off x="10737865" y="6567351"/>
            <a:ext cx="0" cy="290649"/>
          </a:xfrm>
          <a:prstGeom prst="line">
            <a:avLst/>
          </a:prstGeom>
          <a:ln>
            <a:solidFill>
              <a:schemeClr val="bg1">
                <a:alpha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8" name="TextBox 267">
            <a:extLst>
              <a:ext uri="{FF2B5EF4-FFF2-40B4-BE49-F238E27FC236}">
                <a16:creationId xmlns:a16="http://schemas.microsoft.com/office/drawing/2014/main" id="{D863F2C3-2D17-4313-88B1-5237A08FA1DB}"/>
              </a:ext>
            </a:extLst>
          </p:cNvPr>
          <p:cNvSpPr txBox="1"/>
          <p:nvPr userDrawn="1"/>
        </p:nvSpPr>
        <p:spPr>
          <a:xfrm>
            <a:off x="208348" y="6587078"/>
            <a:ext cx="42858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2AD15D81-AC1A-4BFA-95F9-38C1BF89B685}" type="slidenum">
              <a:rPr lang="pl-PL" sz="1050" smtClean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rPr>
              <a:t>‹#›</a:t>
            </a:fld>
            <a:endParaRPr lang="pl-PL" sz="1200">
              <a:solidFill>
                <a:schemeClr val="bg1"/>
              </a:solidFill>
              <a:latin typeface="Leelawadee" panose="020B0502040204020203" pitchFamily="34" charset="-34"/>
              <a:cs typeface="Leelawadee" panose="020B0502040204020203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3284288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pos="7491">
          <p15:clr>
            <a:srgbClr val="FBAE40"/>
          </p15:clr>
        </p15:guide>
        <p15:guide id="3" pos="710">
          <p15:clr>
            <a:srgbClr val="FBAE40"/>
          </p15:clr>
        </p15:guide>
        <p15:guide id="5" orient="horz" pos="187">
          <p15:clr>
            <a:srgbClr val="FBAE40"/>
          </p15:clr>
        </p15:guide>
        <p15:guide id="6" orient="horz" pos="3974">
          <p15:clr>
            <a:srgbClr val="FBAE40"/>
          </p15:clr>
        </p15:guide>
        <p15:guide id="7" orient="horz" pos="822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Divider">
    <p:bg>
      <p:bgPr>
        <a:solidFill>
          <a:srgbClr val="006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C9E3986C-FFEC-4BCF-BE64-3B7C69B5A0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34644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C9E3986C-FFEC-4BCF-BE64-3B7C69B5A0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Placeholder 8" descr="A row of wind turbines&#10;&#10;Description automatically generated with low confidence">
            <a:extLst>
              <a:ext uri="{FF2B5EF4-FFF2-40B4-BE49-F238E27FC236}">
                <a16:creationId xmlns:a16="http://schemas.microsoft.com/office/drawing/2014/main" id="{ECCBDA21-3720-EC48-BB2A-E186AD6135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7513816" cy="6858000"/>
          </a:xfrm>
          <a:prstGeom prst="rect">
            <a:avLst/>
          </a:prstGeom>
        </p:spPr>
      </p:pic>
      <p:sp>
        <p:nvSpPr>
          <p:cNvPr id="6" name="Freeform: Shape 5">
            <a:extLst>
              <a:ext uri="{FF2B5EF4-FFF2-40B4-BE49-F238E27FC236}">
                <a16:creationId xmlns:a16="http://schemas.microsoft.com/office/drawing/2014/main" id="{1CD8A1AD-2A55-40D6-9961-7AEECC947517}"/>
              </a:ext>
            </a:extLst>
          </p:cNvPr>
          <p:cNvSpPr/>
          <p:nvPr userDrawn="1"/>
        </p:nvSpPr>
        <p:spPr>
          <a:xfrm rot="10800000" flipH="1">
            <a:off x="1" y="-772"/>
            <a:ext cx="6869788" cy="6869788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3904CC-5FA5-4420-B614-89FB0EB2BC6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r="133"/>
          <a:stretch/>
        </p:blipFill>
        <p:spPr>
          <a:xfrm>
            <a:off x="0" y="0"/>
            <a:ext cx="7513816" cy="6857999"/>
          </a:xfrm>
          <a:prstGeom prst="rect">
            <a:avLst/>
          </a:prstGeom>
        </p:spPr>
      </p:pic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3222F2CE-1766-43CF-AF43-673D3F16F97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6966F592-F50D-44F7-A9B5-4DE157419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6734A3B-C696-4720-A17E-AA25DBB691B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651365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323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AA36D955-B3A7-C98D-63C4-65BC52F781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924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AA36D955-B3A7-C98D-63C4-65BC52F781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3F9111E3-B6B3-F20D-E234-232A58D7745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9504" y="2780"/>
            <a:ext cx="12192000" cy="685522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DF1BD5F-C8CF-79FD-DA82-CF52C806EE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2565" t="1080" r="26975" b="2641"/>
          <a:stretch/>
        </p:blipFill>
        <p:spPr>
          <a:xfrm>
            <a:off x="0" y="0"/>
            <a:ext cx="6483964" cy="6858000"/>
          </a:xfrm>
          <a:custGeom>
            <a:avLst/>
            <a:gdLst>
              <a:gd name="connsiteX0" fmla="*/ 0 w 6483964"/>
              <a:gd name="connsiteY0" fmla="*/ 0 h 6858000"/>
              <a:gd name="connsiteX1" fmla="*/ 6483964 w 6483964"/>
              <a:gd name="connsiteY1" fmla="*/ 0 h 6858000"/>
              <a:gd name="connsiteX2" fmla="*/ 6483964 w 6483964"/>
              <a:gd name="connsiteY2" fmla="*/ 6858000 h 6858000"/>
              <a:gd name="connsiteX3" fmla="*/ 0 w 6483964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83964" h="6858000">
                <a:moveTo>
                  <a:pt x="0" y="0"/>
                </a:moveTo>
                <a:lnTo>
                  <a:pt x="6483964" y="0"/>
                </a:lnTo>
                <a:lnTo>
                  <a:pt x="648396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1359549-5A1F-9411-3B5D-0D48941C24F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6942174" y="5029200"/>
            <a:ext cx="2637118" cy="141828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9C32344-3F64-881D-8597-493E4E19655C}"/>
              </a:ext>
            </a:extLst>
          </p:cNvPr>
          <p:cNvSpPr txBox="1"/>
          <p:nvPr userDrawn="1"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algn="r"/>
              <a:t>‹#›</a:t>
            </a:fld>
            <a:endParaRPr lang="en-US" sz="700" spc="3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8DFE46-B5E2-F718-94E7-DEF297DF395B}"/>
              </a:ext>
            </a:extLst>
          </p:cNvPr>
          <p:cNvSpPr/>
          <p:nvPr userDrawn="1"/>
        </p:nvSpPr>
        <p:spPr>
          <a:xfrm>
            <a:off x="-529985" y="889686"/>
            <a:ext cx="321276" cy="321276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E00E491-5360-4420-3643-DDA785916048}"/>
              </a:ext>
            </a:extLst>
          </p:cNvPr>
          <p:cNvSpPr/>
          <p:nvPr userDrawn="1"/>
        </p:nvSpPr>
        <p:spPr>
          <a:xfrm>
            <a:off x="-529985" y="1309815"/>
            <a:ext cx="321276" cy="321276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2670FD2-6DEE-3AD9-85AC-45AAB1C3274F}"/>
              </a:ext>
            </a:extLst>
          </p:cNvPr>
          <p:cNvSpPr/>
          <p:nvPr userDrawn="1"/>
        </p:nvSpPr>
        <p:spPr>
          <a:xfrm>
            <a:off x="-529985" y="1729945"/>
            <a:ext cx="321276" cy="321276"/>
          </a:xfrm>
          <a:prstGeom prst="rect">
            <a:avLst/>
          </a:prstGeom>
          <a:solidFill>
            <a:srgbClr val="006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D70F8B-B5D8-3BA6-1B64-F30D81678066}"/>
              </a:ext>
            </a:extLst>
          </p:cNvPr>
          <p:cNvSpPr/>
          <p:nvPr userDrawn="1"/>
        </p:nvSpPr>
        <p:spPr>
          <a:xfrm>
            <a:off x="-529985" y="2285999"/>
            <a:ext cx="321276" cy="321276"/>
          </a:xfrm>
          <a:prstGeom prst="rect">
            <a:avLst/>
          </a:prstGeom>
          <a:solidFill>
            <a:srgbClr val="4FE2F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0714F0B-729E-CAB1-D0E3-5633DF445DB1}"/>
              </a:ext>
            </a:extLst>
          </p:cNvPr>
          <p:cNvSpPr/>
          <p:nvPr userDrawn="1"/>
        </p:nvSpPr>
        <p:spPr>
          <a:xfrm>
            <a:off x="-529985" y="2718486"/>
            <a:ext cx="321276" cy="321276"/>
          </a:xfrm>
          <a:prstGeom prst="rect">
            <a:avLst/>
          </a:prstGeom>
          <a:solidFill>
            <a:srgbClr val="BAF3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C1B6030-5708-896E-87F9-D9EB5A92297E}"/>
              </a:ext>
            </a:extLst>
          </p:cNvPr>
          <p:cNvSpPr/>
          <p:nvPr userDrawn="1"/>
        </p:nvSpPr>
        <p:spPr>
          <a:xfrm>
            <a:off x="-529985" y="3323967"/>
            <a:ext cx="321276" cy="321276"/>
          </a:xfrm>
          <a:prstGeom prst="rect">
            <a:avLst/>
          </a:prstGeom>
          <a:solidFill>
            <a:srgbClr val="00C0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2DD69C2-D4FE-4E6E-F4EA-F29654973D31}"/>
              </a:ext>
            </a:extLst>
          </p:cNvPr>
          <p:cNvSpPr/>
          <p:nvPr userDrawn="1"/>
        </p:nvSpPr>
        <p:spPr>
          <a:xfrm>
            <a:off x="-529985" y="3731740"/>
            <a:ext cx="321276" cy="321276"/>
          </a:xfrm>
          <a:prstGeom prst="rect">
            <a:avLst/>
          </a:prstGeom>
          <a:solidFill>
            <a:srgbClr val="8EDC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C48FFBE-14CD-15D0-B311-6B84759D8C47}"/>
              </a:ext>
            </a:extLst>
          </p:cNvPr>
          <p:cNvSpPr/>
          <p:nvPr userDrawn="1"/>
        </p:nvSpPr>
        <p:spPr>
          <a:xfrm>
            <a:off x="-529985" y="4151870"/>
            <a:ext cx="321276" cy="321276"/>
          </a:xfrm>
          <a:prstGeom prst="rect">
            <a:avLst/>
          </a:prstGeom>
          <a:solidFill>
            <a:srgbClr val="02A5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A0CD2D3-A28D-3316-27BD-4D7CA492E49B}"/>
              </a:ext>
            </a:extLst>
          </p:cNvPr>
          <p:cNvSpPr/>
          <p:nvPr userDrawn="1"/>
        </p:nvSpPr>
        <p:spPr>
          <a:xfrm>
            <a:off x="-529985" y="4720281"/>
            <a:ext cx="321276" cy="321276"/>
          </a:xfrm>
          <a:prstGeom prst="rect">
            <a:avLst/>
          </a:prstGeom>
          <a:solidFill>
            <a:srgbClr val="FFC6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798D593-3A07-FA79-0F2D-3BA8F7D72047}"/>
              </a:ext>
            </a:extLst>
          </p:cNvPr>
          <p:cNvSpPr/>
          <p:nvPr userDrawn="1"/>
        </p:nvSpPr>
        <p:spPr>
          <a:xfrm>
            <a:off x="-529985" y="5152768"/>
            <a:ext cx="321276" cy="321276"/>
          </a:xfrm>
          <a:prstGeom prst="rect">
            <a:avLst/>
          </a:prstGeom>
          <a:solidFill>
            <a:srgbClr val="F682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n-lt"/>
              <a:ea typeface="+mn-ea"/>
              <a:cs typeface="+mn-cs"/>
            </a:endParaRP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CCEE4AD4-5673-DC5D-0072-55F8141A6E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16416" y="1953851"/>
            <a:ext cx="4882138" cy="608864"/>
          </a:xfrm>
        </p:spPr>
        <p:txBody>
          <a:bodyPr bIns="0" anchor="b">
            <a:no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itle text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7AEF975-7E8E-3FB4-D358-82BE2CB202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16416" y="2736147"/>
            <a:ext cx="4882138" cy="608864"/>
          </a:xfrm>
          <a:noFill/>
        </p:spPr>
        <p:txBody>
          <a:bodyPr>
            <a:noAutofit/>
          </a:bodyPr>
          <a:lstStyle>
            <a:lvl1pPr marL="0" indent="0">
              <a:buNone/>
              <a:defRPr sz="28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  <a:p>
            <a:pPr lvl="0"/>
            <a:endParaRPr lang="en-US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CDD05584-C1AB-97CD-2E18-F6E51E3A46F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942174" y="3959640"/>
            <a:ext cx="4882138" cy="384460"/>
          </a:xfrm>
          <a:noFill/>
        </p:spPr>
        <p:txBody>
          <a:bodyPr>
            <a:noAutofit/>
          </a:bodyPr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2402783-288C-2D52-A4BA-8F45BACAE0B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5214876" cy="45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483410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Divider">
    <p:bg>
      <p:bgPr>
        <a:solidFill>
          <a:srgbClr val="5A97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0828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5600733-47C5-4699-8308-3A99A2581CA2}"/>
              </a:ext>
            </a:extLst>
          </p:cNvPr>
          <p:cNvSpPr/>
          <p:nvPr userDrawn="1"/>
        </p:nvSpPr>
        <p:spPr>
          <a:xfrm>
            <a:off x="0" y="0"/>
            <a:ext cx="7478038" cy="6858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F3A1BF7-83F1-4077-9AB0-FEE031D7F60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29" r="19037"/>
          <a:stretch/>
        </p:blipFill>
        <p:spPr>
          <a:xfrm>
            <a:off x="-14211" y="-8932"/>
            <a:ext cx="7478038" cy="6858000"/>
          </a:xfrm>
          <a:prstGeom prst="rect">
            <a:avLst/>
          </a:prstGeom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ABA205B-9E12-44B1-A996-D8A93D84D6DC}"/>
              </a:ext>
            </a:extLst>
          </p:cNvPr>
          <p:cNvSpPr/>
          <p:nvPr userDrawn="1"/>
        </p:nvSpPr>
        <p:spPr>
          <a:xfrm rot="10800000">
            <a:off x="621917" y="0"/>
            <a:ext cx="6858000" cy="68580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5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895479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25">
          <p15:clr>
            <a:srgbClr val="FBAE40"/>
          </p15:clr>
        </p15:guide>
        <p15:guide id="2" pos="7355">
          <p15:clr>
            <a:srgbClr val="FBAE40"/>
          </p15:clr>
        </p15:guide>
        <p15:guide id="3" orient="horz" pos="1956">
          <p15:clr>
            <a:srgbClr val="FBAE40"/>
          </p15:clr>
        </p15:guide>
        <p15:guide id="4" orient="horz" pos="323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Divider"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472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5600733-47C5-4699-8308-3A99A2581CA2}"/>
              </a:ext>
            </a:extLst>
          </p:cNvPr>
          <p:cNvSpPr/>
          <p:nvPr userDrawn="1"/>
        </p:nvSpPr>
        <p:spPr>
          <a:xfrm>
            <a:off x="0" y="0"/>
            <a:ext cx="7478038" cy="6858000"/>
          </a:xfrm>
          <a:prstGeom prst="rect">
            <a:avLst/>
          </a:prstGeom>
          <a:solidFill>
            <a:srgbClr val="00D0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ABA205B-9E12-44B1-A996-D8A93D84D6DC}"/>
              </a:ext>
            </a:extLst>
          </p:cNvPr>
          <p:cNvSpPr/>
          <p:nvPr userDrawn="1"/>
        </p:nvSpPr>
        <p:spPr>
          <a:xfrm rot="10800000" flipH="1">
            <a:off x="1" y="-1"/>
            <a:ext cx="6858000" cy="68580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2D2B39F-F348-4166-9331-748E9DBE762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602" y="114300"/>
            <a:ext cx="7373435" cy="6743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5213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55">
          <p15:clr>
            <a:srgbClr val="FBAE40"/>
          </p15:clr>
        </p15:guide>
        <p15:guide id="2" pos="325">
          <p15:clr>
            <a:srgbClr val="FBAE40"/>
          </p15:clr>
        </p15:guide>
        <p15:guide id="3" orient="horz" pos="323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Sub-Divider">
    <p:bg>
      <p:bgPr>
        <a:solidFill>
          <a:schemeClr val="accent4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5A58F2E-9DF4-4F6C-B580-317E75D8C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09934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5A58F2E-9DF4-4F6C-B580-317E75D8C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EB15D48-DF0F-4E4A-983E-6AB408C951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35595" y="838200"/>
            <a:ext cx="6240467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40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27DEAF1F-EF5A-4E4F-8B4B-967ECBB8264E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prstGeom prst="rect">
            <a:avLst/>
          </a:prstGeom>
          <a:solidFill>
            <a:srgbClr val="00D0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85768F3-71F1-4DF0-B686-E0F881C01912}"/>
              </a:ext>
            </a:extLst>
          </p:cNvPr>
          <p:cNvSpPr/>
          <p:nvPr userDrawn="1"/>
        </p:nvSpPr>
        <p:spPr>
          <a:xfrm>
            <a:off x="0" y="2298701"/>
            <a:ext cx="2298700" cy="2298700"/>
          </a:xfrm>
          <a:prstGeom prst="rect">
            <a:avLst/>
          </a:prstGeom>
          <a:solidFill>
            <a:srgbClr val="00D0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29B8E4DE-97B8-4681-982E-ADB24A8444AC}"/>
              </a:ext>
            </a:extLst>
          </p:cNvPr>
          <p:cNvSpPr/>
          <p:nvPr userDrawn="1"/>
        </p:nvSpPr>
        <p:spPr>
          <a:xfrm>
            <a:off x="2298700" y="0"/>
            <a:ext cx="2298700" cy="2298700"/>
          </a:xfrm>
          <a:prstGeom prst="rect">
            <a:avLst/>
          </a:prstGeom>
          <a:solidFill>
            <a:srgbClr val="00D0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D62C860-692A-4D90-9165-00938B731278}"/>
              </a:ext>
            </a:extLst>
          </p:cNvPr>
          <p:cNvSpPr/>
          <p:nvPr userDrawn="1"/>
        </p:nvSpPr>
        <p:spPr>
          <a:xfrm>
            <a:off x="2298700" y="2298701"/>
            <a:ext cx="2298700" cy="22987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D778CD25-16D5-4545-AA64-C54B990296A7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360BD2DA-036B-4188-8971-A0E477C28632}"/>
              </a:ext>
            </a:extLst>
          </p:cNvPr>
          <p:cNvSpPr/>
          <p:nvPr userDrawn="1"/>
        </p:nvSpPr>
        <p:spPr>
          <a:xfrm rot="5400000">
            <a:off x="229870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2" name="Freeform: Shape 31">
            <a:extLst>
              <a:ext uri="{FF2B5EF4-FFF2-40B4-BE49-F238E27FC236}">
                <a16:creationId xmlns:a16="http://schemas.microsoft.com/office/drawing/2014/main" id="{2E4D2C27-C255-4E7C-958F-F974E6423A21}"/>
              </a:ext>
            </a:extLst>
          </p:cNvPr>
          <p:cNvSpPr/>
          <p:nvPr userDrawn="1"/>
        </p:nvSpPr>
        <p:spPr>
          <a:xfrm flipV="1">
            <a:off x="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rgbClr val="00BC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3" name="Freeform: Shape 32">
            <a:extLst>
              <a:ext uri="{FF2B5EF4-FFF2-40B4-BE49-F238E27FC236}">
                <a16:creationId xmlns:a16="http://schemas.microsoft.com/office/drawing/2014/main" id="{F21292C8-517F-449B-937E-CB52015C4AE9}"/>
              </a:ext>
            </a:extLst>
          </p:cNvPr>
          <p:cNvSpPr/>
          <p:nvPr userDrawn="1"/>
        </p:nvSpPr>
        <p:spPr>
          <a:xfrm rot="16200000" flipV="1">
            <a:off x="229870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rgbClr val="00D0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4" name="Freeform: Shape 33">
            <a:extLst>
              <a:ext uri="{FF2B5EF4-FFF2-40B4-BE49-F238E27FC236}">
                <a16:creationId xmlns:a16="http://schemas.microsoft.com/office/drawing/2014/main" id="{B3C9DEEA-65E3-410D-B9D7-B7571D824B16}"/>
              </a:ext>
            </a:extLst>
          </p:cNvPr>
          <p:cNvSpPr/>
          <p:nvPr userDrawn="1"/>
        </p:nvSpPr>
        <p:spPr>
          <a:xfrm>
            <a:off x="2298698" y="2297153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B790B156-20E6-4219-92F6-B4EB13B49541}"/>
              </a:ext>
            </a:extLst>
          </p:cNvPr>
          <p:cNvSpPr/>
          <p:nvPr userDrawn="1"/>
        </p:nvSpPr>
        <p:spPr>
          <a:xfrm>
            <a:off x="0" y="4595853"/>
            <a:ext cx="2298700" cy="2260598"/>
          </a:xfrm>
          <a:prstGeom prst="rect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7270F2D2-C833-4056-B9C6-92CC2DF76DEE}"/>
              </a:ext>
            </a:extLst>
          </p:cNvPr>
          <p:cNvSpPr/>
          <p:nvPr userDrawn="1"/>
        </p:nvSpPr>
        <p:spPr>
          <a:xfrm>
            <a:off x="2298700" y="4595853"/>
            <a:ext cx="2298700" cy="22621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B020F72A-CDD9-48E6-9B5B-86F6D735E491}"/>
              </a:ext>
            </a:extLst>
          </p:cNvPr>
          <p:cNvSpPr/>
          <p:nvPr userDrawn="1"/>
        </p:nvSpPr>
        <p:spPr>
          <a:xfrm rot="10800000">
            <a:off x="2298696" y="4559299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00BC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7" name="Right Triangle 6">
            <a:extLst>
              <a:ext uri="{FF2B5EF4-FFF2-40B4-BE49-F238E27FC236}">
                <a16:creationId xmlns:a16="http://schemas.microsoft.com/office/drawing/2014/main" id="{3D15B0BC-6A43-4216-AE94-804BD48B303B}"/>
              </a:ext>
            </a:extLst>
          </p:cNvPr>
          <p:cNvSpPr/>
          <p:nvPr userDrawn="1"/>
        </p:nvSpPr>
        <p:spPr>
          <a:xfrm>
            <a:off x="0" y="5462546"/>
            <a:ext cx="2298692" cy="1395454"/>
          </a:xfrm>
          <a:prstGeom prst="rtTriangl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2572579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Sub-Sub-Divid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06A473-E852-43C8-8FFD-BB83C54C89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3707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06A473-E852-43C8-8FFD-BB83C54C89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2519C45-A85B-499F-AC90-71D2B5EA0E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7600" y="2840474"/>
            <a:ext cx="4876800" cy="117705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7938" indent="-7938" algn="ctr" rtl="0">
              <a:lnSpc>
                <a:spcPct val="110000"/>
              </a:lnSpc>
              <a:spcBef>
                <a:spcPts val="0"/>
              </a:spcBef>
              <a:buNone/>
              <a:tabLst/>
              <a:defRPr sz="3600" b="1" i="0" spc="70" baseline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339387711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Divider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41801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FA8C6288-2571-4D28-9F32-FC8576185BAE}"/>
              </a:ext>
            </a:extLst>
          </p:cNvPr>
          <p:cNvSpPr/>
          <p:nvPr userDrawn="1"/>
        </p:nvSpPr>
        <p:spPr>
          <a:xfrm>
            <a:off x="0" y="0"/>
            <a:ext cx="7478038" cy="6858000"/>
          </a:xfrm>
          <a:prstGeom prst="rect">
            <a:avLst/>
          </a:prstGeom>
          <a:solidFill>
            <a:srgbClr val="00A6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pic>
        <p:nvPicPr>
          <p:cNvPr id="4" name="Picture 3" descr="A picture containing text, sky, outdoor, sign&#10;&#10;Description automatically generated">
            <a:extLst>
              <a:ext uri="{FF2B5EF4-FFF2-40B4-BE49-F238E27FC236}">
                <a16:creationId xmlns:a16="http://schemas.microsoft.com/office/drawing/2014/main" id="{98742D09-FACE-441C-906F-EC1348849D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303" b="7494"/>
          <a:stretch/>
        </p:blipFill>
        <p:spPr>
          <a:xfrm>
            <a:off x="0" y="0"/>
            <a:ext cx="7478038" cy="6858000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7A4204A-92E2-473A-979D-9E45248E7FD2}"/>
              </a:ext>
            </a:extLst>
          </p:cNvPr>
          <p:cNvSpPr/>
          <p:nvPr userDrawn="1"/>
        </p:nvSpPr>
        <p:spPr>
          <a:xfrm rot="16200000" flipH="1">
            <a:off x="1" y="-1"/>
            <a:ext cx="6858000" cy="68580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pic>
        <p:nvPicPr>
          <p:cNvPr id="6" name="Picture 5" descr="A picture containing text, outdoor&#10;&#10;Description automatically generated">
            <a:extLst>
              <a:ext uri="{FF2B5EF4-FFF2-40B4-BE49-F238E27FC236}">
                <a16:creationId xmlns:a16="http://schemas.microsoft.com/office/drawing/2014/main" id="{4DDE1645-3A4D-42A5-913B-DEA792972B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398" t="3469" r="18481" b="28307"/>
          <a:stretch/>
        </p:blipFill>
        <p:spPr>
          <a:xfrm>
            <a:off x="1600199" y="-2"/>
            <a:ext cx="4495801" cy="52451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495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55">
          <p15:clr>
            <a:srgbClr val="FBAE40"/>
          </p15:clr>
        </p15:guide>
        <p15:guide id="2" pos="325">
          <p15:clr>
            <a:srgbClr val="FBAE40"/>
          </p15:clr>
        </p15:guide>
        <p15:guide id="3" orient="horz" pos="323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Sub-Divider">
    <p:bg>
      <p:bgPr>
        <a:solidFill>
          <a:schemeClr val="accent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5A58F2E-9DF4-4F6C-B580-317E75D8C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53380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5A58F2E-9DF4-4F6C-B580-317E75D8C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EB15D48-DF0F-4E4A-983E-6AB408C951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35595" y="838200"/>
            <a:ext cx="6240467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40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956A39B-AEE3-4A36-9B78-C6D8444FC4FB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A0C1458-F91C-42F6-A58A-1557B900C99D}"/>
              </a:ext>
            </a:extLst>
          </p:cNvPr>
          <p:cNvSpPr/>
          <p:nvPr userDrawn="1"/>
        </p:nvSpPr>
        <p:spPr>
          <a:xfrm>
            <a:off x="0" y="2298701"/>
            <a:ext cx="2298700" cy="22987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BF23975-8EEB-4CCB-810E-3FF5C90F0B20}"/>
              </a:ext>
            </a:extLst>
          </p:cNvPr>
          <p:cNvSpPr/>
          <p:nvPr userDrawn="1"/>
        </p:nvSpPr>
        <p:spPr>
          <a:xfrm>
            <a:off x="2298700" y="0"/>
            <a:ext cx="2298700" cy="2298700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331621E-35DA-4AA2-8F73-867A4F528C05}"/>
              </a:ext>
            </a:extLst>
          </p:cNvPr>
          <p:cNvSpPr/>
          <p:nvPr userDrawn="1"/>
        </p:nvSpPr>
        <p:spPr>
          <a:xfrm>
            <a:off x="2298700" y="2298701"/>
            <a:ext cx="2298700" cy="2298700"/>
          </a:xfrm>
          <a:prstGeom prst="rect">
            <a:avLst/>
          </a:prstGeom>
          <a:solidFill>
            <a:srgbClr val="133D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727C2D0C-EFDB-46A7-9D43-089C57D1E59A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8976955E-701B-44AE-A68D-98818B963A07}"/>
              </a:ext>
            </a:extLst>
          </p:cNvPr>
          <p:cNvSpPr/>
          <p:nvPr userDrawn="1"/>
        </p:nvSpPr>
        <p:spPr>
          <a:xfrm rot="5400000">
            <a:off x="229870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rgbClr val="006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AD56A1EA-FC5E-4993-AB05-118189343C56}"/>
              </a:ext>
            </a:extLst>
          </p:cNvPr>
          <p:cNvSpPr/>
          <p:nvPr userDrawn="1"/>
        </p:nvSpPr>
        <p:spPr>
          <a:xfrm flipV="1">
            <a:off x="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7E9A814E-EF2F-4F25-987E-2BE2D55CFB49}"/>
              </a:ext>
            </a:extLst>
          </p:cNvPr>
          <p:cNvSpPr/>
          <p:nvPr userDrawn="1"/>
        </p:nvSpPr>
        <p:spPr>
          <a:xfrm rot="16200000" flipV="1">
            <a:off x="229870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BBB2655B-D5D6-4A1D-B4B8-2956811AF737}"/>
              </a:ext>
            </a:extLst>
          </p:cNvPr>
          <p:cNvSpPr/>
          <p:nvPr userDrawn="1"/>
        </p:nvSpPr>
        <p:spPr>
          <a:xfrm>
            <a:off x="2298698" y="2297153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133DC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8977600-7B37-4D66-9510-62AFD35D16C1}"/>
              </a:ext>
            </a:extLst>
          </p:cNvPr>
          <p:cNvSpPr/>
          <p:nvPr userDrawn="1"/>
        </p:nvSpPr>
        <p:spPr>
          <a:xfrm>
            <a:off x="0" y="4595853"/>
            <a:ext cx="2298700" cy="2260598"/>
          </a:xfrm>
          <a:prstGeom prst="rect">
            <a:avLst/>
          </a:prstGeom>
          <a:solidFill>
            <a:srgbClr val="006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D1D6B52-EB68-4E52-8C05-C86E770A45AD}"/>
              </a:ext>
            </a:extLst>
          </p:cNvPr>
          <p:cNvSpPr/>
          <p:nvPr userDrawn="1"/>
        </p:nvSpPr>
        <p:spPr>
          <a:xfrm>
            <a:off x="2298700" y="4595853"/>
            <a:ext cx="2298700" cy="226214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816CDE59-A17D-4E82-A34F-000BDFB1796E}"/>
              </a:ext>
            </a:extLst>
          </p:cNvPr>
          <p:cNvSpPr/>
          <p:nvPr userDrawn="1"/>
        </p:nvSpPr>
        <p:spPr>
          <a:xfrm rot="10800000">
            <a:off x="2298696" y="4559299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41" name="Right Triangle 40">
            <a:extLst>
              <a:ext uri="{FF2B5EF4-FFF2-40B4-BE49-F238E27FC236}">
                <a16:creationId xmlns:a16="http://schemas.microsoft.com/office/drawing/2014/main" id="{162260A0-375C-4496-A48B-157CBE32291C}"/>
              </a:ext>
            </a:extLst>
          </p:cNvPr>
          <p:cNvSpPr/>
          <p:nvPr userDrawn="1"/>
        </p:nvSpPr>
        <p:spPr>
          <a:xfrm>
            <a:off x="0" y="5462546"/>
            <a:ext cx="2298692" cy="1395454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2537017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Sub-Sub-Divider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306A473-E852-43C8-8FFD-BB83C54C89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479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306A473-E852-43C8-8FFD-BB83C54C89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2519C45-A85B-499F-AC90-71D2B5EA0E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57600" y="2840474"/>
            <a:ext cx="4876800" cy="1177053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7938" indent="-7938" algn="ctr" rtl="0">
              <a:lnSpc>
                <a:spcPct val="110000"/>
              </a:lnSpc>
              <a:spcBef>
                <a:spcPts val="0"/>
              </a:spcBef>
              <a:buNone/>
              <a:tabLst/>
              <a:defRPr sz="3600" b="1" i="0" spc="70" baseline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PepsiCo Positive</a:t>
            </a:r>
          </a:p>
          <a:p>
            <a:pPr lvl="0"/>
            <a:r>
              <a:rPr lang="en-US" noProof="0"/>
              <a:t>Template</a:t>
            </a:r>
          </a:p>
        </p:txBody>
      </p:sp>
    </p:spTree>
    <p:extLst>
      <p:ext uri="{BB962C8B-B14F-4D97-AF65-F5344CB8AC3E}">
        <p14:creationId xmlns:p14="http://schemas.microsoft.com/office/powerpoint/2010/main" val="214276118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(Woman smiling) 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22625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5600733-47C5-4699-8308-3A99A2581CA2}"/>
              </a:ext>
            </a:extLst>
          </p:cNvPr>
          <p:cNvSpPr/>
          <p:nvPr userDrawn="1"/>
        </p:nvSpPr>
        <p:spPr>
          <a:xfrm>
            <a:off x="0" y="0"/>
            <a:ext cx="7478038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ABA205B-9E12-44B1-A996-D8A93D84D6DC}"/>
              </a:ext>
            </a:extLst>
          </p:cNvPr>
          <p:cNvSpPr/>
          <p:nvPr userDrawn="1"/>
        </p:nvSpPr>
        <p:spPr>
          <a:xfrm rot="10800000">
            <a:off x="624316" y="0"/>
            <a:ext cx="6858000" cy="68580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0DB7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  <p:pic>
        <p:nvPicPr>
          <p:cNvPr id="9" name="Picture 8" descr="A picture containing tree, green, plant, broccoli&#10;&#10;Description automatically generated">
            <a:extLst>
              <a:ext uri="{FF2B5EF4-FFF2-40B4-BE49-F238E27FC236}">
                <a16:creationId xmlns:a16="http://schemas.microsoft.com/office/drawing/2014/main" id="{14D423CC-B1D8-4141-9159-9656653D1A0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V="1">
            <a:off x="-34288" y="0"/>
            <a:ext cx="7526731" cy="6846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366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55">
          <p15:clr>
            <a:srgbClr val="FBAE40"/>
          </p15:clr>
        </p15:guide>
        <p15:guide id="2" pos="325">
          <p15:clr>
            <a:srgbClr val="FBAE40"/>
          </p15:clr>
        </p15:guide>
        <p15:guide id="3" orient="horz" pos="323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-Sub-Divider">
    <p:bg>
      <p:bgPr>
        <a:solidFill>
          <a:schemeClr val="tx2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5A58F2E-9DF4-4F6C-B580-317E75D8C7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0356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5A58F2E-9DF4-4F6C-B580-317E75D8C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4EB15D48-DF0F-4E4A-983E-6AB408C9517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35595" y="838200"/>
            <a:ext cx="6240467" cy="553998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40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956A39B-AEE3-4A36-9B78-C6D8444FC4FB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A0C1458-F91C-42F6-A58A-1557B900C99D}"/>
              </a:ext>
            </a:extLst>
          </p:cNvPr>
          <p:cNvSpPr/>
          <p:nvPr userDrawn="1"/>
        </p:nvSpPr>
        <p:spPr>
          <a:xfrm>
            <a:off x="0" y="2298701"/>
            <a:ext cx="2298700" cy="22987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BF23975-8EEB-4CCB-810E-3FF5C90F0B20}"/>
              </a:ext>
            </a:extLst>
          </p:cNvPr>
          <p:cNvSpPr/>
          <p:nvPr userDrawn="1"/>
        </p:nvSpPr>
        <p:spPr>
          <a:xfrm>
            <a:off x="2298700" y="0"/>
            <a:ext cx="2298700" cy="22987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331621E-35DA-4AA2-8F73-867A4F528C05}"/>
              </a:ext>
            </a:extLst>
          </p:cNvPr>
          <p:cNvSpPr/>
          <p:nvPr userDrawn="1"/>
        </p:nvSpPr>
        <p:spPr>
          <a:xfrm>
            <a:off x="2298700" y="2298701"/>
            <a:ext cx="2298700" cy="22987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727C2D0C-EFDB-46A7-9D43-089C57D1E59A}"/>
              </a:ext>
            </a:extLst>
          </p:cNvPr>
          <p:cNvSpPr/>
          <p:nvPr userDrawn="1"/>
        </p:nvSpPr>
        <p:spPr>
          <a:xfrm>
            <a:off x="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8976955E-701B-44AE-A68D-98818B963A07}"/>
              </a:ext>
            </a:extLst>
          </p:cNvPr>
          <p:cNvSpPr/>
          <p:nvPr userDrawn="1"/>
        </p:nvSpPr>
        <p:spPr>
          <a:xfrm rot="5400000">
            <a:off x="2298700" y="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AD56A1EA-FC5E-4993-AB05-118189343C56}"/>
              </a:ext>
            </a:extLst>
          </p:cNvPr>
          <p:cNvSpPr/>
          <p:nvPr userDrawn="1"/>
        </p:nvSpPr>
        <p:spPr>
          <a:xfrm flipV="1">
            <a:off x="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7E9A814E-EF2F-4F25-987E-2BE2D55CFB49}"/>
              </a:ext>
            </a:extLst>
          </p:cNvPr>
          <p:cNvSpPr/>
          <p:nvPr userDrawn="1"/>
        </p:nvSpPr>
        <p:spPr>
          <a:xfrm rot="16200000" flipV="1">
            <a:off x="2298700" y="2298700"/>
            <a:ext cx="2298700" cy="2298700"/>
          </a:xfrm>
          <a:custGeom>
            <a:avLst/>
            <a:gdLst>
              <a:gd name="connsiteX0" fmla="*/ 2298700 w 2298700"/>
              <a:gd name="connsiteY0" fmla="*/ 0 h 2298700"/>
              <a:gd name="connsiteX1" fmla="*/ 2298700 w 2298700"/>
              <a:gd name="connsiteY1" fmla="*/ 2298700 h 2298700"/>
              <a:gd name="connsiteX2" fmla="*/ 0 w 2298700"/>
              <a:gd name="connsiteY2" fmla="*/ 2298700 h 2298700"/>
              <a:gd name="connsiteX3" fmla="*/ 229870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2298700" y="0"/>
                </a:moveTo>
                <a:lnTo>
                  <a:pt x="2298700" y="2298700"/>
                </a:lnTo>
                <a:lnTo>
                  <a:pt x="0" y="2298700"/>
                </a:lnTo>
                <a:cubicBezTo>
                  <a:pt x="0" y="1029163"/>
                  <a:pt x="1029163" y="0"/>
                  <a:pt x="2298700" y="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BBB2655B-D5D6-4A1D-B4B8-2956811AF737}"/>
              </a:ext>
            </a:extLst>
          </p:cNvPr>
          <p:cNvSpPr/>
          <p:nvPr userDrawn="1"/>
        </p:nvSpPr>
        <p:spPr>
          <a:xfrm>
            <a:off x="2298698" y="2297153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28977600-7B37-4D66-9510-62AFD35D16C1}"/>
              </a:ext>
            </a:extLst>
          </p:cNvPr>
          <p:cNvSpPr/>
          <p:nvPr userDrawn="1"/>
        </p:nvSpPr>
        <p:spPr>
          <a:xfrm>
            <a:off x="0" y="4595853"/>
            <a:ext cx="2298700" cy="226059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D1D6B52-EB68-4E52-8C05-C86E770A45AD}"/>
              </a:ext>
            </a:extLst>
          </p:cNvPr>
          <p:cNvSpPr/>
          <p:nvPr userDrawn="1"/>
        </p:nvSpPr>
        <p:spPr>
          <a:xfrm>
            <a:off x="2298700" y="4595853"/>
            <a:ext cx="2298700" cy="2262147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sp>
        <p:nvSpPr>
          <p:cNvPr id="40" name="Freeform: Shape 39">
            <a:extLst>
              <a:ext uri="{FF2B5EF4-FFF2-40B4-BE49-F238E27FC236}">
                <a16:creationId xmlns:a16="http://schemas.microsoft.com/office/drawing/2014/main" id="{816CDE59-A17D-4E82-A34F-000BDFB1796E}"/>
              </a:ext>
            </a:extLst>
          </p:cNvPr>
          <p:cNvSpPr/>
          <p:nvPr userDrawn="1"/>
        </p:nvSpPr>
        <p:spPr>
          <a:xfrm rot="10800000">
            <a:off x="2298696" y="4559299"/>
            <a:ext cx="2298700" cy="22987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41" name="Right Triangle 40">
            <a:extLst>
              <a:ext uri="{FF2B5EF4-FFF2-40B4-BE49-F238E27FC236}">
                <a16:creationId xmlns:a16="http://schemas.microsoft.com/office/drawing/2014/main" id="{162260A0-375C-4496-A48B-157CBE32291C}"/>
              </a:ext>
            </a:extLst>
          </p:cNvPr>
          <p:cNvSpPr/>
          <p:nvPr userDrawn="1"/>
        </p:nvSpPr>
        <p:spPr>
          <a:xfrm>
            <a:off x="0" y="5462546"/>
            <a:ext cx="2298692" cy="1395454"/>
          </a:xfrm>
          <a:prstGeom prst="rtTriangle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68167286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 (Woman smiling) ">
    <p:bg>
      <p:bgPr>
        <a:solidFill>
          <a:schemeClr val="accent3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F06BCF3-DDAB-403D-8CA9-261FACF982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674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F06BCF3-DDAB-403D-8CA9-261FACF982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45600733-47C5-4699-8308-3A99A2581CA2}"/>
              </a:ext>
            </a:extLst>
          </p:cNvPr>
          <p:cNvSpPr/>
          <p:nvPr userDrawn="1"/>
        </p:nvSpPr>
        <p:spPr>
          <a:xfrm>
            <a:off x="0" y="0"/>
            <a:ext cx="7478038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US" noProof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A451B81-1027-4982-9013-959EF68B142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5384"/>
          <a:stretch/>
        </p:blipFill>
        <p:spPr>
          <a:xfrm>
            <a:off x="-1" y="0"/>
            <a:ext cx="7482317" cy="6858000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</p:pic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0ABA205B-9E12-44B1-A996-D8A93D84D6DC}"/>
              </a:ext>
            </a:extLst>
          </p:cNvPr>
          <p:cNvSpPr/>
          <p:nvPr userDrawn="1"/>
        </p:nvSpPr>
        <p:spPr>
          <a:xfrm rot="10800000">
            <a:off x="624316" y="0"/>
            <a:ext cx="6858000" cy="6858000"/>
          </a:xfrm>
          <a:custGeom>
            <a:avLst/>
            <a:gdLst>
              <a:gd name="connsiteX0" fmla="*/ 0 w 2298700"/>
              <a:gd name="connsiteY0" fmla="*/ 0 h 2298700"/>
              <a:gd name="connsiteX1" fmla="*/ 2298700 w 2298700"/>
              <a:gd name="connsiteY1" fmla="*/ 0 h 2298700"/>
              <a:gd name="connsiteX2" fmla="*/ 0 w 2298700"/>
              <a:gd name="connsiteY2" fmla="*/ 2298700 h 2298700"/>
              <a:gd name="connsiteX3" fmla="*/ 0 w 2298700"/>
              <a:gd name="connsiteY3" fmla="*/ 0 h 229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98700" h="2298700">
                <a:moveTo>
                  <a:pt x="0" y="0"/>
                </a:moveTo>
                <a:lnTo>
                  <a:pt x="2298700" y="0"/>
                </a:lnTo>
                <a:cubicBezTo>
                  <a:pt x="1029163" y="0"/>
                  <a:pt x="0" y="1029163"/>
                  <a:pt x="0" y="2298700"/>
                </a:cubicBezTo>
                <a:lnTo>
                  <a:pt x="0" y="0"/>
                </a:lnTo>
                <a:close/>
              </a:path>
            </a:pathLst>
          </a:custGeom>
          <a:solidFill>
            <a:srgbClr val="0DB7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 rtl="0"/>
            <a:endParaRPr lang="en-US" noProof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C3910F1-D605-4498-A958-35982DB6AA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029753" y="512763"/>
            <a:ext cx="3646309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rtl="0">
              <a:spcBef>
                <a:spcPts val="0"/>
              </a:spcBef>
              <a:buNone/>
              <a:tabLst/>
              <a:defRPr sz="3600" b="1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Title</a:t>
            </a:r>
          </a:p>
        </p:txBody>
      </p:sp>
      <p:pic>
        <p:nvPicPr>
          <p:cNvPr id="15" name="Picture 14" descr="Logo&#10;&#10;Description automatically generated">
            <a:extLst>
              <a:ext uri="{FF2B5EF4-FFF2-40B4-BE49-F238E27FC236}">
                <a16:creationId xmlns:a16="http://schemas.microsoft.com/office/drawing/2014/main" id="{31900DC2-D885-4DFA-9785-CFFD77135EC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87179" y="5739255"/>
            <a:ext cx="1557599" cy="729808"/>
          </a:xfrm>
          <a:prstGeom prst="rect">
            <a:avLst/>
          </a:prstGeom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920EABA-9D8D-40A1-916A-855DEAACBC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029753" y="1835306"/>
            <a:ext cx="3646309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938" indent="-7938" algn="l" rtl="0">
              <a:spcBef>
                <a:spcPts val="0"/>
              </a:spcBef>
              <a:buNone/>
              <a:tabLst/>
              <a:defRPr sz="2000" b="0" i="0">
                <a:solidFill>
                  <a:schemeClr val="bg1"/>
                </a:solidFill>
                <a:latin typeface="Leelawadee" panose="020B0502040204020203" pitchFamily="34" charset="-34"/>
                <a:cs typeface="Leelawadee" panose="020B0502040204020203" pitchFamily="34" charset="-34"/>
              </a:defRPr>
            </a:lvl1pPr>
          </a:lstStyle>
          <a:p>
            <a:pPr lvl="0"/>
            <a:r>
              <a:rPr lang="en-US" noProof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6814661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55">
          <p15:clr>
            <a:srgbClr val="FBAE40"/>
          </p15:clr>
        </p15:guide>
        <p15:guide id="2" pos="325">
          <p15:clr>
            <a:srgbClr val="FBAE40"/>
          </p15:clr>
        </p15:guide>
        <p15:guide id="3" orient="horz" pos="323">
          <p15:clr>
            <a:srgbClr val="FBAE40"/>
          </p15:clr>
        </p15:guide>
        <p15:guide id="4" orient="horz" pos="399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3.xml"/><Relationship Id="rId13" Type="http://schemas.openxmlformats.org/officeDocument/2006/relationships/slideLayout" Target="../slideLayouts/slideLayout98.xml"/><Relationship Id="rId18" Type="http://schemas.openxmlformats.org/officeDocument/2006/relationships/slideLayout" Target="../slideLayouts/slideLayout103.xml"/><Relationship Id="rId26" Type="http://schemas.openxmlformats.org/officeDocument/2006/relationships/slideLayout" Target="../slideLayouts/slideLayout111.xml"/><Relationship Id="rId39" Type="http://schemas.openxmlformats.org/officeDocument/2006/relationships/image" Target="../media/image122.emf"/><Relationship Id="rId3" Type="http://schemas.openxmlformats.org/officeDocument/2006/relationships/slideLayout" Target="../slideLayouts/slideLayout88.xml"/><Relationship Id="rId21" Type="http://schemas.openxmlformats.org/officeDocument/2006/relationships/slideLayout" Target="../slideLayouts/slideLayout106.xml"/><Relationship Id="rId34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92.xml"/><Relationship Id="rId12" Type="http://schemas.openxmlformats.org/officeDocument/2006/relationships/slideLayout" Target="../slideLayouts/slideLayout97.xml"/><Relationship Id="rId17" Type="http://schemas.openxmlformats.org/officeDocument/2006/relationships/slideLayout" Target="../slideLayouts/slideLayout102.xml"/><Relationship Id="rId25" Type="http://schemas.openxmlformats.org/officeDocument/2006/relationships/slideLayout" Target="../slideLayouts/slideLayout110.xml"/><Relationship Id="rId33" Type="http://schemas.openxmlformats.org/officeDocument/2006/relationships/slideLayout" Target="../slideLayouts/slideLayout118.xml"/><Relationship Id="rId38" Type="http://schemas.openxmlformats.org/officeDocument/2006/relationships/oleObject" Target="../embeddings/oleObject67.bin"/><Relationship Id="rId2" Type="http://schemas.openxmlformats.org/officeDocument/2006/relationships/slideLayout" Target="../slideLayouts/slideLayout87.xml"/><Relationship Id="rId16" Type="http://schemas.openxmlformats.org/officeDocument/2006/relationships/slideLayout" Target="../slideLayouts/slideLayout101.xml"/><Relationship Id="rId20" Type="http://schemas.openxmlformats.org/officeDocument/2006/relationships/slideLayout" Target="../slideLayouts/slideLayout105.xml"/><Relationship Id="rId29" Type="http://schemas.openxmlformats.org/officeDocument/2006/relationships/slideLayout" Target="../slideLayouts/slideLayout114.xml"/><Relationship Id="rId1" Type="http://schemas.openxmlformats.org/officeDocument/2006/relationships/slideLayout" Target="../slideLayouts/slideLayout86.xml"/><Relationship Id="rId6" Type="http://schemas.openxmlformats.org/officeDocument/2006/relationships/slideLayout" Target="../slideLayouts/slideLayout91.xml"/><Relationship Id="rId11" Type="http://schemas.openxmlformats.org/officeDocument/2006/relationships/slideLayout" Target="../slideLayouts/slideLayout96.xml"/><Relationship Id="rId24" Type="http://schemas.openxmlformats.org/officeDocument/2006/relationships/slideLayout" Target="../slideLayouts/slideLayout109.xml"/><Relationship Id="rId32" Type="http://schemas.openxmlformats.org/officeDocument/2006/relationships/slideLayout" Target="../slideLayouts/slideLayout117.xml"/><Relationship Id="rId37" Type="http://schemas.openxmlformats.org/officeDocument/2006/relationships/tags" Target="../tags/tag69.xml"/><Relationship Id="rId5" Type="http://schemas.openxmlformats.org/officeDocument/2006/relationships/slideLayout" Target="../slideLayouts/slideLayout90.xml"/><Relationship Id="rId15" Type="http://schemas.openxmlformats.org/officeDocument/2006/relationships/slideLayout" Target="../slideLayouts/slideLayout100.xml"/><Relationship Id="rId23" Type="http://schemas.openxmlformats.org/officeDocument/2006/relationships/slideLayout" Target="../slideLayouts/slideLayout108.xml"/><Relationship Id="rId28" Type="http://schemas.openxmlformats.org/officeDocument/2006/relationships/slideLayout" Target="../slideLayouts/slideLayout113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95.xml"/><Relationship Id="rId19" Type="http://schemas.openxmlformats.org/officeDocument/2006/relationships/slideLayout" Target="../slideLayouts/slideLayout104.xml"/><Relationship Id="rId31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89.xml"/><Relationship Id="rId9" Type="http://schemas.openxmlformats.org/officeDocument/2006/relationships/slideLayout" Target="../slideLayouts/slideLayout94.xml"/><Relationship Id="rId14" Type="http://schemas.openxmlformats.org/officeDocument/2006/relationships/slideLayout" Target="../slideLayouts/slideLayout99.xml"/><Relationship Id="rId22" Type="http://schemas.openxmlformats.org/officeDocument/2006/relationships/slideLayout" Target="../slideLayouts/slideLayout107.xml"/><Relationship Id="rId27" Type="http://schemas.openxmlformats.org/officeDocument/2006/relationships/slideLayout" Target="../slideLayouts/slideLayout112.xml"/><Relationship Id="rId30" Type="http://schemas.openxmlformats.org/officeDocument/2006/relationships/slideLayout" Target="../slideLayouts/slideLayout115.xml"/><Relationship Id="rId35" Type="http://schemas.openxmlformats.org/officeDocument/2006/relationships/slideLayout" Target="../slideLayouts/slideLayout12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image" Target="../media/image159.png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30.xml"/><Relationship Id="rId19" Type="http://schemas.openxmlformats.org/officeDocument/2006/relationships/image" Target="../media/image160.svg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4F95AF-2496-4632-A158-835CEA47C8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8"/>
            </p:custDataLst>
            <p:extLst>
              <p:ext uri="{D42A27DB-BD31-4B8C-83A1-F6EECF244321}">
                <p14:modId xmlns:p14="http://schemas.microsoft.com/office/powerpoint/2010/main" val="7347958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9" imgW="443" imgH="443" progId="TCLayout.ActiveDocument.1">
                  <p:embed/>
                </p:oleObj>
              </mc:Choice>
              <mc:Fallback>
                <p:oleObj name="think-cell Slide" r:id="rId69" imgW="443" imgH="44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4F95AF-2496-4632-A158-835CEA47C8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fld id="{801FD0BA-3AA9-459F-A2B0-5B0986A4C24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661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655" r:id="rId2"/>
    <p:sldLayoutId id="2147483720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21" r:id="rId11"/>
    <p:sldLayoutId id="2147483760" r:id="rId12"/>
    <p:sldLayoutId id="2147483784" r:id="rId13"/>
    <p:sldLayoutId id="2147483715" r:id="rId14"/>
    <p:sldLayoutId id="2147483708" r:id="rId15"/>
    <p:sldLayoutId id="2147483761" r:id="rId16"/>
    <p:sldLayoutId id="2147483754" r:id="rId17"/>
    <p:sldLayoutId id="2147483724" r:id="rId18"/>
    <p:sldLayoutId id="2147483682" r:id="rId19"/>
    <p:sldLayoutId id="2147483704" r:id="rId20"/>
    <p:sldLayoutId id="2147483763" r:id="rId21"/>
    <p:sldLayoutId id="2147483811" r:id="rId22"/>
    <p:sldLayoutId id="2147483809" r:id="rId23"/>
    <p:sldLayoutId id="2147483815" r:id="rId24"/>
    <p:sldLayoutId id="2147483814" r:id="rId25"/>
    <p:sldLayoutId id="2147483764" r:id="rId26"/>
    <p:sldLayoutId id="2147483765" r:id="rId27"/>
    <p:sldLayoutId id="2147483766" r:id="rId28"/>
    <p:sldLayoutId id="2147483668" r:id="rId29"/>
    <p:sldLayoutId id="2147483771" r:id="rId30"/>
    <p:sldLayoutId id="2147483769" r:id="rId31"/>
    <p:sldLayoutId id="2147483770" r:id="rId32"/>
    <p:sldLayoutId id="2147483768" r:id="rId33"/>
    <p:sldLayoutId id="2147483767" r:id="rId34"/>
    <p:sldLayoutId id="2147483787" r:id="rId35"/>
    <p:sldLayoutId id="2147483788" r:id="rId36"/>
    <p:sldLayoutId id="2147483810" r:id="rId37"/>
    <p:sldLayoutId id="2147483789" r:id="rId38"/>
    <p:sldLayoutId id="2147483762" r:id="rId39"/>
    <p:sldLayoutId id="2147483676" r:id="rId40"/>
    <p:sldLayoutId id="2147483727" r:id="rId41"/>
    <p:sldLayoutId id="2147483706" r:id="rId42"/>
    <p:sldLayoutId id="2147483756" r:id="rId43"/>
    <p:sldLayoutId id="2147483757" r:id="rId44"/>
    <p:sldLayoutId id="2147483758" r:id="rId45"/>
    <p:sldLayoutId id="2147483680" r:id="rId46"/>
    <p:sldLayoutId id="2147483688" r:id="rId47"/>
    <p:sldLayoutId id="2147483703" r:id="rId48"/>
    <p:sldLayoutId id="2147483772" r:id="rId49"/>
    <p:sldLayoutId id="2147483773" r:id="rId50"/>
    <p:sldLayoutId id="2147483785" r:id="rId51"/>
    <p:sldLayoutId id="2147483774" r:id="rId52"/>
    <p:sldLayoutId id="2147483775" r:id="rId53"/>
    <p:sldLayoutId id="2147483776" r:id="rId54"/>
    <p:sldLayoutId id="2147483777" r:id="rId55"/>
    <p:sldLayoutId id="2147483778" r:id="rId56"/>
    <p:sldLayoutId id="2147483779" r:id="rId57"/>
    <p:sldLayoutId id="2147483780" r:id="rId58"/>
    <p:sldLayoutId id="2147483781" r:id="rId59"/>
    <p:sldLayoutId id="2147483782" r:id="rId60"/>
    <p:sldLayoutId id="2147483783" r:id="rId61"/>
    <p:sldLayoutId id="2147483744" r:id="rId62"/>
    <p:sldLayoutId id="2147483786" r:id="rId63"/>
    <p:sldLayoutId id="2147483753" r:id="rId64"/>
    <p:sldLayoutId id="2147483673" r:id="rId65"/>
    <p:sldLayoutId id="2147483801" r:id="rId6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133CCF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tabLst/>
        <a:defRPr sz="2800" kern="1200">
          <a:solidFill>
            <a:srgbClr val="133CCF"/>
          </a:solidFill>
          <a:latin typeface="+mn-lt"/>
          <a:ea typeface="+mn-ea"/>
          <a:cs typeface="+mn-cs"/>
        </a:defRPr>
      </a:lvl1pPr>
      <a:lvl2pPr marL="344488" indent="-173038" algn="l" defTabSz="914400" rtl="0" eaLnBrk="1" latinLnBrk="0" hangingPunct="1">
        <a:lnSpc>
          <a:spcPct val="90000"/>
        </a:lnSpc>
        <a:spcBef>
          <a:spcPts val="500"/>
        </a:spcBef>
        <a:buSzPct val="70000"/>
        <a:buFont typeface="Courier New" panose="02070309020205020404" pitchFamily="49" charset="0"/>
        <a:buChar char="o"/>
        <a:tabLst/>
        <a:defRPr sz="1800" kern="1200">
          <a:solidFill>
            <a:srgbClr val="133CCF"/>
          </a:solidFill>
          <a:latin typeface="+mn-lt"/>
          <a:ea typeface="+mn-ea"/>
          <a:cs typeface="+mn-cs"/>
        </a:defRPr>
      </a:lvl2pPr>
      <a:lvl3pPr marL="517525" indent="-173038" algn="l" defTabSz="914400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§"/>
        <a:tabLst/>
        <a:defRPr sz="1800" kern="1200">
          <a:solidFill>
            <a:srgbClr val="133CCF"/>
          </a:solidFill>
          <a:latin typeface="+mn-lt"/>
          <a:ea typeface="+mn-ea"/>
          <a:cs typeface="+mn-cs"/>
        </a:defRPr>
      </a:lvl3pPr>
      <a:lvl4pPr marL="690563" indent="-173038" algn="l" defTabSz="914400" rtl="0" eaLnBrk="1" latinLnBrk="0" hangingPunct="1">
        <a:lnSpc>
          <a:spcPct val="90000"/>
        </a:lnSpc>
        <a:spcBef>
          <a:spcPts val="500"/>
        </a:spcBef>
        <a:buSzPct val="70000"/>
        <a:buFont typeface="Wingdings" pitchFamily="2" charset="2"/>
        <a:buChar char="q"/>
        <a:tabLst/>
        <a:defRPr sz="1800" kern="1200">
          <a:solidFill>
            <a:srgbClr val="133CCF"/>
          </a:solidFill>
          <a:latin typeface="+mn-lt"/>
          <a:ea typeface="+mn-ea"/>
          <a:cs typeface="+mn-cs"/>
        </a:defRPr>
      </a:lvl4pPr>
      <a:lvl5pPr marL="863600" indent="-173038" algn="l" defTabSz="914400" rtl="0" eaLnBrk="1" latinLnBrk="0" hangingPunct="1">
        <a:lnSpc>
          <a:spcPct val="90000"/>
        </a:lnSpc>
        <a:spcBef>
          <a:spcPts val="500"/>
        </a:spcBef>
        <a:buSzPct val="80000"/>
        <a:buFont typeface="Wingdings" pitchFamily="2" charset="2"/>
        <a:buChar char="v"/>
        <a:tabLst/>
        <a:defRPr sz="1800" kern="1200">
          <a:solidFill>
            <a:srgbClr val="133CC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76" userDrawn="1">
          <p15:clr>
            <a:srgbClr val="F26B43"/>
          </p15:clr>
        </p15:guide>
        <p15:guide id="2" pos="7304" userDrawn="1">
          <p15:clr>
            <a:srgbClr val="F26B43"/>
          </p15:clr>
        </p15:guide>
        <p15:guide id="3" orient="horz" pos="4056" userDrawn="1">
          <p15:clr>
            <a:srgbClr val="F26B43"/>
          </p15:clr>
        </p15:guide>
        <p15:guide id="4" orient="horz" pos="696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DD812B6-E6FD-4736-B1A0-626F8CA6130D}"/>
              </a:ext>
            </a:extLst>
          </p:cNvPr>
          <p:cNvSpPr/>
          <p:nvPr userDrawn="1"/>
        </p:nvSpPr>
        <p:spPr>
          <a:xfrm>
            <a:off x="12274974" y="999067"/>
            <a:ext cx="406400" cy="457200"/>
          </a:xfrm>
          <a:prstGeom prst="rect">
            <a:avLst/>
          </a:prstGeom>
          <a:solidFill>
            <a:srgbClr val="FBF1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E0CAC90-82FA-4C22-B033-1858C523192F}"/>
              </a:ext>
            </a:extLst>
          </p:cNvPr>
          <p:cNvSpPr/>
          <p:nvPr userDrawn="1"/>
        </p:nvSpPr>
        <p:spPr>
          <a:xfrm>
            <a:off x="12274974" y="1498600"/>
            <a:ext cx="406400" cy="457200"/>
          </a:xfrm>
          <a:prstGeom prst="rect">
            <a:avLst/>
          </a:prstGeom>
          <a:solidFill>
            <a:srgbClr val="D3E09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C5AA6F3-60DC-4CC3-A715-8A72B9EDE31E}"/>
              </a:ext>
            </a:extLst>
          </p:cNvPr>
          <p:cNvSpPr/>
          <p:nvPr userDrawn="1"/>
        </p:nvSpPr>
        <p:spPr>
          <a:xfrm>
            <a:off x="12274974" y="1998133"/>
            <a:ext cx="406400" cy="457200"/>
          </a:xfrm>
          <a:prstGeom prst="rect">
            <a:avLst/>
          </a:prstGeom>
          <a:solidFill>
            <a:srgbClr val="FAA4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19A5C3A-A1A1-4707-B380-41492E2702CC}"/>
              </a:ext>
            </a:extLst>
          </p:cNvPr>
          <p:cNvSpPr/>
          <p:nvPr userDrawn="1"/>
        </p:nvSpPr>
        <p:spPr>
          <a:xfrm>
            <a:off x="12274974" y="2497667"/>
            <a:ext cx="406400" cy="457200"/>
          </a:xfrm>
          <a:prstGeom prst="rect">
            <a:avLst/>
          </a:prstGeom>
          <a:solidFill>
            <a:srgbClr val="EA4B5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D42668D-9449-4EEC-8ABC-3066145EA1E2}"/>
              </a:ext>
            </a:extLst>
          </p:cNvPr>
          <p:cNvSpPr/>
          <p:nvPr userDrawn="1"/>
        </p:nvSpPr>
        <p:spPr>
          <a:xfrm>
            <a:off x="12274974" y="0"/>
            <a:ext cx="406400" cy="457200"/>
          </a:xfrm>
          <a:prstGeom prst="rect">
            <a:avLst/>
          </a:prstGeom>
          <a:solidFill>
            <a:srgbClr val="8182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47992D-D1C4-4C87-BF33-D272978ADFA6}"/>
              </a:ext>
            </a:extLst>
          </p:cNvPr>
          <p:cNvSpPr/>
          <p:nvPr userDrawn="1"/>
        </p:nvSpPr>
        <p:spPr>
          <a:xfrm>
            <a:off x="12274974" y="499533"/>
            <a:ext cx="406400" cy="457200"/>
          </a:xfrm>
          <a:prstGeom prst="rect">
            <a:avLst/>
          </a:prstGeom>
          <a:solidFill>
            <a:srgbClr val="BDBE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AAFE726A-1997-4755-BAC2-A02982F9C1DA}"/>
              </a:ext>
            </a:extLst>
          </p:cNvPr>
          <p:cNvSpPr/>
          <p:nvPr userDrawn="1"/>
        </p:nvSpPr>
        <p:spPr>
          <a:xfrm>
            <a:off x="12272965" y="2997199"/>
            <a:ext cx="406400" cy="457200"/>
          </a:xfrm>
          <a:prstGeom prst="rect">
            <a:avLst/>
          </a:prstGeom>
          <a:solidFill>
            <a:srgbClr val="00AE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/>
          </a:p>
        </p:txBody>
      </p:sp>
    </p:spTree>
    <p:extLst>
      <p:ext uri="{BB962C8B-B14F-4D97-AF65-F5344CB8AC3E}">
        <p14:creationId xmlns:p14="http://schemas.microsoft.com/office/powerpoint/2010/main" val="918421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  <p:sldLayoutId id="2147483898" r:id="rId14"/>
    <p:sldLayoutId id="2147483899" r:id="rId15"/>
    <p:sldLayoutId id="2147483900" r:id="rId16"/>
    <p:sldLayoutId id="2147483901" r:id="rId17"/>
    <p:sldLayoutId id="2147483902" r:id="rId18"/>
    <p:sldLayoutId id="2147483903" r:id="rId19"/>
  </p:sldLayoutIdLst>
  <p:txStyles>
    <p:titleStyle>
      <a:lvl1pPr algn="l" defTabSz="609630" rtl="0" eaLnBrk="1" latinLnBrk="0" hangingPunct="1">
        <a:lnSpc>
          <a:spcPct val="90000"/>
        </a:lnSpc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52408" indent="-152408" algn="l" defTabSz="60963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36">
          <p15:clr>
            <a:srgbClr val="F26B43"/>
          </p15:clr>
        </p15:guide>
        <p15:guide id="2" orient="horz" pos="6120">
          <p15:clr>
            <a:srgbClr val="F26B43"/>
          </p15:clr>
        </p15:guide>
        <p15:guide id="3" orient="horz" pos="360">
          <p15:clr>
            <a:srgbClr val="F26B43"/>
          </p15:clr>
        </p15:guide>
        <p15:guide id="4" pos="5760">
          <p15:clr>
            <a:srgbClr val="F26B43"/>
          </p15:clr>
        </p15:guide>
        <p15:guide id="5" orient="horz" pos="32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50703A8-6350-4708-9AC8-A48C7D4667F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1922827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15" imgH="416" progId="TCLayout.ActiveDocument.1">
                  <p:embed/>
                </p:oleObj>
              </mc:Choice>
              <mc:Fallback>
                <p:oleObj name="think-cell Slide" r:id="rId38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50703A8-6350-4708-9AC8-A48C7D4667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88638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8" r:id="rId1"/>
    <p:sldLayoutId id="2147484259" r:id="rId2"/>
    <p:sldLayoutId id="2147484260" r:id="rId3"/>
    <p:sldLayoutId id="2147484261" r:id="rId4"/>
    <p:sldLayoutId id="2147484262" r:id="rId5"/>
    <p:sldLayoutId id="2147484263" r:id="rId6"/>
    <p:sldLayoutId id="2147484264" r:id="rId7"/>
    <p:sldLayoutId id="2147484265" r:id="rId8"/>
    <p:sldLayoutId id="2147484266" r:id="rId9"/>
    <p:sldLayoutId id="2147484267" r:id="rId10"/>
    <p:sldLayoutId id="2147484268" r:id="rId11"/>
    <p:sldLayoutId id="2147484269" r:id="rId12"/>
    <p:sldLayoutId id="2147484270" r:id="rId13"/>
    <p:sldLayoutId id="2147484271" r:id="rId14"/>
    <p:sldLayoutId id="2147484272" r:id="rId15"/>
    <p:sldLayoutId id="2147484273" r:id="rId16"/>
    <p:sldLayoutId id="2147484274" r:id="rId17"/>
    <p:sldLayoutId id="2147484275" r:id="rId18"/>
    <p:sldLayoutId id="2147484276" r:id="rId19"/>
    <p:sldLayoutId id="2147484277" r:id="rId20"/>
    <p:sldLayoutId id="2147484278" r:id="rId21"/>
    <p:sldLayoutId id="2147484279" r:id="rId22"/>
    <p:sldLayoutId id="2147484280" r:id="rId23"/>
    <p:sldLayoutId id="2147484281" r:id="rId24"/>
    <p:sldLayoutId id="2147484282" r:id="rId25"/>
    <p:sldLayoutId id="2147484283" r:id="rId26"/>
    <p:sldLayoutId id="2147484284" r:id="rId27"/>
    <p:sldLayoutId id="2147484285" r:id="rId28"/>
    <p:sldLayoutId id="2147484286" r:id="rId29"/>
    <p:sldLayoutId id="2147484287" r:id="rId30"/>
    <p:sldLayoutId id="2147484288" r:id="rId31"/>
    <p:sldLayoutId id="2147484289" r:id="rId32"/>
    <p:sldLayoutId id="2147484290" r:id="rId33"/>
    <p:sldLayoutId id="2147484291" r:id="rId34"/>
    <p:sldLayoutId id="2147484292" r:id="rId3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1F3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C4F1B2-C409-4C13-9490-4AC2ED5BAC7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2900" y="1600200"/>
            <a:ext cx="5905500" cy="44243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B6CBCCF8-7317-D425-044B-87972013E74B}"/>
              </a:ext>
            </a:extLst>
          </p:cNvPr>
          <p:cNvPicPr>
            <a:picLocks noChangeAspect="1"/>
          </p:cNvPicPr>
          <p:nvPr userDrawn="1"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202394" y="141214"/>
            <a:ext cx="780831" cy="187399"/>
          </a:xfrm>
          <a:prstGeom prst="rect">
            <a:avLst/>
          </a:prstGeom>
        </p:spPr>
      </p:pic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7AD74610-525F-7E94-8E92-C6C2D08801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2900" y="689347"/>
            <a:ext cx="590550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3" name="object 17">
            <a:extLst>
              <a:ext uri="{FF2B5EF4-FFF2-40B4-BE49-F238E27FC236}">
                <a16:creationId xmlns:a16="http://schemas.microsoft.com/office/drawing/2014/main" id="{20C45D39-6A1A-D2A5-5E8F-0BC655E1AD99}"/>
              </a:ext>
            </a:extLst>
          </p:cNvPr>
          <p:cNvSpPr txBox="1">
            <a:spLocks/>
          </p:cNvSpPr>
          <p:nvPr userDrawn="1"/>
        </p:nvSpPr>
        <p:spPr>
          <a:xfrm>
            <a:off x="11649283" y="210332"/>
            <a:ext cx="425305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ct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653A1D-CE81-1B46-9F19-36F2F8F55CD9}" type="slidenum">
              <a:rPr kumimoji="0" lang="en-IN" sz="700" b="1" i="0" u="none" strike="noStrike" kern="1200" cap="none" spc="0" normalizeH="0" baseline="0" noProof="0" smtClean="0">
                <a:ln>
                  <a:noFill/>
                </a:ln>
                <a:solidFill>
                  <a:srgbClr val="001D90"/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pPr marL="12700" marR="0" lvl="0" indent="0" algn="ctr" defTabSz="914400" rtl="0" eaLnBrk="1" fontAlgn="auto" latinLnBrk="0" hangingPunct="1">
                <a:lnSpc>
                  <a:spcPct val="114000"/>
                </a:lnSpc>
                <a:spcBef>
                  <a:spcPts val="1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IN" sz="600" b="0" i="0" u="none" strike="noStrike" kern="1200" cap="none" spc="0" normalizeH="0" baseline="0" noProof="0">
              <a:ln>
                <a:noFill/>
              </a:ln>
              <a:solidFill>
                <a:srgbClr val="001D90"/>
              </a:solidFill>
              <a:effectLst/>
              <a:uLnTx/>
              <a:uFillTx/>
              <a:latin typeface="Fibra One" pitchFamily="2" charset="77"/>
              <a:ea typeface="+mj-ea"/>
              <a:cs typeface="+mj-cs"/>
            </a:endParaRPr>
          </a:p>
        </p:txBody>
      </p:sp>
      <p:sp>
        <p:nvSpPr>
          <p:cNvPr id="14" name="object 17">
            <a:extLst>
              <a:ext uri="{FF2B5EF4-FFF2-40B4-BE49-F238E27FC236}">
                <a16:creationId xmlns:a16="http://schemas.microsoft.com/office/drawing/2014/main" id="{87327101-3F34-1284-7267-592FB554D688}"/>
              </a:ext>
            </a:extLst>
          </p:cNvPr>
          <p:cNvSpPr txBox="1">
            <a:spLocks/>
          </p:cNvSpPr>
          <p:nvPr userDrawn="1"/>
        </p:nvSpPr>
        <p:spPr>
          <a:xfrm rot="5400000">
            <a:off x="9824267" y="4472372"/>
            <a:ext cx="4116588" cy="129074"/>
          </a:xfrm>
          <a:prstGeom prst="rect">
            <a:avLst/>
          </a:prstGeom>
        </p:spPr>
        <p:txBody>
          <a:bodyPr vert="horz" wrap="square" lIns="0" tIns="1270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0" kern="1200" spc="0" baseline="0">
                <a:solidFill>
                  <a:schemeClr val="bg1"/>
                </a:solidFill>
                <a:latin typeface="Fibra One UltraBold" panose="00000900000000000000" pitchFamily="50" charset="0"/>
                <a:ea typeface="+mj-ea"/>
                <a:cs typeface="+mj-cs"/>
              </a:defRPr>
            </a:lvl1pPr>
          </a:lstStyle>
          <a:p>
            <a:pPr marL="12700" marR="0" lvl="0" indent="0" algn="r" defTabSz="914400" rtl="0" eaLnBrk="1" fontAlgn="auto" latinLnBrk="0" hangingPunct="1">
              <a:lnSpc>
                <a:spcPct val="1140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7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lumMod val="65000"/>
                    <a:lumOff val="35000"/>
                  </a:srgbClr>
                </a:solidFill>
                <a:effectLst/>
                <a:uLnTx/>
                <a:uFillTx/>
                <a:latin typeface="Fibra One Bold" pitchFamily="2" charset="77"/>
                <a:ea typeface="+mj-ea"/>
                <a:cs typeface="+mj-cs"/>
              </a:rPr>
              <a:t>2023  PepsiCo ESG Summary Overview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F91D82-D516-1FE6-233D-08336FB9A392}"/>
              </a:ext>
            </a:extLst>
          </p:cNvPr>
          <p:cNvSpPr txBox="1"/>
          <p:nvPr userDrawn="1"/>
        </p:nvSpPr>
        <p:spPr>
          <a:xfrm>
            <a:off x="-1" y="6676328"/>
            <a:ext cx="2227811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u="none" strike="noStrike" err="1">
                <a:solidFill>
                  <a:srgbClr val="0065E5"/>
                </a:solidFill>
                <a:effectLst/>
                <a:latin typeface="Fibra One Light" panose="020B0604020202020204" charset="0"/>
              </a:rPr>
              <a:t>pepsico</a:t>
            </a:r>
            <a:r>
              <a:rPr lang="en-US" sz="700" b="0" i="0" u="none" strike="noStrike">
                <a:solidFill>
                  <a:srgbClr val="0065E5"/>
                </a:solidFill>
                <a:effectLst/>
                <a:latin typeface="Fibra One Light" panose="020B0604020202020204" charset="0"/>
              </a:rPr>
              <a:t> positive I </a:t>
            </a:r>
            <a:r>
              <a:rPr lang="en-US" sz="700" b="0" i="0" u="none" strike="noStrike">
                <a:solidFill>
                  <a:srgbClr val="8FDC42"/>
                </a:solidFill>
                <a:effectLst/>
                <a:latin typeface="Fibra One Light" panose="020B0604020202020204" charset="0"/>
              </a:rPr>
              <a:t>confidential &amp; proprietary</a:t>
            </a:r>
            <a:endParaRPr lang="en-US" sz="100">
              <a:solidFill>
                <a:srgbClr val="8FDC42"/>
              </a:solidFill>
              <a:latin typeface="Fibra One Light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5989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2" r:id="rId1"/>
    <p:sldLayoutId id="2147484363" r:id="rId2"/>
    <p:sldLayoutId id="2147484364" r:id="rId3"/>
    <p:sldLayoutId id="2147484365" r:id="rId4"/>
    <p:sldLayoutId id="2147484366" r:id="rId5"/>
    <p:sldLayoutId id="2147484367" r:id="rId6"/>
    <p:sldLayoutId id="2147484368" r:id="rId7"/>
    <p:sldLayoutId id="2147484369" r:id="rId8"/>
    <p:sldLayoutId id="2147484370" r:id="rId9"/>
    <p:sldLayoutId id="2147484371" r:id="rId10"/>
    <p:sldLayoutId id="2147484372" r:id="rId11"/>
    <p:sldLayoutId id="2147484373" r:id="rId12"/>
    <p:sldLayoutId id="2147484374" r:id="rId13"/>
    <p:sldLayoutId id="2147484375" r:id="rId14"/>
    <p:sldLayoutId id="2147484376" r:id="rId15"/>
    <p:sldLayoutId id="2147484377" r:id="rId1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kern="1200" spc="0" baseline="0">
          <a:solidFill>
            <a:schemeClr val="tx1"/>
          </a:solidFill>
          <a:latin typeface="Fibra One UltraBold" panose="00000900000000000000" pitchFamily="50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550" b="0" kern="1200">
          <a:solidFill>
            <a:schemeClr val="tx1"/>
          </a:solidFill>
          <a:latin typeface="Fibra One UltraBold" panose="00000900000000000000" pitchFamily="50" charset="0"/>
          <a:ea typeface="+mn-ea"/>
          <a:cs typeface="+mn-cs"/>
        </a:defRPr>
      </a:lvl1pPr>
      <a:lvl2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2pPr>
      <a:lvl3pPr marL="228600" indent="-228600" algn="l" defTabSz="914400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Clr>
          <a:schemeClr val="tx2"/>
        </a:buClr>
        <a:buFont typeface="Wingdings 2" panose="05020102010507070707" pitchFamily="18" charset="2"/>
        <a:buChar char=""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55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90000"/>
        </a:lnSpc>
        <a:spcBef>
          <a:spcPts val="0"/>
        </a:spcBef>
        <a:spcAft>
          <a:spcPts val="900"/>
        </a:spcAft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008">
          <p15:clr>
            <a:srgbClr val="F26B43"/>
          </p15:clr>
        </p15:guide>
        <p15:guide id="3" pos="7416">
          <p15:clr>
            <a:srgbClr val="F26B43"/>
          </p15:clr>
        </p15:guide>
        <p15:guide id="4" pos="216">
          <p15:clr>
            <a:srgbClr val="F26B43"/>
          </p15:clr>
        </p15:guide>
        <p15:guide id="5" pos="3816">
          <p15:clr>
            <a:srgbClr val="F26B43"/>
          </p15:clr>
        </p15:guide>
        <p15:guide id="6" orient="horz" pos="432">
          <p15:clr>
            <a:srgbClr val="F26B43"/>
          </p15:clr>
        </p15:guide>
        <p15:guide id="7" orient="horz" pos="816">
          <p15:clr>
            <a:srgbClr val="F26B43"/>
          </p15:clr>
        </p15:guide>
        <p15:guide id="8" pos="6216">
          <p15:clr>
            <a:srgbClr val="F26B43"/>
          </p15:clr>
        </p15:guide>
        <p15:guide id="9" orient="horz" pos="2496">
          <p15:clr>
            <a:srgbClr val="F26B43"/>
          </p15:clr>
        </p15:guide>
        <p15:guide id="10" orient="horz" pos="4190">
          <p15:clr>
            <a:srgbClr val="F26B43"/>
          </p15:clr>
        </p15:guide>
        <p15:guide id="11" pos="1416">
          <p15:clr>
            <a:srgbClr val="F26B43"/>
          </p15:clr>
        </p15:guide>
        <p15:guide id="12" pos="2616">
          <p15:clr>
            <a:srgbClr val="F26B43"/>
          </p15:clr>
        </p15:guide>
        <p15:guide id="13" pos="5016">
          <p15:clr>
            <a:srgbClr val="F26B43"/>
          </p15:clr>
        </p15:guide>
        <p15:guide id="14" orient="horz" pos="12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8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0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1.xml"/><Relationship Id="rId6" Type="http://schemas.openxmlformats.org/officeDocument/2006/relationships/image" Target="../media/image4.emf"/><Relationship Id="rId5" Type="http://schemas.openxmlformats.org/officeDocument/2006/relationships/image" Target="../media/image2.emf"/><Relationship Id="rId10" Type="http://schemas.openxmlformats.org/officeDocument/2006/relationships/image" Target="../media/image6.emf"/><Relationship Id="rId4" Type="http://schemas.openxmlformats.org/officeDocument/2006/relationships/oleObject" Target="../embeddings/oleObject99.bin"/><Relationship Id="rId9" Type="http://schemas.openxmlformats.org/officeDocument/2006/relationships/image" Target="../media/image20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211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2.xml"/><Relationship Id="rId6" Type="http://schemas.openxmlformats.org/officeDocument/2006/relationships/image" Target="../media/image210.png"/><Relationship Id="rId5" Type="http://schemas.openxmlformats.org/officeDocument/2006/relationships/image" Target="../media/image2.emf"/><Relationship Id="rId10" Type="http://schemas.openxmlformats.org/officeDocument/2006/relationships/image" Target="../media/image213.png"/><Relationship Id="rId4" Type="http://schemas.openxmlformats.org/officeDocument/2006/relationships/oleObject" Target="../embeddings/oleObject99.bin"/><Relationship Id="rId9" Type="http://schemas.openxmlformats.org/officeDocument/2006/relationships/image" Target="../media/image2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4.png"/><Relationship Id="rId13" Type="http://schemas.openxmlformats.org/officeDocument/2006/relationships/image" Target="../media/image215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.emf"/><Relationship Id="rId12" Type="http://schemas.openxmlformats.org/officeDocument/2006/relationships/image" Target="../media/image6.emf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3.xml"/><Relationship Id="rId6" Type="http://schemas.openxmlformats.org/officeDocument/2006/relationships/oleObject" Target="../embeddings/oleObject99.bin"/><Relationship Id="rId11" Type="http://schemas.openxmlformats.org/officeDocument/2006/relationships/image" Target="../media/image26.emf"/><Relationship Id="rId5" Type="http://schemas.openxmlformats.org/officeDocument/2006/relationships/image" Target="../media/image211.svg"/><Relationship Id="rId15" Type="http://schemas.openxmlformats.org/officeDocument/2006/relationships/image" Target="../media/image217.png"/><Relationship Id="rId10" Type="http://schemas.openxmlformats.org/officeDocument/2006/relationships/image" Target="../media/image25.emf"/><Relationship Id="rId4" Type="http://schemas.openxmlformats.org/officeDocument/2006/relationships/image" Target="../media/image210.png"/><Relationship Id="rId9" Type="http://schemas.microsoft.com/office/2007/relationships/hdphoto" Target="../media/hdphoto2.wdp"/><Relationship Id="rId14" Type="http://schemas.openxmlformats.org/officeDocument/2006/relationships/image" Target="../media/image216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9.png"/><Relationship Id="rId13" Type="http://schemas.openxmlformats.org/officeDocument/2006/relationships/image" Target="../media/image6.emf"/><Relationship Id="rId18" Type="http://schemas.openxmlformats.org/officeDocument/2006/relationships/image" Target="../media/image225.jpe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18.svg"/><Relationship Id="rId12" Type="http://schemas.openxmlformats.org/officeDocument/2006/relationships/image" Target="../media/image223.svg"/><Relationship Id="rId17" Type="http://schemas.openxmlformats.org/officeDocument/2006/relationships/image" Target="../media/image224.sv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215.png"/><Relationship Id="rId1" Type="http://schemas.openxmlformats.org/officeDocument/2006/relationships/tags" Target="../tags/tag104.xml"/><Relationship Id="rId6" Type="http://schemas.openxmlformats.org/officeDocument/2006/relationships/image" Target="../media/image210.png"/><Relationship Id="rId11" Type="http://schemas.openxmlformats.org/officeDocument/2006/relationships/image" Target="../media/image222.png"/><Relationship Id="rId5" Type="http://schemas.openxmlformats.org/officeDocument/2006/relationships/image" Target="../media/image2.emf"/><Relationship Id="rId15" Type="http://schemas.openxmlformats.org/officeDocument/2006/relationships/image" Target="../media/image26.emf"/><Relationship Id="rId10" Type="http://schemas.openxmlformats.org/officeDocument/2006/relationships/image" Target="../media/image221.png"/><Relationship Id="rId19" Type="http://schemas.openxmlformats.org/officeDocument/2006/relationships/image" Target="../media/image226.png"/><Relationship Id="rId4" Type="http://schemas.openxmlformats.org/officeDocument/2006/relationships/oleObject" Target="../embeddings/oleObject99.bin"/><Relationship Id="rId9" Type="http://schemas.openxmlformats.org/officeDocument/2006/relationships/image" Target="../media/image220.png"/><Relationship Id="rId14" Type="http://schemas.openxmlformats.org/officeDocument/2006/relationships/image" Target="../media/image25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mailto:catherine.walton@pepsico.com" TargetMode="External"/><Relationship Id="rId3" Type="http://schemas.openxmlformats.org/officeDocument/2006/relationships/image" Target="../media/image31.emf"/><Relationship Id="rId7" Type="http://schemas.openxmlformats.org/officeDocument/2006/relationships/hyperlink" Target="mailto:shanna.parra@pepsico.com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228.jpeg"/><Relationship Id="rId5" Type="http://schemas.openxmlformats.org/officeDocument/2006/relationships/image" Target="../media/image227.jpeg"/><Relationship Id="rId10" Type="http://schemas.openxmlformats.org/officeDocument/2006/relationships/image" Target="../media/image6.emf"/><Relationship Id="rId4" Type="http://schemas.openxmlformats.org/officeDocument/2006/relationships/image" Target="../media/image5.emf"/><Relationship Id="rId9" Type="http://schemas.openxmlformats.org/officeDocument/2006/relationships/image" Target="../media/image2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CCEA0D60-693D-E877-223A-9F212EFBA2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CEA0D60-693D-E877-223A-9F212EFBA2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8A936C7D-2260-18B6-6EBB-7C833C66FDA0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11D8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3" name="Freeform: Shape 152">
            <a:extLst>
              <a:ext uri="{FF2B5EF4-FFF2-40B4-BE49-F238E27FC236}">
                <a16:creationId xmlns:a16="http://schemas.microsoft.com/office/drawing/2014/main" id="{AA1519D7-BEC6-9471-0E3C-4717484AD84D}"/>
              </a:ext>
            </a:extLst>
          </p:cNvPr>
          <p:cNvSpPr/>
          <p:nvPr/>
        </p:nvSpPr>
        <p:spPr>
          <a:xfrm>
            <a:off x="5690212" y="3923670"/>
            <a:ext cx="6501788" cy="2934330"/>
          </a:xfrm>
          <a:custGeom>
            <a:avLst/>
            <a:gdLst>
              <a:gd name="connsiteX0" fmla="*/ 617182 w 6501788"/>
              <a:gd name="connsiteY0" fmla="*/ 0 h 2934330"/>
              <a:gd name="connsiteX1" fmla="*/ 864318 w 6501788"/>
              <a:gd name="connsiteY1" fmla="*/ 0 h 2934330"/>
              <a:gd name="connsiteX2" fmla="*/ 6254652 w 6501788"/>
              <a:gd name="connsiteY2" fmla="*/ 0 h 2934330"/>
              <a:gd name="connsiteX3" fmla="*/ 6501788 w 6501788"/>
              <a:gd name="connsiteY3" fmla="*/ 0 h 2934330"/>
              <a:gd name="connsiteX4" fmla="*/ 6501788 w 6501788"/>
              <a:gd name="connsiteY4" fmla="*/ 2934330 h 2934330"/>
              <a:gd name="connsiteX5" fmla="*/ 6254652 w 6501788"/>
              <a:gd name="connsiteY5" fmla="*/ 2934330 h 2934330"/>
              <a:gd name="connsiteX6" fmla="*/ 247136 w 6501788"/>
              <a:gd name="connsiteY6" fmla="*/ 2934330 h 2934330"/>
              <a:gd name="connsiteX7" fmla="*/ 0 w 6501788"/>
              <a:gd name="connsiteY7" fmla="*/ 2934330 h 2934330"/>
              <a:gd name="connsiteX8" fmla="*/ 0 w 6501788"/>
              <a:gd name="connsiteY8" fmla="*/ 617182 h 2934330"/>
              <a:gd name="connsiteX9" fmla="*/ 617182 w 6501788"/>
              <a:gd name="connsiteY9" fmla="*/ 0 h 29343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501788" h="2934330">
                <a:moveTo>
                  <a:pt x="617182" y="0"/>
                </a:moveTo>
                <a:lnTo>
                  <a:pt x="864318" y="0"/>
                </a:lnTo>
                <a:lnTo>
                  <a:pt x="6254652" y="0"/>
                </a:lnTo>
                <a:lnTo>
                  <a:pt x="6501788" y="0"/>
                </a:lnTo>
                <a:lnTo>
                  <a:pt x="6501788" y="2934330"/>
                </a:lnTo>
                <a:lnTo>
                  <a:pt x="6254652" y="2934330"/>
                </a:lnTo>
                <a:lnTo>
                  <a:pt x="247136" y="2934330"/>
                </a:lnTo>
                <a:lnTo>
                  <a:pt x="0" y="2934330"/>
                </a:lnTo>
                <a:lnTo>
                  <a:pt x="0" y="617182"/>
                </a:lnTo>
                <a:cubicBezTo>
                  <a:pt x="0" y="276322"/>
                  <a:pt x="276322" y="0"/>
                  <a:pt x="617182" y="0"/>
                </a:cubicBezTo>
                <a:close/>
              </a:path>
            </a:pathLst>
          </a:custGeom>
          <a:solidFill>
            <a:schemeClr val="tx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8" name="Freeform: Shape 117">
            <a:extLst>
              <a:ext uri="{FF2B5EF4-FFF2-40B4-BE49-F238E27FC236}">
                <a16:creationId xmlns:a16="http://schemas.microsoft.com/office/drawing/2014/main" id="{7DE6E473-127C-64AB-0043-B7009D936BA0}"/>
              </a:ext>
            </a:extLst>
          </p:cNvPr>
          <p:cNvSpPr/>
          <p:nvPr/>
        </p:nvSpPr>
        <p:spPr>
          <a:xfrm rot="16200000" flipH="1">
            <a:off x="7088976" y="-1471855"/>
            <a:ext cx="3208088" cy="6997963"/>
          </a:xfrm>
          <a:custGeom>
            <a:avLst/>
            <a:gdLst>
              <a:gd name="connsiteX0" fmla="*/ 0 w 3329214"/>
              <a:gd name="connsiteY0" fmla="*/ 1664608 h 6997963"/>
              <a:gd name="connsiteX1" fmla="*/ 0 w 3329214"/>
              <a:gd name="connsiteY1" fmla="*/ 6997963 h 6997963"/>
              <a:gd name="connsiteX2" fmla="*/ 3329214 w 3329214"/>
              <a:gd name="connsiteY2" fmla="*/ 6997963 h 6997963"/>
              <a:gd name="connsiteX3" fmla="*/ 3329214 w 3329214"/>
              <a:gd name="connsiteY3" fmla="*/ 1664607 h 6997963"/>
              <a:gd name="connsiteX4" fmla="*/ 1664607 w 3329214"/>
              <a:gd name="connsiteY4" fmla="*/ 1 h 6997963"/>
              <a:gd name="connsiteX5" fmla="*/ 0 w 3329214"/>
              <a:gd name="connsiteY5" fmla="*/ 1664608 h 69979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329214" h="6997963">
                <a:moveTo>
                  <a:pt x="0" y="1664608"/>
                </a:moveTo>
                <a:lnTo>
                  <a:pt x="0" y="6997963"/>
                </a:lnTo>
                <a:lnTo>
                  <a:pt x="3329214" y="6997963"/>
                </a:lnTo>
                <a:lnTo>
                  <a:pt x="3329214" y="1664607"/>
                </a:lnTo>
                <a:cubicBezTo>
                  <a:pt x="3329214" y="745270"/>
                  <a:pt x="2583944" y="0"/>
                  <a:pt x="1664607" y="1"/>
                </a:cubicBezTo>
                <a:cubicBezTo>
                  <a:pt x="745270" y="1"/>
                  <a:pt x="0" y="745270"/>
                  <a:pt x="0" y="166460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116E6BD-A270-84AB-BC72-5F2B291AF79B}"/>
              </a:ext>
            </a:extLst>
          </p:cNvPr>
          <p:cNvSpPr txBox="1"/>
          <p:nvPr/>
        </p:nvSpPr>
        <p:spPr>
          <a:xfrm>
            <a:off x="8534400" y="1506761"/>
            <a:ext cx="3453699" cy="1001493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j-ea"/>
                <a:cs typeface="+mj-cs"/>
              </a:rPr>
              <a:t>A Portfolio of Advantaged</a:t>
            </a:r>
            <a:b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j-ea"/>
                <a:cs typeface="+mj-cs"/>
              </a:rPr>
            </a:br>
            <a:r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ea typeface="+mj-ea"/>
                <a:cs typeface="+mj-cs"/>
              </a:rPr>
              <a:t>Sustainability Solution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AAC7B71D-5429-0BA9-66DE-D51C3896627F}"/>
              </a:ext>
            </a:extLst>
          </p:cNvPr>
          <p:cNvSpPr/>
          <p:nvPr/>
        </p:nvSpPr>
        <p:spPr>
          <a:xfrm flipH="1" flipV="1">
            <a:off x="10458450" y="-1"/>
            <a:ext cx="1733550" cy="1463137"/>
          </a:xfrm>
          <a:custGeom>
            <a:avLst/>
            <a:gdLst>
              <a:gd name="connsiteX0" fmla="*/ 0 w 4441488"/>
              <a:gd name="connsiteY0" fmla="*/ 0 h 3748669"/>
              <a:gd name="connsiteX1" fmla="*/ 47134 w 4441488"/>
              <a:gd name="connsiteY1" fmla="*/ 139302 h 3748669"/>
              <a:gd name="connsiteX2" fmla="*/ 4181197 w 4441488"/>
              <a:gd name="connsiteY2" fmla="*/ 3702186 h 3748669"/>
              <a:gd name="connsiteX3" fmla="*/ 4441488 w 4441488"/>
              <a:gd name="connsiteY3" fmla="*/ 3748669 h 3748669"/>
              <a:gd name="connsiteX4" fmla="*/ 0 w 4441488"/>
              <a:gd name="connsiteY4" fmla="*/ 3748669 h 3748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41488" h="3748669">
                <a:moveTo>
                  <a:pt x="0" y="0"/>
                </a:moveTo>
                <a:lnTo>
                  <a:pt x="47134" y="139302"/>
                </a:lnTo>
                <a:cubicBezTo>
                  <a:pt x="707026" y="1941551"/>
                  <a:pt x="2266187" y="3310318"/>
                  <a:pt x="4181197" y="3702186"/>
                </a:cubicBezTo>
                <a:lnTo>
                  <a:pt x="4441488" y="3748669"/>
                </a:lnTo>
                <a:lnTo>
                  <a:pt x="0" y="3748669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9CA97012-959C-3DA5-36C9-417F63226D9E}"/>
              </a:ext>
            </a:extLst>
          </p:cNvPr>
          <p:cNvSpPr txBox="1">
            <a:spLocks/>
          </p:cNvSpPr>
          <p:nvPr/>
        </p:nvSpPr>
        <p:spPr>
          <a:xfrm>
            <a:off x="596900" y="2288262"/>
            <a:ext cx="3944010" cy="22111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/>
              <a:defRPr sz="2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ourier New" panose="02070309020205020404" pitchFamily="49" charset="0"/>
              <a:buChar char="o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itchFamily="2" charset="2"/>
              <a:buChar char="§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Wingdings" pitchFamily="2" charset="2"/>
              <a:buChar char="q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863600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 typeface="Wingdings" pitchFamily="2" charset="2"/>
              <a:buChar char="v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IN" sz="5400">
                <a:solidFill>
                  <a:schemeClr val="bg1"/>
                </a:solidFill>
                <a:ea typeface="+mj-ea"/>
                <a:cs typeface="+mj-cs"/>
              </a:rPr>
              <a:t>What is </a:t>
            </a:r>
            <a:r>
              <a:rPr lang="en-IN" sz="5400" b="1">
                <a:solidFill>
                  <a:schemeClr val="bg1"/>
                </a:solidFill>
                <a:ea typeface="+mj-ea"/>
                <a:cs typeface="+mj-cs"/>
              </a:rPr>
              <a:t>Partners for Tomorrow?</a:t>
            </a:r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084A322-F64D-220F-29EF-70B8F98DBE5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3805844" y="5227092"/>
            <a:ext cx="1884368" cy="1630905"/>
          </a:xfrm>
          <a:prstGeom prst="rect">
            <a:avLst/>
          </a:prstGeom>
        </p:spPr>
      </p:pic>
      <p:grpSp>
        <p:nvGrpSpPr>
          <p:cNvPr id="4" name="Group 3">
            <a:extLst>
              <a:ext uri="{FF2B5EF4-FFF2-40B4-BE49-F238E27FC236}">
                <a16:creationId xmlns:a16="http://schemas.microsoft.com/office/drawing/2014/main" id="{EBCA9BBD-4D38-9A4E-5F6B-76BA47F7E140}"/>
              </a:ext>
            </a:extLst>
          </p:cNvPr>
          <p:cNvGrpSpPr/>
          <p:nvPr/>
        </p:nvGrpSpPr>
        <p:grpSpPr>
          <a:xfrm>
            <a:off x="5428413" y="545132"/>
            <a:ext cx="2924756" cy="2924750"/>
            <a:chOff x="6024015" y="317772"/>
            <a:chExt cx="2876551" cy="2876546"/>
          </a:xfrm>
        </p:grpSpPr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E3A7802B-6B15-BC45-4D04-1C51823AA966}"/>
                </a:ext>
              </a:extLst>
            </p:cNvPr>
            <p:cNvGrpSpPr/>
            <p:nvPr/>
          </p:nvGrpSpPr>
          <p:grpSpPr>
            <a:xfrm>
              <a:off x="6024015" y="317772"/>
              <a:ext cx="2876551" cy="2876546"/>
              <a:chOff x="1469271" y="4001173"/>
              <a:chExt cx="1869924" cy="1869922"/>
            </a:xfrm>
            <a:solidFill>
              <a:schemeClr val="accent5">
                <a:lumMod val="20000"/>
                <a:lumOff val="80000"/>
                <a:alpha val="22000"/>
              </a:schemeClr>
            </a:solidFill>
          </p:grpSpPr>
          <p:sp>
            <p:nvSpPr>
              <p:cNvPr id="121" name="Freeform: Shape 120">
                <a:extLst>
                  <a:ext uri="{FF2B5EF4-FFF2-40B4-BE49-F238E27FC236}">
                    <a16:creationId xmlns:a16="http://schemas.microsoft.com/office/drawing/2014/main" id="{BECF3584-F03D-0568-F812-D5A4B004E6C7}"/>
                  </a:ext>
                </a:extLst>
              </p:cNvPr>
              <p:cNvSpPr/>
              <p:nvPr/>
            </p:nvSpPr>
            <p:spPr>
              <a:xfrm rot="5400000">
                <a:off x="2052037" y="4583938"/>
                <a:ext cx="704392" cy="704393"/>
              </a:xfrm>
              <a:custGeom>
                <a:avLst/>
                <a:gdLst>
                  <a:gd name="connsiteX0" fmla="*/ 588565 w 1177129"/>
                  <a:gd name="connsiteY0" fmla="*/ 1177130 h 1177129"/>
                  <a:gd name="connsiteX1" fmla="*/ 0 w 1177129"/>
                  <a:gd name="connsiteY1" fmla="*/ 588565 h 1177129"/>
                  <a:gd name="connsiteX2" fmla="*/ 588565 w 1177129"/>
                  <a:gd name="connsiteY2" fmla="*/ 0 h 1177129"/>
                  <a:gd name="connsiteX3" fmla="*/ 1177130 w 1177129"/>
                  <a:gd name="connsiteY3" fmla="*/ 588565 h 1177129"/>
                  <a:gd name="connsiteX4" fmla="*/ 588565 w 1177129"/>
                  <a:gd name="connsiteY4" fmla="*/ 1177130 h 1177129"/>
                  <a:gd name="connsiteX5" fmla="*/ 588565 w 1177129"/>
                  <a:gd name="connsiteY5" fmla="*/ 68899 h 1177129"/>
                  <a:gd name="connsiteX6" fmla="*/ 68830 w 1177129"/>
                  <a:gd name="connsiteY6" fmla="*/ 588634 h 1177129"/>
                  <a:gd name="connsiteX7" fmla="*/ 588565 w 1177129"/>
                  <a:gd name="connsiteY7" fmla="*/ 1108369 h 1177129"/>
                  <a:gd name="connsiteX8" fmla="*/ 1108300 w 1177129"/>
                  <a:gd name="connsiteY8" fmla="*/ 588634 h 1177129"/>
                  <a:gd name="connsiteX9" fmla="*/ 588565 w 1177129"/>
                  <a:gd name="connsiteY9" fmla="*/ 68899 h 11771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77129" h="1177129">
                    <a:moveTo>
                      <a:pt x="588565" y="1177130"/>
                    </a:moveTo>
                    <a:cubicBezTo>
                      <a:pt x="264032" y="1177130"/>
                      <a:pt x="0" y="913098"/>
                      <a:pt x="0" y="588565"/>
                    </a:cubicBezTo>
                    <a:cubicBezTo>
                      <a:pt x="0" y="264032"/>
                      <a:pt x="264032" y="0"/>
                      <a:pt x="588565" y="0"/>
                    </a:cubicBezTo>
                    <a:cubicBezTo>
                      <a:pt x="913098" y="0"/>
                      <a:pt x="1177130" y="264032"/>
                      <a:pt x="1177130" y="588565"/>
                    </a:cubicBezTo>
                    <a:cubicBezTo>
                      <a:pt x="1177130" y="913098"/>
                      <a:pt x="913098" y="1177130"/>
                      <a:pt x="588565" y="1177130"/>
                    </a:cubicBezTo>
                    <a:close/>
                    <a:moveTo>
                      <a:pt x="588565" y="68899"/>
                    </a:moveTo>
                    <a:cubicBezTo>
                      <a:pt x="302026" y="68899"/>
                      <a:pt x="68830" y="302026"/>
                      <a:pt x="68830" y="588634"/>
                    </a:cubicBezTo>
                    <a:cubicBezTo>
                      <a:pt x="68830" y="875241"/>
                      <a:pt x="301957" y="1108369"/>
                      <a:pt x="588565" y="1108369"/>
                    </a:cubicBezTo>
                    <a:cubicBezTo>
                      <a:pt x="875173" y="1108369"/>
                      <a:pt x="1108300" y="875241"/>
                      <a:pt x="1108300" y="588634"/>
                    </a:cubicBezTo>
                    <a:cubicBezTo>
                      <a:pt x="1108300" y="302026"/>
                      <a:pt x="875173" y="68899"/>
                      <a:pt x="588565" y="68899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2" name="Freeform: Shape 121">
                <a:extLst>
                  <a:ext uri="{FF2B5EF4-FFF2-40B4-BE49-F238E27FC236}">
                    <a16:creationId xmlns:a16="http://schemas.microsoft.com/office/drawing/2014/main" id="{A3BBC495-706C-33BD-F780-5F9573BACA43}"/>
                  </a:ext>
                </a:extLst>
              </p:cNvPr>
              <p:cNvSpPr/>
              <p:nvPr/>
            </p:nvSpPr>
            <p:spPr>
              <a:xfrm rot="5400000">
                <a:off x="2121850" y="4653751"/>
                <a:ext cx="564766" cy="564766"/>
              </a:xfrm>
              <a:custGeom>
                <a:avLst/>
                <a:gdLst>
                  <a:gd name="connsiteX0" fmla="*/ 471898 w 943796"/>
                  <a:gd name="connsiteY0" fmla="*/ 943796 h 943796"/>
                  <a:gd name="connsiteX1" fmla="*/ 0 w 943796"/>
                  <a:gd name="connsiteY1" fmla="*/ 471898 h 943796"/>
                  <a:gd name="connsiteX2" fmla="*/ 471898 w 943796"/>
                  <a:gd name="connsiteY2" fmla="*/ 0 h 943796"/>
                  <a:gd name="connsiteX3" fmla="*/ 943796 w 943796"/>
                  <a:gd name="connsiteY3" fmla="*/ 471898 h 943796"/>
                  <a:gd name="connsiteX4" fmla="*/ 471898 w 943796"/>
                  <a:gd name="connsiteY4" fmla="*/ 943796 h 943796"/>
                  <a:gd name="connsiteX5" fmla="*/ 471898 w 943796"/>
                  <a:gd name="connsiteY5" fmla="*/ 68899 h 943796"/>
                  <a:gd name="connsiteX6" fmla="*/ 68830 w 943796"/>
                  <a:gd name="connsiteY6" fmla="*/ 471967 h 943796"/>
                  <a:gd name="connsiteX7" fmla="*/ 471898 w 943796"/>
                  <a:gd name="connsiteY7" fmla="*/ 875035 h 943796"/>
                  <a:gd name="connsiteX8" fmla="*/ 874966 w 943796"/>
                  <a:gd name="connsiteY8" fmla="*/ 471967 h 943796"/>
                  <a:gd name="connsiteX9" fmla="*/ 471898 w 943796"/>
                  <a:gd name="connsiteY9" fmla="*/ 68899 h 9437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943796" h="943796">
                    <a:moveTo>
                      <a:pt x="471898" y="943796"/>
                    </a:moveTo>
                    <a:cubicBezTo>
                      <a:pt x="211721" y="943796"/>
                      <a:pt x="0" y="732144"/>
                      <a:pt x="0" y="471898"/>
                    </a:cubicBezTo>
                    <a:cubicBezTo>
                      <a:pt x="0" y="211652"/>
                      <a:pt x="211652" y="0"/>
                      <a:pt x="471898" y="0"/>
                    </a:cubicBezTo>
                    <a:cubicBezTo>
                      <a:pt x="732144" y="0"/>
                      <a:pt x="943796" y="211652"/>
                      <a:pt x="943796" y="471898"/>
                    </a:cubicBezTo>
                    <a:cubicBezTo>
                      <a:pt x="943796" y="732144"/>
                      <a:pt x="732144" y="943796"/>
                      <a:pt x="471898" y="943796"/>
                    </a:cubicBezTo>
                    <a:close/>
                    <a:moveTo>
                      <a:pt x="471898" y="68899"/>
                    </a:moveTo>
                    <a:cubicBezTo>
                      <a:pt x="249646" y="68899"/>
                      <a:pt x="68830" y="249715"/>
                      <a:pt x="68830" y="471967"/>
                    </a:cubicBezTo>
                    <a:cubicBezTo>
                      <a:pt x="68830" y="694219"/>
                      <a:pt x="249646" y="875035"/>
                      <a:pt x="471898" y="875035"/>
                    </a:cubicBezTo>
                    <a:cubicBezTo>
                      <a:pt x="694150" y="875035"/>
                      <a:pt x="874966" y="694219"/>
                      <a:pt x="874966" y="471967"/>
                    </a:cubicBezTo>
                    <a:cubicBezTo>
                      <a:pt x="874966" y="249715"/>
                      <a:pt x="694150" y="68899"/>
                      <a:pt x="471898" y="68899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3" name="Freeform: Shape 122">
                <a:extLst>
                  <a:ext uri="{FF2B5EF4-FFF2-40B4-BE49-F238E27FC236}">
                    <a16:creationId xmlns:a16="http://schemas.microsoft.com/office/drawing/2014/main" id="{1E3B5F9C-49F8-1570-CBC4-E467AC5BA04B}"/>
                  </a:ext>
                </a:extLst>
              </p:cNvPr>
              <p:cNvSpPr/>
              <p:nvPr/>
            </p:nvSpPr>
            <p:spPr>
              <a:xfrm rot="5400000">
                <a:off x="2194176" y="4726077"/>
                <a:ext cx="420114" cy="420115"/>
              </a:xfrm>
              <a:custGeom>
                <a:avLst/>
                <a:gdLst>
                  <a:gd name="connsiteX0" fmla="*/ 351033 w 702065"/>
                  <a:gd name="connsiteY0" fmla="*/ 702065 h 702065"/>
                  <a:gd name="connsiteX1" fmla="*/ 0 w 702065"/>
                  <a:gd name="connsiteY1" fmla="*/ 351033 h 702065"/>
                  <a:gd name="connsiteX2" fmla="*/ 351033 w 702065"/>
                  <a:gd name="connsiteY2" fmla="*/ 0 h 702065"/>
                  <a:gd name="connsiteX3" fmla="*/ 702065 w 702065"/>
                  <a:gd name="connsiteY3" fmla="*/ 351033 h 702065"/>
                  <a:gd name="connsiteX4" fmla="*/ 351033 w 702065"/>
                  <a:gd name="connsiteY4" fmla="*/ 702065 h 702065"/>
                  <a:gd name="connsiteX5" fmla="*/ 351033 w 702065"/>
                  <a:gd name="connsiteY5" fmla="*/ 68830 h 702065"/>
                  <a:gd name="connsiteX6" fmla="*/ 68830 w 702065"/>
                  <a:gd name="connsiteY6" fmla="*/ 351033 h 702065"/>
                  <a:gd name="connsiteX7" fmla="*/ 351033 w 702065"/>
                  <a:gd name="connsiteY7" fmla="*/ 633235 h 702065"/>
                  <a:gd name="connsiteX8" fmla="*/ 633235 w 702065"/>
                  <a:gd name="connsiteY8" fmla="*/ 351033 h 702065"/>
                  <a:gd name="connsiteX9" fmla="*/ 351033 w 702065"/>
                  <a:gd name="connsiteY9" fmla="*/ 68830 h 70206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02065" h="702065">
                    <a:moveTo>
                      <a:pt x="351033" y="702065"/>
                    </a:moveTo>
                    <a:cubicBezTo>
                      <a:pt x="157483" y="702065"/>
                      <a:pt x="0" y="544582"/>
                      <a:pt x="0" y="351033"/>
                    </a:cubicBezTo>
                    <a:cubicBezTo>
                      <a:pt x="0" y="157483"/>
                      <a:pt x="157483" y="0"/>
                      <a:pt x="351033" y="0"/>
                    </a:cubicBezTo>
                    <a:cubicBezTo>
                      <a:pt x="544582" y="0"/>
                      <a:pt x="702065" y="157483"/>
                      <a:pt x="702065" y="351033"/>
                    </a:cubicBezTo>
                    <a:cubicBezTo>
                      <a:pt x="702065" y="544582"/>
                      <a:pt x="544582" y="702065"/>
                      <a:pt x="351033" y="702065"/>
                    </a:cubicBezTo>
                    <a:close/>
                    <a:moveTo>
                      <a:pt x="351033" y="68830"/>
                    </a:moveTo>
                    <a:cubicBezTo>
                      <a:pt x="195408" y="68830"/>
                      <a:pt x="68830" y="195408"/>
                      <a:pt x="68830" y="351033"/>
                    </a:cubicBezTo>
                    <a:cubicBezTo>
                      <a:pt x="68830" y="506657"/>
                      <a:pt x="195408" y="633235"/>
                      <a:pt x="351033" y="633235"/>
                    </a:cubicBezTo>
                    <a:cubicBezTo>
                      <a:pt x="506657" y="633235"/>
                      <a:pt x="633235" y="506657"/>
                      <a:pt x="633235" y="351033"/>
                    </a:cubicBezTo>
                    <a:cubicBezTo>
                      <a:pt x="633235" y="195408"/>
                      <a:pt x="506657" y="68830"/>
                      <a:pt x="351033" y="68830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4" name="Freeform: Shape 123">
                <a:extLst>
                  <a:ext uri="{FF2B5EF4-FFF2-40B4-BE49-F238E27FC236}">
                    <a16:creationId xmlns:a16="http://schemas.microsoft.com/office/drawing/2014/main" id="{0EBF095A-F92B-FCC3-1579-04431C4F2A84}"/>
                  </a:ext>
                </a:extLst>
              </p:cNvPr>
              <p:cNvSpPr/>
              <p:nvPr/>
            </p:nvSpPr>
            <p:spPr>
              <a:xfrm rot="5400000">
                <a:off x="1987825" y="4519726"/>
                <a:ext cx="832815" cy="832816"/>
              </a:xfrm>
              <a:custGeom>
                <a:avLst/>
                <a:gdLst>
                  <a:gd name="connsiteX0" fmla="*/ 695871 w 1391741"/>
                  <a:gd name="connsiteY0" fmla="*/ 1391741 h 1391741"/>
                  <a:gd name="connsiteX1" fmla="*/ 0 w 1391741"/>
                  <a:gd name="connsiteY1" fmla="*/ 695871 h 1391741"/>
                  <a:gd name="connsiteX2" fmla="*/ 695871 w 1391741"/>
                  <a:gd name="connsiteY2" fmla="*/ 0 h 1391741"/>
                  <a:gd name="connsiteX3" fmla="*/ 1391741 w 1391741"/>
                  <a:gd name="connsiteY3" fmla="*/ 695871 h 1391741"/>
                  <a:gd name="connsiteX4" fmla="*/ 695871 w 1391741"/>
                  <a:gd name="connsiteY4" fmla="*/ 1391741 h 1391741"/>
                  <a:gd name="connsiteX5" fmla="*/ 695871 w 1391741"/>
                  <a:gd name="connsiteY5" fmla="*/ 68761 h 1391741"/>
                  <a:gd name="connsiteX6" fmla="*/ 68830 w 1391741"/>
                  <a:gd name="connsiteY6" fmla="*/ 695802 h 1391741"/>
                  <a:gd name="connsiteX7" fmla="*/ 695871 w 1391741"/>
                  <a:gd name="connsiteY7" fmla="*/ 1322843 h 1391741"/>
                  <a:gd name="connsiteX8" fmla="*/ 1322912 w 1391741"/>
                  <a:gd name="connsiteY8" fmla="*/ 695802 h 1391741"/>
                  <a:gd name="connsiteX9" fmla="*/ 695871 w 1391741"/>
                  <a:gd name="connsiteY9" fmla="*/ 68761 h 13917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91741" h="1391741">
                    <a:moveTo>
                      <a:pt x="695871" y="1391741"/>
                    </a:moveTo>
                    <a:cubicBezTo>
                      <a:pt x="312144" y="1391741"/>
                      <a:pt x="0" y="1079529"/>
                      <a:pt x="0" y="695871"/>
                    </a:cubicBezTo>
                    <a:cubicBezTo>
                      <a:pt x="0" y="312213"/>
                      <a:pt x="312213" y="0"/>
                      <a:pt x="695871" y="0"/>
                    </a:cubicBezTo>
                    <a:cubicBezTo>
                      <a:pt x="1079529" y="0"/>
                      <a:pt x="1391741" y="312213"/>
                      <a:pt x="1391741" y="695871"/>
                    </a:cubicBezTo>
                    <a:cubicBezTo>
                      <a:pt x="1391741" y="1079529"/>
                      <a:pt x="1079529" y="1391741"/>
                      <a:pt x="695871" y="1391741"/>
                    </a:cubicBezTo>
                    <a:close/>
                    <a:moveTo>
                      <a:pt x="695871" y="68761"/>
                    </a:moveTo>
                    <a:cubicBezTo>
                      <a:pt x="350069" y="68761"/>
                      <a:pt x="68830" y="350069"/>
                      <a:pt x="68830" y="695802"/>
                    </a:cubicBezTo>
                    <a:cubicBezTo>
                      <a:pt x="68830" y="1041535"/>
                      <a:pt x="350138" y="1322843"/>
                      <a:pt x="695871" y="1322843"/>
                    </a:cubicBezTo>
                    <a:cubicBezTo>
                      <a:pt x="1041604" y="1322843"/>
                      <a:pt x="1322912" y="1041535"/>
                      <a:pt x="1322912" y="695802"/>
                    </a:cubicBezTo>
                    <a:cubicBezTo>
                      <a:pt x="1322912" y="350069"/>
                      <a:pt x="1041604" y="68761"/>
                      <a:pt x="695871" y="68761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5" name="Freeform: Shape 124">
                <a:extLst>
                  <a:ext uri="{FF2B5EF4-FFF2-40B4-BE49-F238E27FC236}">
                    <a16:creationId xmlns:a16="http://schemas.microsoft.com/office/drawing/2014/main" id="{3C299051-C838-B6A6-9E2E-44EC82BF2B3E}"/>
                  </a:ext>
                </a:extLst>
              </p:cNvPr>
              <p:cNvSpPr/>
              <p:nvPr/>
            </p:nvSpPr>
            <p:spPr>
              <a:xfrm rot="5400000">
                <a:off x="1922255" y="4454155"/>
                <a:ext cx="963957" cy="963958"/>
              </a:xfrm>
              <a:custGeom>
                <a:avLst/>
                <a:gdLst>
                  <a:gd name="connsiteX0" fmla="*/ 805448 w 1610895"/>
                  <a:gd name="connsiteY0" fmla="*/ 1610896 h 1610895"/>
                  <a:gd name="connsiteX1" fmla="*/ 0 w 1610895"/>
                  <a:gd name="connsiteY1" fmla="*/ 805448 h 1610895"/>
                  <a:gd name="connsiteX2" fmla="*/ 805448 w 1610895"/>
                  <a:gd name="connsiteY2" fmla="*/ 0 h 1610895"/>
                  <a:gd name="connsiteX3" fmla="*/ 1610896 w 1610895"/>
                  <a:gd name="connsiteY3" fmla="*/ 805448 h 1610895"/>
                  <a:gd name="connsiteX4" fmla="*/ 805448 w 1610895"/>
                  <a:gd name="connsiteY4" fmla="*/ 1610896 h 1610895"/>
                  <a:gd name="connsiteX5" fmla="*/ 805448 w 1610895"/>
                  <a:gd name="connsiteY5" fmla="*/ 68899 h 1610895"/>
                  <a:gd name="connsiteX6" fmla="*/ 68830 w 1610895"/>
                  <a:gd name="connsiteY6" fmla="*/ 805517 h 1610895"/>
                  <a:gd name="connsiteX7" fmla="*/ 805448 w 1610895"/>
                  <a:gd name="connsiteY7" fmla="*/ 1542135 h 1610895"/>
                  <a:gd name="connsiteX8" fmla="*/ 1542066 w 1610895"/>
                  <a:gd name="connsiteY8" fmla="*/ 805517 h 1610895"/>
                  <a:gd name="connsiteX9" fmla="*/ 805448 w 1610895"/>
                  <a:gd name="connsiteY9" fmla="*/ 68899 h 16108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10895" h="1610895">
                    <a:moveTo>
                      <a:pt x="805448" y="1610896"/>
                    </a:moveTo>
                    <a:cubicBezTo>
                      <a:pt x="361357" y="1610896"/>
                      <a:pt x="0" y="1249607"/>
                      <a:pt x="0" y="805448"/>
                    </a:cubicBezTo>
                    <a:cubicBezTo>
                      <a:pt x="0" y="361288"/>
                      <a:pt x="361288" y="0"/>
                      <a:pt x="805448" y="0"/>
                    </a:cubicBezTo>
                    <a:cubicBezTo>
                      <a:pt x="1249607" y="0"/>
                      <a:pt x="1610896" y="361288"/>
                      <a:pt x="1610896" y="805448"/>
                    </a:cubicBezTo>
                    <a:cubicBezTo>
                      <a:pt x="1610896" y="1249607"/>
                      <a:pt x="1249607" y="1610896"/>
                      <a:pt x="805448" y="1610896"/>
                    </a:cubicBezTo>
                    <a:close/>
                    <a:moveTo>
                      <a:pt x="805448" y="68899"/>
                    </a:moveTo>
                    <a:cubicBezTo>
                      <a:pt x="399283" y="68899"/>
                      <a:pt x="68830" y="399351"/>
                      <a:pt x="68830" y="805517"/>
                    </a:cubicBezTo>
                    <a:cubicBezTo>
                      <a:pt x="68830" y="1211682"/>
                      <a:pt x="399283" y="1542135"/>
                      <a:pt x="805448" y="1542135"/>
                    </a:cubicBezTo>
                    <a:cubicBezTo>
                      <a:pt x="1211613" y="1542135"/>
                      <a:pt x="1542066" y="1211682"/>
                      <a:pt x="1542066" y="805517"/>
                    </a:cubicBezTo>
                    <a:cubicBezTo>
                      <a:pt x="1542066" y="399351"/>
                      <a:pt x="1211613" y="68899"/>
                      <a:pt x="805448" y="68899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6" name="Freeform: Shape 125">
                <a:extLst>
                  <a:ext uri="{FF2B5EF4-FFF2-40B4-BE49-F238E27FC236}">
                    <a16:creationId xmlns:a16="http://schemas.microsoft.com/office/drawing/2014/main" id="{BA4008B5-C8DC-93D0-26BC-6E536C4546D8}"/>
                  </a:ext>
                </a:extLst>
              </p:cNvPr>
              <p:cNvSpPr/>
              <p:nvPr/>
            </p:nvSpPr>
            <p:spPr>
              <a:xfrm rot="5400000">
                <a:off x="1855077" y="4386978"/>
                <a:ext cx="1098311" cy="1098313"/>
              </a:xfrm>
              <a:custGeom>
                <a:avLst/>
                <a:gdLst>
                  <a:gd name="connsiteX0" fmla="*/ 917709 w 1835419"/>
                  <a:gd name="connsiteY0" fmla="*/ 1835419 h 1835419"/>
                  <a:gd name="connsiteX1" fmla="*/ 0 w 1835419"/>
                  <a:gd name="connsiteY1" fmla="*/ 917709 h 1835419"/>
                  <a:gd name="connsiteX2" fmla="*/ 917709 w 1835419"/>
                  <a:gd name="connsiteY2" fmla="*/ 0 h 1835419"/>
                  <a:gd name="connsiteX3" fmla="*/ 1835419 w 1835419"/>
                  <a:gd name="connsiteY3" fmla="*/ 917709 h 1835419"/>
                  <a:gd name="connsiteX4" fmla="*/ 917709 w 1835419"/>
                  <a:gd name="connsiteY4" fmla="*/ 1835419 h 1835419"/>
                  <a:gd name="connsiteX5" fmla="*/ 917709 w 1835419"/>
                  <a:gd name="connsiteY5" fmla="*/ 68761 h 1835419"/>
                  <a:gd name="connsiteX6" fmla="*/ 68830 w 1835419"/>
                  <a:gd name="connsiteY6" fmla="*/ 917641 h 1835419"/>
                  <a:gd name="connsiteX7" fmla="*/ 917709 w 1835419"/>
                  <a:gd name="connsiteY7" fmla="*/ 1766520 h 1835419"/>
                  <a:gd name="connsiteX8" fmla="*/ 1766589 w 1835419"/>
                  <a:gd name="connsiteY8" fmla="*/ 917641 h 1835419"/>
                  <a:gd name="connsiteX9" fmla="*/ 917709 w 1835419"/>
                  <a:gd name="connsiteY9" fmla="*/ 68761 h 18354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835419" h="1835419">
                    <a:moveTo>
                      <a:pt x="917709" y="1835419"/>
                    </a:moveTo>
                    <a:cubicBezTo>
                      <a:pt x="411672" y="1835419"/>
                      <a:pt x="0" y="1423747"/>
                      <a:pt x="0" y="917709"/>
                    </a:cubicBezTo>
                    <a:cubicBezTo>
                      <a:pt x="0" y="411672"/>
                      <a:pt x="411672" y="0"/>
                      <a:pt x="917709" y="0"/>
                    </a:cubicBezTo>
                    <a:cubicBezTo>
                      <a:pt x="1423747" y="0"/>
                      <a:pt x="1835419" y="411672"/>
                      <a:pt x="1835419" y="917709"/>
                    </a:cubicBezTo>
                    <a:cubicBezTo>
                      <a:pt x="1835419" y="1423747"/>
                      <a:pt x="1423747" y="1835419"/>
                      <a:pt x="917709" y="1835419"/>
                    </a:cubicBezTo>
                    <a:close/>
                    <a:moveTo>
                      <a:pt x="917709" y="68761"/>
                    </a:moveTo>
                    <a:cubicBezTo>
                      <a:pt x="449597" y="68761"/>
                      <a:pt x="68830" y="449597"/>
                      <a:pt x="68830" y="917641"/>
                    </a:cubicBezTo>
                    <a:cubicBezTo>
                      <a:pt x="68830" y="1385684"/>
                      <a:pt x="449666" y="1766520"/>
                      <a:pt x="917709" y="1766520"/>
                    </a:cubicBezTo>
                    <a:cubicBezTo>
                      <a:pt x="1385753" y="1766520"/>
                      <a:pt x="1766589" y="1385684"/>
                      <a:pt x="1766589" y="917641"/>
                    </a:cubicBezTo>
                    <a:cubicBezTo>
                      <a:pt x="1766589" y="449597"/>
                      <a:pt x="1385753" y="68761"/>
                      <a:pt x="917709" y="68761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7" name="Freeform: Shape 126">
                <a:extLst>
                  <a:ext uri="{FF2B5EF4-FFF2-40B4-BE49-F238E27FC236}">
                    <a16:creationId xmlns:a16="http://schemas.microsoft.com/office/drawing/2014/main" id="{FECC0DEA-7B09-562C-B60E-3D24DB64776C}"/>
                  </a:ext>
                </a:extLst>
              </p:cNvPr>
              <p:cNvSpPr/>
              <p:nvPr/>
            </p:nvSpPr>
            <p:spPr>
              <a:xfrm rot="5400000">
                <a:off x="1784441" y="4316341"/>
                <a:ext cx="1239585" cy="1239586"/>
              </a:xfrm>
              <a:custGeom>
                <a:avLst/>
                <a:gdLst>
                  <a:gd name="connsiteX0" fmla="*/ 1035753 w 2071505"/>
                  <a:gd name="connsiteY0" fmla="*/ 2071506 h 2071505"/>
                  <a:gd name="connsiteX1" fmla="*/ 0 w 2071505"/>
                  <a:gd name="connsiteY1" fmla="*/ 1035753 h 2071505"/>
                  <a:gd name="connsiteX2" fmla="*/ 1035753 w 2071505"/>
                  <a:gd name="connsiteY2" fmla="*/ 0 h 2071505"/>
                  <a:gd name="connsiteX3" fmla="*/ 2071506 w 2071505"/>
                  <a:gd name="connsiteY3" fmla="*/ 1035753 h 2071505"/>
                  <a:gd name="connsiteX4" fmla="*/ 1035753 w 2071505"/>
                  <a:gd name="connsiteY4" fmla="*/ 2071506 h 2071505"/>
                  <a:gd name="connsiteX5" fmla="*/ 1035753 w 2071505"/>
                  <a:gd name="connsiteY5" fmla="*/ 68761 h 2071505"/>
                  <a:gd name="connsiteX6" fmla="*/ 68830 w 2071505"/>
                  <a:gd name="connsiteY6" fmla="*/ 1035684 h 2071505"/>
                  <a:gd name="connsiteX7" fmla="*/ 1035753 w 2071505"/>
                  <a:gd name="connsiteY7" fmla="*/ 2002607 h 2071505"/>
                  <a:gd name="connsiteX8" fmla="*/ 2002676 w 2071505"/>
                  <a:gd name="connsiteY8" fmla="*/ 1035684 h 2071505"/>
                  <a:gd name="connsiteX9" fmla="*/ 1035753 w 2071505"/>
                  <a:gd name="connsiteY9" fmla="*/ 68761 h 20715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071505" h="2071505">
                    <a:moveTo>
                      <a:pt x="1035753" y="2071506"/>
                    </a:moveTo>
                    <a:cubicBezTo>
                      <a:pt x="464602" y="2071506"/>
                      <a:pt x="0" y="1606835"/>
                      <a:pt x="0" y="1035753"/>
                    </a:cubicBezTo>
                    <a:cubicBezTo>
                      <a:pt x="0" y="464671"/>
                      <a:pt x="464671" y="0"/>
                      <a:pt x="1035753" y="0"/>
                    </a:cubicBezTo>
                    <a:cubicBezTo>
                      <a:pt x="1606835" y="0"/>
                      <a:pt x="2071506" y="464671"/>
                      <a:pt x="2071506" y="1035753"/>
                    </a:cubicBezTo>
                    <a:cubicBezTo>
                      <a:pt x="2071506" y="1606835"/>
                      <a:pt x="1606835" y="2071506"/>
                      <a:pt x="1035753" y="2071506"/>
                    </a:cubicBezTo>
                    <a:close/>
                    <a:moveTo>
                      <a:pt x="1035753" y="68761"/>
                    </a:moveTo>
                    <a:cubicBezTo>
                      <a:pt x="502596" y="68761"/>
                      <a:pt x="68830" y="502527"/>
                      <a:pt x="68830" y="1035684"/>
                    </a:cubicBezTo>
                    <a:cubicBezTo>
                      <a:pt x="68830" y="1568841"/>
                      <a:pt x="502596" y="2002607"/>
                      <a:pt x="1035753" y="2002607"/>
                    </a:cubicBezTo>
                    <a:cubicBezTo>
                      <a:pt x="1568910" y="2002607"/>
                      <a:pt x="2002676" y="1568841"/>
                      <a:pt x="2002676" y="1035684"/>
                    </a:cubicBezTo>
                    <a:cubicBezTo>
                      <a:pt x="2002676" y="502527"/>
                      <a:pt x="1568910" y="68761"/>
                      <a:pt x="1035753" y="68761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8" name="Freeform: Shape 127">
                <a:extLst>
                  <a:ext uri="{FF2B5EF4-FFF2-40B4-BE49-F238E27FC236}">
                    <a16:creationId xmlns:a16="http://schemas.microsoft.com/office/drawing/2014/main" id="{A719EA8F-71CB-8066-86E7-FFC8D51FDB17}"/>
                  </a:ext>
                </a:extLst>
              </p:cNvPr>
              <p:cNvSpPr/>
              <p:nvPr/>
            </p:nvSpPr>
            <p:spPr>
              <a:xfrm rot="5400000">
                <a:off x="1709521" y="4241420"/>
                <a:ext cx="1389426" cy="1389427"/>
              </a:xfrm>
              <a:custGeom>
                <a:avLst/>
                <a:gdLst>
                  <a:gd name="connsiteX0" fmla="*/ 1160955 w 2321908"/>
                  <a:gd name="connsiteY0" fmla="*/ 2321909 h 2321908"/>
                  <a:gd name="connsiteX1" fmla="*/ 0 w 2321908"/>
                  <a:gd name="connsiteY1" fmla="*/ 1160955 h 2321908"/>
                  <a:gd name="connsiteX2" fmla="*/ 1160955 w 2321908"/>
                  <a:gd name="connsiteY2" fmla="*/ 0 h 2321908"/>
                  <a:gd name="connsiteX3" fmla="*/ 2321909 w 2321908"/>
                  <a:gd name="connsiteY3" fmla="*/ 1160955 h 2321908"/>
                  <a:gd name="connsiteX4" fmla="*/ 1160955 w 2321908"/>
                  <a:gd name="connsiteY4" fmla="*/ 2321909 h 2321908"/>
                  <a:gd name="connsiteX5" fmla="*/ 1160955 w 2321908"/>
                  <a:gd name="connsiteY5" fmla="*/ 68899 h 2321908"/>
                  <a:gd name="connsiteX6" fmla="*/ 68830 w 2321908"/>
                  <a:gd name="connsiteY6" fmla="*/ 1161023 h 2321908"/>
                  <a:gd name="connsiteX7" fmla="*/ 1160955 w 2321908"/>
                  <a:gd name="connsiteY7" fmla="*/ 2253148 h 2321908"/>
                  <a:gd name="connsiteX8" fmla="*/ 2253079 w 2321908"/>
                  <a:gd name="connsiteY8" fmla="*/ 1161023 h 2321908"/>
                  <a:gd name="connsiteX9" fmla="*/ 1160955 w 2321908"/>
                  <a:gd name="connsiteY9" fmla="*/ 68899 h 2321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21908" h="2321908">
                    <a:moveTo>
                      <a:pt x="1160955" y="2321909"/>
                    </a:moveTo>
                    <a:cubicBezTo>
                      <a:pt x="520836" y="2321909"/>
                      <a:pt x="0" y="1801142"/>
                      <a:pt x="0" y="1160955"/>
                    </a:cubicBezTo>
                    <a:cubicBezTo>
                      <a:pt x="0" y="520767"/>
                      <a:pt x="520767" y="0"/>
                      <a:pt x="1160955" y="0"/>
                    </a:cubicBezTo>
                    <a:cubicBezTo>
                      <a:pt x="1801142" y="0"/>
                      <a:pt x="2321909" y="520767"/>
                      <a:pt x="2321909" y="1160955"/>
                    </a:cubicBezTo>
                    <a:cubicBezTo>
                      <a:pt x="2321909" y="1801142"/>
                      <a:pt x="1801142" y="2321909"/>
                      <a:pt x="1160955" y="2321909"/>
                    </a:cubicBezTo>
                    <a:close/>
                    <a:moveTo>
                      <a:pt x="1160955" y="68899"/>
                    </a:moveTo>
                    <a:cubicBezTo>
                      <a:pt x="558762" y="68899"/>
                      <a:pt x="68830" y="558830"/>
                      <a:pt x="68830" y="1161023"/>
                    </a:cubicBezTo>
                    <a:cubicBezTo>
                      <a:pt x="68830" y="1763217"/>
                      <a:pt x="558762" y="2253148"/>
                      <a:pt x="1160955" y="2253148"/>
                    </a:cubicBezTo>
                    <a:cubicBezTo>
                      <a:pt x="1763148" y="2253148"/>
                      <a:pt x="2253079" y="1763217"/>
                      <a:pt x="2253079" y="1161023"/>
                    </a:cubicBezTo>
                    <a:cubicBezTo>
                      <a:pt x="2253079" y="558830"/>
                      <a:pt x="1763148" y="68899"/>
                      <a:pt x="1160955" y="68899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29" name="Freeform: Shape 128">
                <a:extLst>
                  <a:ext uri="{FF2B5EF4-FFF2-40B4-BE49-F238E27FC236}">
                    <a16:creationId xmlns:a16="http://schemas.microsoft.com/office/drawing/2014/main" id="{B35128E7-8C04-0351-504D-964C4AEE54F1}"/>
                  </a:ext>
                </a:extLst>
              </p:cNvPr>
              <p:cNvSpPr/>
              <p:nvPr/>
            </p:nvSpPr>
            <p:spPr>
              <a:xfrm rot="5400000">
                <a:off x="1631757" y="4163699"/>
                <a:ext cx="1544869" cy="1544870"/>
              </a:xfrm>
              <a:custGeom>
                <a:avLst/>
                <a:gdLst>
                  <a:gd name="connsiteX0" fmla="*/ 1290837 w 2581673"/>
                  <a:gd name="connsiteY0" fmla="*/ 2581673 h 2581673"/>
                  <a:gd name="connsiteX1" fmla="*/ 0 w 2581673"/>
                  <a:gd name="connsiteY1" fmla="*/ 1290837 h 2581673"/>
                  <a:gd name="connsiteX2" fmla="*/ 1290837 w 2581673"/>
                  <a:gd name="connsiteY2" fmla="*/ 0 h 2581673"/>
                  <a:gd name="connsiteX3" fmla="*/ 2581673 w 2581673"/>
                  <a:gd name="connsiteY3" fmla="*/ 1290837 h 2581673"/>
                  <a:gd name="connsiteX4" fmla="*/ 1290837 w 2581673"/>
                  <a:gd name="connsiteY4" fmla="*/ 2581673 h 2581673"/>
                  <a:gd name="connsiteX5" fmla="*/ 1290837 w 2581673"/>
                  <a:gd name="connsiteY5" fmla="*/ 68761 h 2581673"/>
                  <a:gd name="connsiteX6" fmla="*/ 68830 w 2581673"/>
                  <a:gd name="connsiteY6" fmla="*/ 1290768 h 2581673"/>
                  <a:gd name="connsiteX7" fmla="*/ 1290837 w 2581673"/>
                  <a:gd name="connsiteY7" fmla="*/ 2512774 h 2581673"/>
                  <a:gd name="connsiteX8" fmla="*/ 2512843 w 2581673"/>
                  <a:gd name="connsiteY8" fmla="*/ 1290768 h 2581673"/>
                  <a:gd name="connsiteX9" fmla="*/ 1290837 w 2581673"/>
                  <a:gd name="connsiteY9" fmla="*/ 68761 h 25816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581673" h="2581673">
                    <a:moveTo>
                      <a:pt x="1290837" y="2581673"/>
                    </a:moveTo>
                    <a:cubicBezTo>
                      <a:pt x="579066" y="2581673"/>
                      <a:pt x="0" y="2002607"/>
                      <a:pt x="0" y="1290837"/>
                    </a:cubicBezTo>
                    <a:cubicBezTo>
                      <a:pt x="0" y="579066"/>
                      <a:pt x="579066" y="0"/>
                      <a:pt x="1290837" y="0"/>
                    </a:cubicBezTo>
                    <a:cubicBezTo>
                      <a:pt x="2002607" y="0"/>
                      <a:pt x="2581673" y="579066"/>
                      <a:pt x="2581673" y="1290837"/>
                    </a:cubicBezTo>
                    <a:cubicBezTo>
                      <a:pt x="2581673" y="2002607"/>
                      <a:pt x="2002607" y="2581673"/>
                      <a:pt x="1290837" y="2581673"/>
                    </a:cubicBezTo>
                    <a:close/>
                    <a:moveTo>
                      <a:pt x="1290837" y="68761"/>
                    </a:moveTo>
                    <a:cubicBezTo>
                      <a:pt x="616992" y="68761"/>
                      <a:pt x="68830" y="616992"/>
                      <a:pt x="68830" y="1290768"/>
                    </a:cubicBezTo>
                    <a:cubicBezTo>
                      <a:pt x="68830" y="1964544"/>
                      <a:pt x="617060" y="2512774"/>
                      <a:pt x="1290837" y="2512774"/>
                    </a:cubicBezTo>
                    <a:cubicBezTo>
                      <a:pt x="1964613" y="2512774"/>
                      <a:pt x="2512843" y="1964544"/>
                      <a:pt x="2512843" y="1290768"/>
                    </a:cubicBezTo>
                    <a:cubicBezTo>
                      <a:pt x="2512843" y="616992"/>
                      <a:pt x="1964613" y="68761"/>
                      <a:pt x="1290837" y="68761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0" name="Freeform: Shape 129">
                <a:extLst>
                  <a:ext uri="{FF2B5EF4-FFF2-40B4-BE49-F238E27FC236}">
                    <a16:creationId xmlns:a16="http://schemas.microsoft.com/office/drawing/2014/main" id="{2B9B0961-DDB7-E610-0884-505BE9718D7C}"/>
                  </a:ext>
                </a:extLst>
              </p:cNvPr>
              <p:cNvSpPr/>
              <p:nvPr/>
            </p:nvSpPr>
            <p:spPr>
              <a:xfrm rot="5400000">
                <a:off x="1550494" y="4082394"/>
                <a:ext cx="1707478" cy="1707480"/>
              </a:xfrm>
              <a:custGeom>
                <a:avLst/>
                <a:gdLst>
                  <a:gd name="connsiteX0" fmla="*/ 1426707 w 2853414"/>
                  <a:gd name="connsiteY0" fmla="*/ 2853414 h 2853414"/>
                  <a:gd name="connsiteX1" fmla="*/ 0 w 2853414"/>
                  <a:gd name="connsiteY1" fmla="*/ 1426707 h 2853414"/>
                  <a:gd name="connsiteX2" fmla="*/ 1426707 w 2853414"/>
                  <a:gd name="connsiteY2" fmla="*/ 0 h 2853414"/>
                  <a:gd name="connsiteX3" fmla="*/ 2853414 w 2853414"/>
                  <a:gd name="connsiteY3" fmla="*/ 1426707 h 2853414"/>
                  <a:gd name="connsiteX4" fmla="*/ 1426707 w 2853414"/>
                  <a:gd name="connsiteY4" fmla="*/ 2853414 h 2853414"/>
                  <a:gd name="connsiteX5" fmla="*/ 1426707 w 2853414"/>
                  <a:gd name="connsiteY5" fmla="*/ 68830 h 2853414"/>
                  <a:gd name="connsiteX6" fmla="*/ 68830 w 2853414"/>
                  <a:gd name="connsiteY6" fmla="*/ 1426707 h 2853414"/>
                  <a:gd name="connsiteX7" fmla="*/ 1426707 w 2853414"/>
                  <a:gd name="connsiteY7" fmla="*/ 2784584 h 2853414"/>
                  <a:gd name="connsiteX8" fmla="*/ 2784584 w 2853414"/>
                  <a:gd name="connsiteY8" fmla="*/ 1426707 h 2853414"/>
                  <a:gd name="connsiteX9" fmla="*/ 1426707 w 2853414"/>
                  <a:gd name="connsiteY9" fmla="*/ 68830 h 2853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853414" h="2853414">
                    <a:moveTo>
                      <a:pt x="1426707" y="2853414"/>
                    </a:moveTo>
                    <a:cubicBezTo>
                      <a:pt x="640050" y="2853414"/>
                      <a:pt x="0" y="2213433"/>
                      <a:pt x="0" y="1426707"/>
                    </a:cubicBezTo>
                    <a:cubicBezTo>
                      <a:pt x="0" y="639981"/>
                      <a:pt x="639981" y="0"/>
                      <a:pt x="1426707" y="0"/>
                    </a:cubicBezTo>
                    <a:cubicBezTo>
                      <a:pt x="2213433" y="0"/>
                      <a:pt x="2853414" y="639981"/>
                      <a:pt x="2853414" y="1426707"/>
                    </a:cubicBezTo>
                    <a:cubicBezTo>
                      <a:pt x="2853414" y="2213433"/>
                      <a:pt x="2213433" y="2853414"/>
                      <a:pt x="1426707" y="2853414"/>
                    </a:cubicBezTo>
                    <a:close/>
                    <a:moveTo>
                      <a:pt x="1426707" y="68830"/>
                    </a:moveTo>
                    <a:cubicBezTo>
                      <a:pt x="677975" y="68830"/>
                      <a:pt x="68830" y="677975"/>
                      <a:pt x="68830" y="1426707"/>
                    </a:cubicBezTo>
                    <a:cubicBezTo>
                      <a:pt x="68830" y="2175439"/>
                      <a:pt x="677975" y="2784584"/>
                      <a:pt x="1426707" y="2784584"/>
                    </a:cubicBezTo>
                    <a:cubicBezTo>
                      <a:pt x="2175439" y="2784584"/>
                      <a:pt x="2784584" y="2175439"/>
                      <a:pt x="2784584" y="1426707"/>
                    </a:cubicBezTo>
                    <a:cubicBezTo>
                      <a:pt x="2784584" y="677975"/>
                      <a:pt x="2175439" y="68830"/>
                      <a:pt x="1426707" y="68830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31" name="Freeform: Shape 130">
                <a:extLst>
                  <a:ext uri="{FF2B5EF4-FFF2-40B4-BE49-F238E27FC236}">
                    <a16:creationId xmlns:a16="http://schemas.microsoft.com/office/drawing/2014/main" id="{59D0397C-76B9-5419-CDEF-E394CCC9F19E}"/>
                  </a:ext>
                </a:extLst>
              </p:cNvPr>
              <p:cNvSpPr/>
              <p:nvPr/>
            </p:nvSpPr>
            <p:spPr>
              <a:xfrm rot="5400000">
                <a:off x="1469272" y="4001172"/>
                <a:ext cx="1869922" cy="1869924"/>
              </a:xfrm>
              <a:custGeom>
                <a:avLst/>
                <a:gdLst>
                  <a:gd name="connsiteX0" fmla="*/ 1562440 w 3124879"/>
                  <a:gd name="connsiteY0" fmla="*/ 3124879 h 3124879"/>
                  <a:gd name="connsiteX1" fmla="*/ 457650 w 3124879"/>
                  <a:gd name="connsiteY1" fmla="*/ 2667229 h 3124879"/>
                  <a:gd name="connsiteX2" fmla="*/ 0 w 3124879"/>
                  <a:gd name="connsiteY2" fmla="*/ 1562440 h 3124879"/>
                  <a:gd name="connsiteX3" fmla="*/ 457650 w 3124879"/>
                  <a:gd name="connsiteY3" fmla="*/ 457650 h 3124879"/>
                  <a:gd name="connsiteX4" fmla="*/ 1562440 w 3124879"/>
                  <a:gd name="connsiteY4" fmla="*/ 0 h 3124879"/>
                  <a:gd name="connsiteX5" fmla="*/ 2667229 w 3124879"/>
                  <a:gd name="connsiteY5" fmla="*/ 457650 h 3124879"/>
                  <a:gd name="connsiteX6" fmla="*/ 3124879 w 3124879"/>
                  <a:gd name="connsiteY6" fmla="*/ 1562440 h 3124879"/>
                  <a:gd name="connsiteX7" fmla="*/ 2667229 w 3124879"/>
                  <a:gd name="connsiteY7" fmla="*/ 2667229 h 3124879"/>
                  <a:gd name="connsiteX8" fmla="*/ 1562440 w 3124879"/>
                  <a:gd name="connsiteY8" fmla="*/ 3124879 h 3124879"/>
                  <a:gd name="connsiteX9" fmla="*/ 1562440 w 3124879"/>
                  <a:gd name="connsiteY9" fmla="*/ 68830 h 3124879"/>
                  <a:gd name="connsiteX10" fmla="*/ 68830 w 3124879"/>
                  <a:gd name="connsiteY10" fmla="*/ 1562440 h 3124879"/>
                  <a:gd name="connsiteX11" fmla="*/ 1562440 w 3124879"/>
                  <a:gd name="connsiteY11" fmla="*/ 3056049 h 3124879"/>
                  <a:gd name="connsiteX12" fmla="*/ 3056049 w 3124879"/>
                  <a:gd name="connsiteY12" fmla="*/ 1562440 h 3124879"/>
                  <a:gd name="connsiteX13" fmla="*/ 1562440 w 3124879"/>
                  <a:gd name="connsiteY13" fmla="*/ 68830 h 31248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124879" h="3124879">
                    <a:moveTo>
                      <a:pt x="1562440" y="3124879"/>
                    </a:moveTo>
                    <a:cubicBezTo>
                      <a:pt x="1145124" y="3124879"/>
                      <a:pt x="752724" y="2962372"/>
                      <a:pt x="457650" y="2667229"/>
                    </a:cubicBezTo>
                    <a:cubicBezTo>
                      <a:pt x="162576" y="2372086"/>
                      <a:pt x="0" y="1979756"/>
                      <a:pt x="0" y="1562440"/>
                    </a:cubicBezTo>
                    <a:cubicBezTo>
                      <a:pt x="0" y="1145124"/>
                      <a:pt x="162507" y="752724"/>
                      <a:pt x="457650" y="457650"/>
                    </a:cubicBezTo>
                    <a:cubicBezTo>
                      <a:pt x="752793" y="162576"/>
                      <a:pt x="1145124" y="0"/>
                      <a:pt x="1562440" y="0"/>
                    </a:cubicBezTo>
                    <a:cubicBezTo>
                      <a:pt x="1979756" y="0"/>
                      <a:pt x="2372155" y="162507"/>
                      <a:pt x="2667229" y="457650"/>
                    </a:cubicBezTo>
                    <a:cubicBezTo>
                      <a:pt x="2962303" y="752724"/>
                      <a:pt x="3124879" y="1145124"/>
                      <a:pt x="3124879" y="1562440"/>
                    </a:cubicBezTo>
                    <a:cubicBezTo>
                      <a:pt x="3124879" y="1979756"/>
                      <a:pt x="2962372" y="2372155"/>
                      <a:pt x="2667229" y="2667229"/>
                    </a:cubicBezTo>
                    <a:cubicBezTo>
                      <a:pt x="2372086" y="2962303"/>
                      <a:pt x="1979756" y="3124879"/>
                      <a:pt x="1562440" y="3124879"/>
                    </a:cubicBezTo>
                    <a:close/>
                    <a:moveTo>
                      <a:pt x="1562440" y="68830"/>
                    </a:moveTo>
                    <a:cubicBezTo>
                      <a:pt x="738889" y="68830"/>
                      <a:pt x="68830" y="738889"/>
                      <a:pt x="68830" y="1562440"/>
                    </a:cubicBezTo>
                    <a:cubicBezTo>
                      <a:pt x="68830" y="2385990"/>
                      <a:pt x="738889" y="3056049"/>
                      <a:pt x="1562440" y="3056049"/>
                    </a:cubicBezTo>
                    <a:cubicBezTo>
                      <a:pt x="2385990" y="3056049"/>
                      <a:pt x="3056049" y="2385990"/>
                      <a:pt x="3056049" y="1562440"/>
                    </a:cubicBezTo>
                    <a:cubicBezTo>
                      <a:pt x="3056049" y="738889"/>
                      <a:pt x="2385990" y="68830"/>
                      <a:pt x="1562440" y="68830"/>
                    </a:cubicBezTo>
                    <a:close/>
                  </a:path>
                </a:pathLst>
              </a:custGeom>
              <a:grpFill/>
              <a:ln w="688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  <p:pic>
          <p:nvPicPr>
            <p:cNvPr id="21" name="Picture 20" descr="Diagram&#10;&#10;Description automatically generated">
              <a:extLst>
                <a:ext uri="{FF2B5EF4-FFF2-40B4-BE49-F238E27FC236}">
                  <a16:creationId xmlns:a16="http://schemas.microsoft.com/office/drawing/2014/main" id="{E6694CCE-1404-ED47-73A1-25D7CCEE9CA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46345" y="640100"/>
              <a:ext cx="2231890" cy="2231890"/>
            </a:xfrm>
            <a:prstGeom prst="rect">
              <a:avLst/>
            </a:prstGeom>
          </p:spPr>
        </p:pic>
      </p:grpSp>
      <p:sp>
        <p:nvSpPr>
          <p:cNvPr id="155" name="Freeform: Shape 154">
            <a:extLst>
              <a:ext uri="{FF2B5EF4-FFF2-40B4-BE49-F238E27FC236}">
                <a16:creationId xmlns:a16="http://schemas.microsoft.com/office/drawing/2014/main" id="{410B3CCA-72F5-3462-E8FE-A5FE97FAB1BB}"/>
              </a:ext>
            </a:extLst>
          </p:cNvPr>
          <p:cNvSpPr/>
          <p:nvPr/>
        </p:nvSpPr>
        <p:spPr>
          <a:xfrm>
            <a:off x="5952290" y="3517270"/>
            <a:ext cx="6159500" cy="3340730"/>
          </a:xfrm>
          <a:custGeom>
            <a:avLst/>
            <a:gdLst>
              <a:gd name="connsiteX0" fmla="*/ 637559 w 6159500"/>
              <a:gd name="connsiteY0" fmla="*/ 0 h 3340730"/>
              <a:gd name="connsiteX1" fmla="*/ 6159500 w 6159500"/>
              <a:gd name="connsiteY1" fmla="*/ 0 h 3340730"/>
              <a:gd name="connsiteX2" fmla="*/ 196850 w 6159500"/>
              <a:gd name="connsiteY2" fmla="*/ 3340730 h 3340730"/>
              <a:gd name="connsiteX3" fmla="*/ 0 w 6159500"/>
              <a:gd name="connsiteY3" fmla="*/ 3340730 h 3340730"/>
              <a:gd name="connsiteX4" fmla="*/ 0 w 6159500"/>
              <a:gd name="connsiteY4" fmla="*/ 637558 h 3340730"/>
              <a:gd name="connsiteX5" fmla="*/ 637559 w 6159500"/>
              <a:gd name="connsiteY5" fmla="*/ 0 h 3340730"/>
              <a:gd name="connsiteX0" fmla="*/ 196850 w 6159500"/>
              <a:gd name="connsiteY0" fmla="*/ 3340730 h 3432170"/>
              <a:gd name="connsiteX1" fmla="*/ 0 w 6159500"/>
              <a:gd name="connsiteY1" fmla="*/ 3340730 h 3432170"/>
              <a:gd name="connsiteX2" fmla="*/ 0 w 6159500"/>
              <a:gd name="connsiteY2" fmla="*/ 637558 h 3432170"/>
              <a:gd name="connsiteX3" fmla="*/ 637559 w 6159500"/>
              <a:gd name="connsiteY3" fmla="*/ 0 h 3432170"/>
              <a:gd name="connsiteX4" fmla="*/ 6159500 w 6159500"/>
              <a:gd name="connsiteY4" fmla="*/ 0 h 3432170"/>
              <a:gd name="connsiteX5" fmla="*/ 288290 w 6159500"/>
              <a:gd name="connsiteY5" fmla="*/ 3432170 h 3432170"/>
              <a:gd name="connsiteX0" fmla="*/ 196850 w 6159500"/>
              <a:gd name="connsiteY0" fmla="*/ 3340730 h 3340730"/>
              <a:gd name="connsiteX1" fmla="*/ 0 w 6159500"/>
              <a:gd name="connsiteY1" fmla="*/ 3340730 h 3340730"/>
              <a:gd name="connsiteX2" fmla="*/ 0 w 6159500"/>
              <a:gd name="connsiteY2" fmla="*/ 637558 h 3340730"/>
              <a:gd name="connsiteX3" fmla="*/ 637559 w 6159500"/>
              <a:gd name="connsiteY3" fmla="*/ 0 h 3340730"/>
              <a:gd name="connsiteX4" fmla="*/ 6159500 w 6159500"/>
              <a:gd name="connsiteY4" fmla="*/ 0 h 3340730"/>
              <a:gd name="connsiteX0" fmla="*/ 0 w 6159500"/>
              <a:gd name="connsiteY0" fmla="*/ 3340730 h 3340730"/>
              <a:gd name="connsiteX1" fmla="*/ 0 w 6159500"/>
              <a:gd name="connsiteY1" fmla="*/ 637558 h 3340730"/>
              <a:gd name="connsiteX2" fmla="*/ 637559 w 6159500"/>
              <a:gd name="connsiteY2" fmla="*/ 0 h 3340730"/>
              <a:gd name="connsiteX3" fmla="*/ 6159500 w 6159500"/>
              <a:gd name="connsiteY3" fmla="*/ 0 h 33407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159500" h="3340730">
                <a:moveTo>
                  <a:pt x="0" y="3340730"/>
                </a:moveTo>
                <a:lnTo>
                  <a:pt x="0" y="637558"/>
                </a:lnTo>
                <a:cubicBezTo>
                  <a:pt x="0" y="285445"/>
                  <a:pt x="285445" y="0"/>
                  <a:pt x="637559" y="0"/>
                </a:cubicBezTo>
                <a:lnTo>
                  <a:pt x="6159500" y="0"/>
                </a:lnTo>
              </a:path>
            </a:pathLst>
          </a:custGeom>
          <a:noFill/>
          <a:ln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9" name="Rectangle: Rounded Corners 118">
            <a:extLst>
              <a:ext uri="{FF2B5EF4-FFF2-40B4-BE49-F238E27FC236}">
                <a16:creationId xmlns:a16="http://schemas.microsoft.com/office/drawing/2014/main" id="{AE977EF2-1B64-7F80-6F72-3EBF5D102F0A}"/>
              </a:ext>
            </a:extLst>
          </p:cNvPr>
          <p:cNvSpPr/>
          <p:nvPr/>
        </p:nvSpPr>
        <p:spPr>
          <a:xfrm>
            <a:off x="7959794" y="3482341"/>
            <a:ext cx="2446848" cy="68580"/>
          </a:xfrm>
          <a:prstGeom prst="roundRect">
            <a:avLst>
              <a:gd name="adj" fmla="val 5000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3" name="Straight Connector 132">
            <a:extLst>
              <a:ext uri="{FF2B5EF4-FFF2-40B4-BE49-F238E27FC236}">
                <a16:creationId xmlns:a16="http://schemas.microsoft.com/office/drawing/2014/main" id="{D352BF4A-17EA-EE73-EAD4-4A3CAA4BB27C}"/>
              </a:ext>
            </a:extLst>
          </p:cNvPr>
          <p:cNvCxnSpPr>
            <a:cxnSpLocks/>
          </p:cNvCxnSpPr>
          <p:nvPr/>
        </p:nvCxnSpPr>
        <p:spPr>
          <a:xfrm>
            <a:off x="6477000" y="5247315"/>
            <a:ext cx="5101281" cy="0"/>
          </a:xfrm>
          <a:prstGeom prst="line">
            <a:avLst/>
          </a:prstGeom>
          <a:ln cap="rnd">
            <a:solidFill>
              <a:schemeClr val="bg1">
                <a:alpha val="68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C3865B21-D221-6596-B1CB-9FF969ED9489}"/>
              </a:ext>
            </a:extLst>
          </p:cNvPr>
          <p:cNvGrpSpPr/>
          <p:nvPr/>
        </p:nvGrpSpPr>
        <p:grpSpPr>
          <a:xfrm>
            <a:off x="5801042" y="4202843"/>
            <a:ext cx="6278663" cy="954107"/>
            <a:chOff x="6103837" y="4202843"/>
            <a:chExt cx="5491264" cy="954107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781C894-A74A-11D5-9768-A58BC9BF7B5F}"/>
                </a:ext>
              </a:extLst>
            </p:cNvPr>
            <p:cNvSpPr txBox="1">
              <a:spLocks/>
            </p:cNvSpPr>
            <p:nvPr/>
          </p:nvSpPr>
          <p:spPr>
            <a:xfrm>
              <a:off x="6572251" y="4202843"/>
              <a:ext cx="5022850" cy="95410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j-ea"/>
                  <a:cs typeface="+mj-cs"/>
                </a:rPr>
                <a:t>Mutually beneficial for our customers </a:t>
              </a:r>
              <a:r>
                <a:rPr kumimoji="0" lang="en-US" sz="2700" b="1" i="0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j-ea"/>
                  <a:cs typeface="+mj-cs"/>
                </a:rPr>
                <a:t>and </a:t>
              </a:r>
              <a:r>
                <a:rPr kumimoji="0" lang="en-US" sz="27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j-ea"/>
                  <a:cs typeface="+mj-cs"/>
                </a:rPr>
                <a:t>PepsiCo</a:t>
              </a:r>
            </a:p>
          </p:txBody>
        </p:sp>
        <p:grpSp>
          <p:nvGrpSpPr>
            <p:cNvPr id="140" name="Group 139">
              <a:extLst>
                <a:ext uri="{FF2B5EF4-FFF2-40B4-BE49-F238E27FC236}">
                  <a16:creationId xmlns:a16="http://schemas.microsoft.com/office/drawing/2014/main" id="{BCC206DC-2DD7-1FCD-6F35-B10496AD4172}"/>
                </a:ext>
              </a:extLst>
            </p:cNvPr>
            <p:cNvGrpSpPr/>
            <p:nvPr/>
          </p:nvGrpSpPr>
          <p:grpSpPr>
            <a:xfrm>
              <a:off x="6103837" y="4288075"/>
              <a:ext cx="271293" cy="271293"/>
              <a:chOff x="6043010" y="8131597"/>
              <a:chExt cx="3314699" cy="3314700"/>
            </a:xfrm>
          </p:grpSpPr>
          <p:pic>
            <p:nvPicPr>
              <p:cNvPr id="137" name="Picture 136">
                <a:extLst>
                  <a:ext uri="{FF2B5EF4-FFF2-40B4-BE49-F238E27FC236}">
                    <a16:creationId xmlns:a16="http://schemas.microsoft.com/office/drawing/2014/main" id="{ED98F47E-2E2D-8739-F81A-9270AC7F78A4}"/>
                  </a:ext>
                </a:extLst>
              </p:cNvPr>
              <p:cNvPicPr>
                <a:picLocks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6669" t="14450" r="36669" b="14450"/>
              <a:stretch>
                <a:fillRect/>
              </a:stretch>
            </p:blipFill>
            <p:spPr>
              <a:xfrm>
                <a:off x="6043010" y="8131597"/>
                <a:ext cx="3314699" cy="3314700"/>
              </a:xfrm>
              <a:custGeom>
                <a:avLst/>
                <a:gdLst>
                  <a:gd name="connsiteX0" fmla="*/ 1657349 w 3314699"/>
                  <a:gd name="connsiteY0" fmla="*/ 0 h 3314700"/>
                  <a:gd name="connsiteX1" fmla="*/ 3314699 w 3314699"/>
                  <a:gd name="connsiteY1" fmla="*/ 1657350 h 3314700"/>
                  <a:gd name="connsiteX2" fmla="*/ 1657349 w 3314699"/>
                  <a:gd name="connsiteY2" fmla="*/ 3314700 h 3314700"/>
                  <a:gd name="connsiteX3" fmla="*/ 0 w 3314699"/>
                  <a:gd name="connsiteY3" fmla="*/ 1657350 h 3314700"/>
                  <a:gd name="connsiteX4" fmla="*/ 1657349 w 3314699"/>
                  <a:gd name="connsiteY4" fmla="*/ 0 h 3314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14699" h="3314700">
                    <a:moveTo>
                      <a:pt x="1657349" y="0"/>
                    </a:moveTo>
                    <a:cubicBezTo>
                      <a:pt x="2572678" y="0"/>
                      <a:pt x="3314699" y="742021"/>
                      <a:pt x="3314699" y="1657350"/>
                    </a:cubicBezTo>
                    <a:cubicBezTo>
                      <a:pt x="3314699" y="2572679"/>
                      <a:pt x="2572678" y="3314700"/>
                      <a:pt x="1657349" y="3314700"/>
                    </a:cubicBezTo>
                    <a:cubicBezTo>
                      <a:pt x="742020" y="3314700"/>
                      <a:pt x="0" y="2572679"/>
                      <a:pt x="0" y="1657350"/>
                    </a:cubicBezTo>
                    <a:cubicBezTo>
                      <a:pt x="0" y="742021"/>
                      <a:pt x="742020" y="0"/>
                      <a:pt x="1657349" y="0"/>
                    </a:cubicBezTo>
                    <a:close/>
                  </a:path>
                </a:pathLst>
              </a:custGeom>
              <a:ln w="3175">
                <a:solidFill>
                  <a:schemeClr val="bg1"/>
                </a:solidFill>
              </a:ln>
            </p:spPr>
          </p:pic>
          <p:sp>
            <p:nvSpPr>
              <p:cNvPr id="139" name="Oval 138">
                <a:extLst>
                  <a:ext uri="{FF2B5EF4-FFF2-40B4-BE49-F238E27FC236}">
                    <a16:creationId xmlns:a16="http://schemas.microsoft.com/office/drawing/2014/main" id="{BBB9A0B3-E81C-714F-6140-DDE34199F18F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602601" y="8691189"/>
                <a:ext cx="2195504" cy="2195505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</p:grpSp>
      </p:grp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EF753CDA-2422-A86D-59A8-EAF3DAEF96F7}"/>
              </a:ext>
            </a:extLst>
          </p:cNvPr>
          <p:cNvGrpSpPr/>
          <p:nvPr/>
        </p:nvGrpSpPr>
        <p:grpSpPr>
          <a:xfrm>
            <a:off x="5801042" y="5460789"/>
            <a:ext cx="6278663" cy="923330"/>
            <a:chOff x="6103837" y="5460789"/>
            <a:chExt cx="5491264" cy="923330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8EDB603-E414-268B-333F-3F7BA8176A9E}"/>
                </a:ext>
              </a:extLst>
            </p:cNvPr>
            <p:cNvSpPr txBox="1">
              <a:spLocks/>
            </p:cNvSpPr>
            <p:nvPr/>
          </p:nvSpPr>
          <p:spPr>
            <a:xfrm>
              <a:off x="6572251" y="5460789"/>
              <a:ext cx="5022850" cy="92333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7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j-ea"/>
                  <a:cs typeface="+mj-cs"/>
                </a:rPr>
                <a:t>Driving progress toward sustainability goals </a:t>
              </a:r>
              <a:r>
                <a:rPr kumimoji="0" lang="en-US" sz="2700" b="1" i="0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j-ea"/>
                  <a:cs typeface="+mj-cs"/>
                </a:rPr>
                <a:t>and</a:t>
              </a:r>
              <a:r>
                <a:rPr kumimoji="0" lang="en-US" sz="2700" b="1" i="0" u="none" strike="noStrike" kern="1200" cap="none" spc="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+mj-ea"/>
                  <a:cs typeface="+mj-cs"/>
                </a:rPr>
                <a:t> commercial value</a:t>
              </a:r>
            </a:p>
          </p:txBody>
        </p:sp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C13D529B-8EF1-1844-9657-825F9657EA64}"/>
                </a:ext>
              </a:extLst>
            </p:cNvPr>
            <p:cNvGrpSpPr/>
            <p:nvPr/>
          </p:nvGrpSpPr>
          <p:grpSpPr>
            <a:xfrm>
              <a:off x="6103837" y="5573950"/>
              <a:ext cx="271293" cy="271293"/>
              <a:chOff x="6043010" y="8131597"/>
              <a:chExt cx="3314699" cy="3314700"/>
            </a:xfrm>
          </p:grpSpPr>
          <p:pic>
            <p:nvPicPr>
              <p:cNvPr id="145" name="Picture 144">
                <a:extLst>
                  <a:ext uri="{FF2B5EF4-FFF2-40B4-BE49-F238E27FC236}">
                    <a16:creationId xmlns:a16="http://schemas.microsoft.com/office/drawing/2014/main" id="{F7779CCF-59B1-D7A7-89C1-74992572D07D}"/>
                  </a:ext>
                </a:extLst>
              </p:cNvPr>
              <p:cNvPicPr>
                <a:picLocks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36669" t="14450" r="36669" b="14450"/>
              <a:stretch>
                <a:fillRect/>
              </a:stretch>
            </p:blipFill>
            <p:spPr>
              <a:xfrm>
                <a:off x="6043010" y="8131597"/>
                <a:ext cx="3314699" cy="3314700"/>
              </a:xfrm>
              <a:custGeom>
                <a:avLst/>
                <a:gdLst>
                  <a:gd name="connsiteX0" fmla="*/ 1657349 w 3314699"/>
                  <a:gd name="connsiteY0" fmla="*/ 0 h 3314700"/>
                  <a:gd name="connsiteX1" fmla="*/ 3314699 w 3314699"/>
                  <a:gd name="connsiteY1" fmla="*/ 1657350 h 3314700"/>
                  <a:gd name="connsiteX2" fmla="*/ 1657349 w 3314699"/>
                  <a:gd name="connsiteY2" fmla="*/ 3314700 h 3314700"/>
                  <a:gd name="connsiteX3" fmla="*/ 0 w 3314699"/>
                  <a:gd name="connsiteY3" fmla="*/ 1657350 h 3314700"/>
                  <a:gd name="connsiteX4" fmla="*/ 1657349 w 3314699"/>
                  <a:gd name="connsiteY4" fmla="*/ 0 h 3314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14699" h="3314700">
                    <a:moveTo>
                      <a:pt x="1657349" y="0"/>
                    </a:moveTo>
                    <a:cubicBezTo>
                      <a:pt x="2572678" y="0"/>
                      <a:pt x="3314699" y="742021"/>
                      <a:pt x="3314699" y="1657350"/>
                    </a:cubicBezTo>
                    <a:cubicBezTo>
                      <a:pt x="3314699" y="2572679"/>
                      <a:pt x="2572678" y="3314700"/>
                      <a:pt x="1657349" y="3314700"/>
                    </a:cubicBezTo>
                    <a:cubicBezTo>
                      <a:pt x="742020" y="3314700"/>
                      <a:pt x="0" y="2572679"/>
                      <a:pt x="0" y="1657350"/>
                    </a:cubicBezTo>
                    <a:cubicBezTo>
                      <a:pt x="0" y="742021"/>
                      <a:pt x="742020" y="0"/>
                      <a:pt x="1657349" y="0"/>
                    </a:cubicBezTo>
                    <a:close/>
                  </a:path>
                </a:pathLst>
              </a:custGeom>
              <a:ln w="3175">
                <a:solidFill>
                  <a:schemeClr val="bg1"/>
                </a:solidFill>
              </a:ln>
            </p:spPr>
          </p:pic>
          <p:sp>
            <p:nvSpPr>
              <p:cNvPr id="146" name="Oval 145">
                <a:extLst>
                  <a:ext uri="{FF2B5EF4-FFF2-40B4-BE49-F238E27FC236}">
                    <a16:creationId xmlns:a16="http://schemas.microsoft.com/office/drawing/2014/main" id="{0CFCB821-9D77-595D-B3C0-7476B8DE23BC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6602601" y="8691189"/>
                <a:ext cx="2195504" cy="2195505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</p:grpSp>
      </p:grpSp>
      <p:sp>
        <p:nvSpPr>
          <p:cNvPr id="149" name="object 54">
            <a:extLst>
              <a:ext uri="{FF2B5EF4-FFF2-40B4-BE49-F238E27FC236}">
                <a16:creationId xmlns:a16="http://schemas.microsoft.com/office/drawing/2014/main" id="{CCD97C72-08C1-9182-64EA-173AB796784B}"/>
              </a:ext>
            </a:extLst>
          </p:cNvPr>
          <p:cNvSpPr/>
          <p:nvPr/>
        </p:nvSpPr>
        <p:spPr>
          <a:xfrm>
            <a:off x="787399" y="5716782"/>
            <a:ext cx="474345" cy="474345"/>
          </a:xfrm>
          <a:custGeom>
            <a:avLst/>
            <a:gdLst/>
            <a:ahLst/>
            <a:cxnLst/>
            <a:rect l="l" t="t" r="r" b="b"/>
            <a:pathLst>
              <a:path w="474345" h="474345">
                <a:moveTo>
                  <a:pt x="267887" y="0"/>
                </a:moveTo>
                <a:lnTo>
                  <a:pt x="206224" y="0"/>
                </a:lnTo>
                <a:lnTo>
                  <a:pt x="194722" y="2338"/>
                </a:lnTo>
                <a:lnTo>
                  <a:pt x="185303" y="8706"/>
                </a:lnTo>
                <a:lnTo>
                  <a:pt x="178939" y="18129"/>
                </a:lnTo>
                <a:lnTo>
                  <a:pt x="176601" y="29632"/>
                </a:lnTo>
                <a:lnTo>
                  <a:pt x="176601" y="176601"/>
                </a:lnTo>
                <a:lnTo>
                  <a:pt x="29622" y="176601"/>
                </a:lnTo>
                <a:lnTo>
                  <a:pt x="18120" y="178940"/>
                </a:lnTo>
                <a:lnTo>
                  <a:pt x="8701" y="185308"/>
                </a:lnTo>
                <a:lnTo>
                  <a:pt x="2337" y="194730"/>
                </a:lnTo>
                <a:lnTo>
                  <a:pt x="0" y="206234"/>
                </a:lnTo>
                <a:lnTo>
                  <a:pt x="0" y="267887"/>
                </a:lnTo>
                <a:lnTo>
                  <a:pt x="2337" y="279389"/>
                </a:lnTo>
                <a:lnTo>
                  <a:pt x="8701" y="288807"/>
                </a:lnTo>
                <a:lnTo>
                  <a:pt x="18120" y="295171"/>
                </a:lnTo>
                <a:lnTo>
                  <a:pt x="29622" y="297509"/>
                </a:lnTo>
                <a:lnTo>
                  <a:pt x="176601" y="297509"/>
                </a:lnTo>
                <a:lnTo>
                  <a:pt x="176601" y="444489"/>
                </a:lnTo>
                <a:lnTo>
                  <a:pt x="178939" y="455991"/>
                </a:lnTo>
                <a:lnTo>
                  <a:pt x="185303" y="465409"/>
                </a:lnTo>
                <a:lnTo>
                  <a:pt x="194722" y="471773"/>
                </a:lnTo>
                <a:lnTo>
                  <a:pt x="206224" y="474111"/>
                </a:lnTo>
                <a:lnTo>
                  <a:pt x="267887" y="474111"/>
                </a:lnTo>
                <a:lnTo>
                  <a:pt x="279389" y="471773"/>
                </a:lnTo>
                <a:lnTo>
                  <a:pt x="288807" y="465409"/>
                </a:lnTo>
                <a:lnTo>
                  <a:pt x="295171" y="455991"/>
                </a:lnTo>
                <a:lnTo>
                  <a:pt x="297509" y="444489"/>
                </a:lnTo>
                <a:lnTo>
                  <a:pt x="297509" y="297509"/>
                </a:lnTo>
                <a:lnTo>
                  <a:pt x="444489" y="297509"/>
                </a:lnTo>
                <a:lnTo>
                  <a:pt x="455991" y="295171"/>
                </a:lnTo>
                <a:lnTo>
                  <a:pt x="465409" y="288807"/>
                </a:lnTo>
                <a:lnTo>
                  <a:pt x="471773" y="279389"/>
                </a:lnTo>
                <a:lnTo>
                  <a:pt x="474111" y="267887"/>
                </a:lnTo>
                <a:lnTo>
                  <a:pt x="474111" y="206234"/>
                </a:lnTo>
                <a:lnTo>
                  <a:pt x="471773" y="194730"/>
                </a:lnTo>
                <a:lnTo>
                  <a:pt x="465409" y="185308"/>
                </a:lnTo>
                <a:lnTo>
                  <a:pt x="455991" y="178940"/>
                </a:lnTo>
                <a:lnTo>
                  <a:pt x="444489" y="176601"/>
                </a:lnTo>
                <a:lnTo>
                  <a:pt x="297509" y="176601"/>
                </a:lnTo>
                <a:lnTo>
                  <a:pt x="297509" y="29632"/>
                </a:lnTo>
                <a:lnTo>
                  <a:pt x="295171" y="18129"/>
                </a:lnTo>
                <a:lnTo>
                  <a:pt x="288807" y="8706"/>
                </a:lnTo>
                <a:lnTo>
                  <a:pt x="279389" y="2338"/>
                </a:lnTo>
                <a:lnTo>
                  <a:pt x="267887" y="0"/>
                </a:lnTo>
                <a:close/>
              </a:path>
            </a:pathLst>
          </a:custGeom>
          <a:solidFill>
            <a:srgbClr val="FFC62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0" name="object 56">
            <a:extLst>
              <a:ext uri="{FF2B5EF4-FFF2-40B4-BE49-F238E27FC236}">
                <a16:creationId xmlns:a16="http://schemas.microsoft.com/office/drawing/2014/main" id="{EAA13ABF-B9A3-5324-CB30-D121145188B9}"/>
              </a:ext>
            </a:extLst>
          </p:cNvPr>
          <p:cNvSpPr/>
          <p:nvPr/>
        </p:nvSpPr>
        <p:spPr>
          <a:xfrm>
            <a:off x="1263318" y="5423749"/>
            <a:ext cx="290830" cy="290830"/>
          </a:xfrm>
          <a:custGeom>
            <a:avLst/>
            <a:gdLst/>
            <a:ahLst/>
            <a:cxnLst/>
            <a:rect l="l" t="t" r="r" b="b"/>
            <a:pathLst>
              <a:path w="290830" h="290829">
                <a:moveTo>
                  <a:pt x="164152" y="0"/>
                </a:moveTo>
                <a:lnTo>
                  <a:pt x="126373" y="0"/>
                </a:lnTo>
                <a:lnTo>
                  <a:pt x="119321" y="1433"/>
                </a:lnTo>
                <a:lnTo>
                  <a:pt x="113548" y="5336"/>
                </a:lnTo>
                <a:lnTo>
                  <a:pt x="109648" y="11109"/>
                </a:lnTo>
                <a:lnTo>
                  <a:pt x="108216" y="18156"/>
                </a:lnTo>
                <a:lnTo>
                  <a:pt x="108216" y="108216"/>
                </a:lnTo>
                <a:lnTo>
                  <a:pt x="18156" y="108216"/>
                </a:lnTo>
                <a:lnTo>
                  <a:pt x="11105" y="109650"/>
                </a:lnTo>
                <a:lnTo>
                  <a:pt x="5332" y="113552"/>
                </a:lnTo>
                <a:lnTo>
                  <a:pt x="1432" y="119326"/>
                </a:lnTo>
                <a:lnTo>
                  <a:pt x="0" y="126373"/>
                </a:lnTo>
                <a:lnTo>
                  <a:pt x="0" y="164152"/>
                </a:lnTo>
                <a:lnTo>
                  <a:pt x="1432" y="171198"/>
                </a:lnTo>
                <a:lnTo>
                  <a:pt x="5332" y="176972"/>
                </a:lnTo>
                <a:lnTo>
                  <a:pt x="11105" y="180874"/>
                </a:lnTo>
                <a:lnTo>
                  <a:pt x="18156" y="182308"/>
                </a:lnTo>
                <a:lnTo>
                  <a:pt x="108216" y="182308"/>
                </a:lnTo>
                <a:lnTo>
                  <a:pt x="108216" y="272368"/>
                </a:lnTo>
                <a:lnTo>
                  <a:pt x="109648" y="279419"/>
                </a:lnTo>
                <a:lnTo>
                  <a:pt x="113548" y="285192"/>
                </a:lnTo>
                <a:lnTo>
                  <a:pt x="119321" y="289092"/>
                </a:lnTo>
                <a:lnTo>
                  <a:pt x="126373" y="290525"/>
                </a:lnTo>
                <a:lnTo>
                  <a:pt x="164152" y="290525"/>
                </a:lnTo>
                <a:lnTo>
                  <a:pt x="171203" y="289092"/>
                </a:lnTo>
                <a:lnTo>
                  <a:pt x="176976" y="285192"/>
                </a:lnTo>
                <a:lnTo>
                  <a:pt x="180876" y="279419"/>
                </a:lnTo>
                <a:lnTo>
                  <a:pt x="182308" y="272368"/>
                </a:lnTo>
                <a:lnTo>
                  <a:pt x="182308" y="182308"/>
                </a:lnTo>
                <a:lnTo>
                  <a:pt x="272368" y="182308"/>
                </a:lnTo>
                <a:lnTo>
                  <a:pt x="279419" y="180874"/>
                </a:lnTo>
                <a:lnTo>
                  <a:pt x="285192" y="176972"/>
                </a:lnTo>
                <a:lnTo>
                  <a:pt x="289092" y="171198"/>
                </a:lnTo>
                <a:lnTo>
                  <a:pt x="290525" y="164152"/>
                </a:lnTo>
                <a:lnTo>
                  <a:pt x="290525" y="126373"/>
                </a:lnTo>
                <a:lnTo>
                  <a:pt x="289092" y="119326"/>
                </a:lnTo>
                <a:lnTo>
                  <a:pt x="285192" y="113552"/>
                </a:lnTo>
                <a:lnTo>
                  <a:pt x="279419" y="109650"/>
                </a:lnTo>
                <a:lnTo>
                  <a:pt x="272368" y="108216"/>
                </a:lnTo>
                <a:lnTo>
                  <a:pt x="182308" y="108216"/>
                </a:lnTo>
                <a:lnTo>
                  <a:pt x="182308" y="18156"/>
                </a:lnTo>
                <a:lnTo>
                  <a:pt x="180876" y="11109"/>
                </a:lnTo>
                <a:lnTo>
                  <a:pt x="176976" y="5336"/>
                </a:lnTo>
                <a:lnTo>
                  <a:pt x="171203" y="1433"/>
                </a:lnTo>
                <a:lnTo>
                  <a:pt x="164152" y="0"/>
                </a:lnTo>
                <a:close/>
              </a:path>
            </a:pathLst>
          </a:custGeom>
          <a:solidFill>
            <a:srgbClr val="4FD9E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1" name="object 31">
            <a:extLst>
              <a:ext uri="{FF2B5EF4-FFF2-40B4-BE49-F238E27FC236}">
                <a16:creationId xmlns:a16="http://schemas.microsoft.com/office/drawing/2014/main" id="{852225A8-5C58-5C05-AAC6-FF533E80C300}"/>
              </a:ext>
            </a:extLst>
          </p:cNvPr>
          <p:cNvSpPr/>
          <p:nvPr/>
        </p:nvSpPr>
        <p:spPr>
          <a:xfrm>
            <a:off x="5080744" y="181051"/>
            <a:ext cx="445770" cy="514350"/>
          </a:xfrm>
          <a:custGeom>
            <a:avLst/>
            <a:gdLst/>
            <a:ahLst/>
            <a:cxnLst/>
            <a:rect l="l" t="t" r="r" b="b"/>
            <a:pathLst>
              <a:path w="445769" h="514350">
                <a:moveTo>
                  <a:pt x="20650" y="235432"/>
                </a:moveTo>
                <a:lnTo>
                  <a:pt x="20002" y="234696"/>
                </a:lnTo>
                <a:lnTo>
                  <a:pt x="19519" y="234950"/>
                </a:lnTo>
                <a:lnTo>
                  <a:pt x="20650" y="235432"/>
                </a:lnTo>
                <a:close/>
              </a:path>
              <a:path w="445769" h="514350">
                <a:moveTo>
                  <a:pt x="24422" y="232410"/>
                </a:moveTo>
                <a:lnTo>
                  <a:pt x="19697" y="231140"/>
                </a:lnTo>
                <a:lnTo>
                  <a:pt x="18821" y="232410"/>
                </a:lnTo>
                <a:lnTo>
                  <a:pt x="17970" y="232410"/>
                </a:lnTo>
                <a:lnTo>
                  <a:pt x="20002" y="234696"/>
                </a:lnTo>
                <a:lnTo>
                  <a:pt x="24422" y="232410"/>
                </a:lnTo>
                <a:close/>
              </a:path>
              <a:path w="445769" h="514350">
                <a:moveTo>
                  <a:pt x="57772" y="282422"/>
                </a:moveTo>
                <a:lnTo>
                  <a:pt x="57734" y="281546"/>
                </a:lnTo>
                <a:lnTo>
                  <a:pt x="57543" y="281000"/>
                </a:lnTo>
                <a:lnTo>
                  <a:pt x="57543" y="280187"/>
                </a:lnTo>
                <a:lnTo>
                  <a:pt x="56629" y="280492"/>
                </a:lnTo>
                <a:lnTo>
                  <a:pt x="55765" y="280758"/>
                </a:lnTo>
                <a:lnTo>
                  <a:pt x="55003" y="281317"/>
                </a:lnTo>
                <a:lnTo>
                  <a:pt x="55308" y="282333"/>
                </a:lnTo>
                <a:lnTo>
                  <a:pt x="55460" y="282790"/>
                </a:lnTo>
                <a:lnTo>
                  <a:pt x="56159" y="283387"/>
                </a:lnTo>
                <a:lnTo>
                  <a:pt x="57721" y="283387"/>
                </a:lnTo>
                <a:lnTo>
                  <a:pt x="57772" y="282422"/>
                </a:lnTo>
                <a:close/>
              </a:path>
              <a:path w="445769" h="514350">
                <a:moveTo>
                  <a:pt x="226923" y="324650"/>
                </a:moveTo>
                <a:lnTo>
                  <a:pt x="226809" y="324027"/>
                </a:lnTo>
                <a:lnTo>
                  <a:pt x="225425" y="324662"/>
                </a:lnTo>
                <a:lnTo>
                  <a:pt x="226923" y="324650"/>
                </a:lnTo>
                <a:close/>
              </a:path>
              <a:path w="445769" h="514350">
                <a:moveTo>
                  <a:pt x="230339" y="324637"/>
                </a:moveTo>
                <a:lnTo>
                  <a:pt x="226923" y="324650"/>
                </a:lnTo>
                <a:lnTo>
                  <a:pt x="227647" y="328510"/>
                </a:lnTo>
                <a:lnTo>
                  <a:pt x="230339" y="324637"/>
                </a:lnTo>
                <a:close/>
              </a:path>
              <a:path w="445769" h="514350">
                <a:moveTo>
                  <a:pt x="445731" y="238760"/>
                </a:moveTo>
                <a:lnTo>
                  <a:pt x="443598" y="237490"/>
                </a:lnTo>
                <a:lnTo>
                  <a:pt x="438404" y="233680"/>
                </a:lnTo>
                <a:lnTo>
                  <a:pt x="439064" y="229870"/>
                </a:lnTo>
                <a:lnTo>
                  <a:pt x="442887" y="228600"/>
                </a:lnTo>
                <a:lnTo>
                  <a:pt x="442036" y="223520"/>
                </a:lnTo>
                <a:lnTo>
                  <a:pt x="436664" y="228600"/>
                </a:lnTo>
                <a:lnTo>
                  <a:pt x="436092" y="227330"/>
                </a:lnTo>
                <a:lnTo>
                  <a:pt x="435521" y="226060"/>
                </a:lnTo>
                <a:lnTo>
                  <a:pt x="433247" y="220980"/>
                </a:lnTo>
                <a:lnTo>
                  <a:pt x="431292" y="222250"/>
                </a:lnTo>
                <a:lnTo>
                  <a:pt x="427990" y="223520"/>
                </a:lnTo>
                <a:lnTo>
                  <a:pt x="417233" y="226060"/>
                </a:lnTo>
                <a:lnTo>
                  <a:pt x="411772" y="226060"/>
                </a:lnTo>
                <a:lnTo>
                  <a:pt x="406285" y="223520"/>
                </a:lnTo>
                <a:lnTo>
                  <a:pt x="404266" y="223520"/>
                </a:lnTo>
                <a:lnTo>
                  <a:pt x="401434" y="227330"/>
                </a:lnTo>
                <a:lnTo>
                  <a:pt x="399376" y="227330"/>
                </a:lnTo>
                <a:lnTo>
                  <a:pt x="393547" y="223520"/>
                </a:lnTo>
                <a:lnTo>
                  <a:pt x="389839" y="222250"/>
                </a:lnTo>
                <a:lnTo>
                  <a:pt x="386524" y="220980"/>
                </a:lnTo>
                <a:lnTo>
                  <a:pt x="384784" y="227330"/>
                </a:lnTo>
                <a:lnTo>
                  <a:pt x="382638" y="223520"/>
                </a:lnTo>
                <a:lnTo>
                  <a:pt x="381000" y="222250"/>
                </a:lnTo>
                <a:lnTo>
                  <a:pt x="377710" y="219710"/>
                </a:lnTo>
                <a:lnTo>
                  <a:pt x="374713" y="219710"/>
                </a:lnTo>
                <a:lnTo>
                  <a:pt x="373126" y="220256"/>
                </a:lnTo>
                <a:lnTo>
                  <a:pt x="373126" y="274320"/>
                </a:lnTo>
                <a:lnTo>
                  <a:pt x="372935" y="274320"/>
                </a:lnTo>
                <a:lnTo>
                  <a:pt x="371436" y="275590"/>
                </a:lnTo>
                <a:lnTo>
                  <a:pt x="370027" y="274320"/>
                </a:lnTo>
                <a:lnTo>
                  <a:pt x="368350" y="274320"/>
                </a:lnTo>
                <a:lnTo>
                  <a:pt x="368985" y="273773"/>
                </a:lnTo>
                <a:lnTo>
                  <a:pt x="370027" y="274243"/>
                </a:lnTo>
                <a:lnTo>
                  <a:pt x="371436" y="275247"/>
                </a:lnTo>
                <a:lnTo>
                  <a:pt x="372999" y="273862"/>
                </a:lnTo>
                <a:lnTo>
                  <a:pt x="373126" y="274320"/>
                </a:lnTo>
                <a:lnTo>
                  <a:pt x="373126" y="220256"/>
                </a:lnTo>
                <a:lnTo>
                  <a:pt x="367284" y="222250"/>
                </a:lnTo>
                <a:lnTo>
                  <a:pt x="363816" y="220980"/>
                </a:lnTo>
                <a:lnTo>
                  <a:pt x="363867" y="212090"/>
                </a:lnTo>
                <a:lnTo>
                  <a:pt x="362000" y="210820"/>
                </a:lnTo>
                <a:lnTo>
                  <a:pt x="359892" y="209550"/>
                </a:lnTo>
                <a:lnTo>
                  <a:pt x="354215" y="205740"/>
                </a:lnTo>
                <a:lnTo>
                  <a:pt x="351586" y="203212"/>
                </a:lnTo>
                <a:lnTo>
                  <a:pt x="351586" y="280746"/>
                </a:lnTo>
                <a:lnTo>
                  <a:pt x="351472" y="280492"/>
                </a:lnTo>
                <a:lnTo>
                  <a:pt x="351586" y="280746"/>
                </a:lnTo>
                <a:lnTo>
                  <a:pt x="351586" y="203212"/>
                </a:lnTo>
                <a:lnTo>
                  <a:pt x="350278" y="201955"/>
                </a:lnTo>
                <a:lnTo>
                  <a:pt x="350278" y="279857"/>
                </a:lnTo>
                <a:lnTo>
                  <a:pt x="349542" y="279768"/>
                </a:lnTo>
                <a:lnTo>
                  <a:pt x="349732" y="279781"/>
                </a:lnTo>
                <a:lnTo>
                  <a:pt x="349999" y="279806"/>
                </a:lnTo>
                <a:lnTo>
                  <a:pt x="350189" y="279844"/>
                </a:lnTo>
                <a:lnTo>
                  <a:pt x="350278" y="201955"/>
                </a:lnTo>
                <a:lnTo>
                  <a:pt x="349986" y="201676"/>
                </a:lnTo>
                <a:lnTo>
                  <a:pt x="349986" y="278841"/>
                </a:lnTo>
                <a:lnTo>
                  <a:pt x="349567" y="279095"/>
                </a:lnTo>
                <a:lnTo>
                  <a:pt x="349567" y="279717"/>
                </a:lnTo>
                <a:lnTo>
                  <a:pt x="349262" y="279730"/>
                </a:lnTo>
                <a:lnTo>
                  <a:pt x="348792" y="279704"/>
                </a:lnTo>
                <a:lnTo>
                  <a:pt x="348983" y="279704"/>
                </a:lnTo>
                <a:lnTo>
                  <a:pt x="349173" y="279717"/>
                </a:lnTo>
                <a:lnTo>
                  <a:pt x="349567" y="279717"/>
                </a:lnTo>
                <a:lnTo>
                  <a:pt x="349567" y="279095"/>
                </a:lnTo>
                <a:lnTo>
                  <a:pt x="349338" y="279222"/>
                </a:lnTo>
                <a:lnTo>
                  <a:pt x="349986" y="278841"/>
                </a:lnTo>
                <a:lnTo>
                  <a:pt x="349986" y="201676"/>
                </a:lnTo>
                <a:lnTo>
                  <a:pt x="348932" y="200660"/>
                </a:lnTo>
                <a:lnTo>
                  <a:pt x="343192" y="198120"/>
                </a:lnTo>
                <a:lnTo>
                  <a:pt x="329463" y="194310"/>
                </a:lnTo>
                <a:lnTo>
                  <a:pt x="323684" y="190500"/>
                </a:lnTo>
                <a:lnTo>
                  <a:pt x="312839" y="182880"/>
                </a:lnTo>
                <a:lnTo>
                  <a:pt x="308546" y="180340"/>
                </a:lnTo>
                <a:lnTo>
                  <a:pt x="306895" y="179666"/>
                </a:lnTo>
                <a:lnTo>
                  <a:pt x="306895" y="251421"/>
                </a:lnTo>
                <a:lnTo>
                  <a:pt x="305955" y="254000"/>
                </a:lnTo>
                <a:lnTo>
                  <a:pt x="303834" y="254000"/>
                </a:lnTo>
                <a:lnTo>
                  <a:pt x="302945" y="251460"/>
                </a:lnTo>
                <a:lnTo>
                  <a:pt x="303314" y="251460"/>
                </a:lnTo>
                <a:lnTo>
                  <a:pt x="303834" y="253111"/>
                </a:lnTo>
                <a:lnTo>
                  <a:pt x="305955" y="252780"/>
                </a:lnTo>
                <a:lnTo>
                  <a:pt x="306895" y="251421"/>
                </a:lnTo>
                <a:lnTo>
                  <a:pt x="306895" y="179666"/>
                </a:lnTo>
                <a:lnTo>
                  <a:pt x="302336" y="177800"/>
                </a:lnTo>
                <a:lnTo>
                  <a:pt x="302272" y="177609"/>
                </a:lnTo>
                <a:lnTo>
                  <a:pt x="302272" y="250190"/>
                </a:lnTo>
                <a:lnTo>
                  <a:pt x="295732" y="252730"/>
                </a:lnTo>
                <a:lnTo>
                  <a:pt x="292201" y="257810"/>
                </a:lnTo>
                <a:lnTo>
                  <a:pt x="285216" y="264160"/>
                </a:lnTo>
                <a:lnTo>
                  <a:pt x="283298" y="265430"/>
                </a:lnTo>
                <a:lnTo>
                  <a:pt x="282867" y="269240"/>
                </a:lnTo>
                <a:lnTo>
                  <a:pt x="282041" y="270510"/>
                </a:lnTo>
                <a:lnTo>
                  <a:pt x="281520" y="270510"/>
                </a:lnTo>
                <a:lnTo>
                  <a:pt x="274294" y="273050"/>
                </a:lnTo>
                <a:lnTo>
                  <a:pt x="268490" y="278130"/>
                </a:lnTo>
                <a:lnTo>
                  <a:pt x="262940" y="283210"/>
                </a:lnTo>
                <a:lnTo>
                  <a:pt x="256489" y="287020"/>
                </a:lnTo>
                <a:lnTo>
                  <a:pt x="254812" y="287020"/>
                </a:lnTo>
                <a:lnTo>
                  <a:pt x="251637" y="294640"/>
                </a:lnTo>
                <a:lnTo>
                  <a:pt x="251460" y="296722"/>
                </a:lnTo>
                <a:lnTo>
                  <a:pt x="251333" y="298450"/>
                </a:lnTo>
                <a:lnTo>
                  <a:pt x="246621" y="298450"/>
                </a:lnTo>
                <a:lnTo>
                  <a:pt x="246989" y="297916"/>
                </a:lnTo>
                <a:lnTo>
                  <a:pt x="246087" y="297916"/>
                </a:lnTo>
                <a:lnTo>
                  <a:pt x="246113" y="298450"/>
                </a:lnTo>
                <a:lnTo>
                  <a:pt x="246113" y="299199"/>
                </a:lnTo>
                <a:lnTo>
                  <a:pt x="245287" y="300418"/>
                </a:lnTo>
                <a:lnTo>
                  <a:pt x="240538" y="304825"/>
                </a:lnTo>
                <a:lnTo>
                  <a:pt x="240360" y="304825"/>
                </a:lnTo>
                <a:lnTo>
                  <a:pt x="240487" y="304888"/>
                </a:lnTo>
                <a:lnTo>
                  <a:pt x="246443" y="305765"/>
                </a:lnTo>
                <a:lnTo>
                  <a:pt x="246468" y="306070"/>
                </a:lnTo>
                <a:lnTo>
                  <a:pt x="241604" y="306070"/>
                </a:lnTo>
                <a:lnTo>
                  <a:pt x="240449" y="304914"/>
                </a:lnTo>
                <a:lnTo>
                  <a:pt x="238607" y="306616"/>
                </a:lnTo>
                <a:lnTo>
                  <a:pt x="236613" y="308216"/>
                </a:lnTo>
                <a:lnTo>
                  <a:pt x="236004" y="308584"/>
                </a:lnTo>
                <a:lnTo>
                  <a:pt x="243243" y="309778"/>
                </a:lnTo>
                <a:lnTo>
                  <a:pt x="243547" y="309143"/>
                </a:lnTo>
                <a:lnTo>
                  <a:pt x="243751" y="308889"/>
                </a:lnTo>
                <a:lnTo>
                  <a:pt x="243852" y="309880"/>
                </a:lnTo>
                <a:lnTo>
                  <a:pt x="243243" y="309880"/>
                </a:lnTo>
                <a:lnTo>
                  <a:pt x="242697" y="309803"/>
                </a:lnTo>
                <a:lnTo>
                  <a:pt x="242697" y="379895"/>
                </a:lnTo>
                <a:lnTo>
                  <a:pt x="241947" y="379056"/>
                </a:lnTo>
                <a:lnTo>
                  <a:pt x="242697" y="379895"/>
                </a:lnTo>
                <a:lnTo>
                  <a:pt x="242697" y="309803"/>
                </a:lnTo>
                <a:lnTo>
                  <a:pt x="235724" y="308762"/>
                </a:lnTo>
                <a:lnTo>
                  <a:pt x="236004" y="308584"/>
                </a:lnTo>
                <a:lnTo>
                  <a:pt x="234784" y="308381"/>
                </a:lnTo>
                <a:lnTo>
                  <a:pt x="231825" y="310972"/>
                </a:lnTo>
                <a:lnTo>
                  <a:pt x="231838" y="311137"/>
                </a:lnTo>
                <a:lnTo>
                  <a:pt x="231978" y="312229"/>
                </a:lnTo>
                <a:lnTo>
                  <a:pt x="230479" y="318516"/>
                </a:lnTo>
                <a:lnTo>
                  <a:pt x="231825" y="323367"/>
                </a:lnTo>
                <a:lnTo>
                  <a:pt x="233540" y="323151"/>
                </a:lnTo>
                <a:lnTo>
                  <a:pt x="233641" y="323850"/>
                </a:lnTo>
                <a:lnTo>
                  <a:pt x="232321" y="323850"/>
                </a:lnTo>
                <a:lnTo>
                  <a:pt x="232321" y="496277"/>
                </a:lnTo>
                <a:lnTo>
                  <a:pt x="231267" y="499719"/>
                </a:lnTo>
                <a:lnTo>
                  <a:pt x="230251" y="500418"/>
                </a:lnTo>
                <a:lnTo>
                  <a:pt x="228396" y="498970"/>
                </a:lnTo>
                <a:lnTo>
                  <a:pt x="227368" y="497230"/>
                </a:lnTo>
                <a:lnTo>
                  <a:pt x="227799" y="494614"/>
                </a:lnTo>
                <a:lnTo>
                  <a:pt x="228549" y="496404"/>
                </a:lnTo>
                <a:lnTo>
                  <a:pt x="232321" y="496277"/>
                </a:lnTo>
                <a:lnTo>
                  <a:pt x="232321" y="323850"/>
                </a:lnTo>
                <a:lnTo>
                  <a:pt x="231952" y="323850"/>
                </a:lnTo>
                <a:lnTo>
                  <a:pt x="231825" y="323367"/>
                </a:lnTo>
                <a:lnTo>
                  <a:pt x="231152" y="323456"/>
                </a:lnTo>
                <a:lnTo>
                  <a:pt x="230339" y="324637"/>
                </a:lnTo>
                <a:lnTo>
                  <a:pt x="230606" y="324637"/>
                </a:lnTo>
                <a:lnTo>
                  <a:pt x="227647" y="328930"/>
                </a:lnTo>
                <a:lnTo>
                  <a:pt x="226796" y="325120"/>
                </a:lnTo>
                <a:lnTo>
                  <a:pt x="224751" y="325120"/>
                </a:lnTo>
                <a:lnTo>
                  <a:pt x="224701" y="324980"/>
                </a:lnTo>
                <a:lnTo>
                  <a:pt x="225425" y="324662"/>
                </a:lnTo>
                <a:lnTo>
                  <a:pt x="224561" y="324662"/>
                </a:lnTo>
                <a:lnTo>
                  <a:pt x="224078" y="324662"/>
                </a:lnTo>
                <a:lnTo>
                  <a:pt x="223596" y="325755"/>
                </a:lnTo>
                <a:lnTo>
                  <a:pt x="224574" y="332600"/>
                </a:lnTo>
                <a:lnTo>
                  <a:pt x="219392" y="336918"/>
                </a:lnTo>
                <a:lnTo>
                  <a:pt x="218770" y="342671"/>
                </a:lnTo>
                <a:lnTo>
                  <a:pt x="218617" y="343027"/>
                </a:lnTo>
                <a:lnTo>
                  <a:pt x="219024" y="343242"/>
                </a:lnTo>
                <a:lnTo>
                  <a:pt x="219227" y="343484"/>
                </a:lnTo>
                <a:lnTo>
                  <a:pt x="222872" y="337769"/>
                </a:lnTo>
                <a:lnTo>
                  <a:pt x="227342" y="332473"/>
                </a:lnTo>
                <a:lnTo>
                  <a:pt x="227444" y="332740"/>
                </a:lnTo>
                <a:lnTo>
                  <a:pt x="222872" y="337820"/>
                </a:lnTo>
                <a:lnTo>
                  <a:pt x="222796" y="337959"/>
                </a:lnTo>
                <a:lnTo>
                  <a:pt x="222796" y="346710"/>
                </a:lnTo>
                <a:lnTo>
                  <a:pt x="221246" y="349250"/>
                </a:lnTo>
                <a:lnTo>
                  <a:pt x="220230" y="348627"/>
                </a:lnTo>
                <a:lnTo>
                  <a:pt x="220230" y="351790"/>
                </a:lnTo>
                <a:lnTo>
                  <a:pt x="219087" y="353466"/>
                </a:lnTo>
                <a:lnTo>
                  <a:pt x="219087" y="355168"/>
                </a:lnTo>
                <a:lnTo>
                  <a:pt x="218808" y="355473"/>
                </a:lnTo>
                <a:lnTo>
                  <a:pt x="219075" y="355168"/>
                </a:lnTo>
                <a:lnTo>
                  <a:pt x="219087" y="353466"/>
                </a:lnTo>
                <a:lnTo>
                  <a:pt x="218795" y="353898"/>
                </a:lnTo>
                <a:lnTo>
                  <a:pt x="218795" y="354761"/>
                </a:lnTo>
                <a:lnTo>
                  <a:pt x="218376" y="354774"/>
                </a:lnTo>
                <a:lnTo>
                  <a:pt x="218795" y="354761"/>
                </a:lnTo>
                <a:lnTo>
                  <a:pt x="218795" y="353898"/>
                </a:lnTo>
                <a:lnTo>
                  <a:pt x="218643" y="354114"/>
                </a:lnTo>
                <a:lnTo>
                  <a:pt x="218503" y="353987"/>
                </a:lnTo>
                <a:lnTo>
                  <a:pt x="219849" y="351967"/>
                </a:lnTo>
                <a:lnTo>
                  <a:pt x="220230" y="351790"/>
                </a:lnTo>
                <a:lnTo>
                  <a:pt x="220230" y="348627"/>
                </a:lnTo>
                <a:lnTo>
                  <a:pt x="219202" y="347980"/>
                </a:lnTo>
                <a:lnTo>
                  <a:pt x="219202" y="347611"/>
                </a:lnTo>
                <a:lnTo>
                  <a:pt x="221246" y="348818"/>
                </a:lnTo>
                <a:lnTo>
                  <a:pt x="222580" y="346557"/>
                </a:lnTo>
                <a:lnTo>
                  <a:pt x="222796" y="346710"/>
                </a:lnTo>
                <a:lnTo>
                  <a:pt x="222796" y="337959"/>
                </a:lnTo>
                <a:lnTo>
                  <a:pt x="219430" y="343814"/>
                </a:lnTo>
                <a:lnTo>
                  <a:pt x="219341" y="343636"/>
                </a:lnTo>
                <a:lnTo>
                  <a:pt x="219227" y="343496"/>
                </a:lnTo>
                <a:lnTo>
                  <a:pt x="219087" y="343636"/>
                </a:lnTo>
                <a:lnTo>
                  <a:pt x="219100" y="343801"/>
                </a:lnTo>
                <a:lnTo>
                  <a:pt x="219151" y="343941"/>
                </a:lnTo>
                <a:lnTo>
                  <a:pt x="219125" y="344144"/>
                </a:lnTo>
                <a:lnTo>
                  <a:pt x="219214" y="343979"/>
                </a:lnTo>
                <a:lnTo>
                  <a:pt x="219227" y="344157"/>
                </a:lnTo>
                <a:lnTo>
                  <a:pt x="219036" y="344170"/>
                </a:lnTo>
                <a:lnTo>
                  <a:pt x="218147" y="345122"/>
                </a:lnTo>
                <a:lnTo>
                  <a:pt x="218147" y="352742"/>
                </a:lnTo>
                <a:lnTo>
                  <a:pt x="218147" y="353910"/>
                </a:lnTo>
                <a:lnTo>
                  <a:pt x="218109" y="353263"/>
                </a:lnTo>
                <a:lnTo>
                  <a:pt x="218084" y="353110"/>
                </a:lnTo>
                <a:lnTo>
                  <a:pt x="218122" y="352755"/>
                </a:lnTo>
                <a:lnTo>
                  <a:pt x="218147" y="345122"/>
                </a:lnTo>
                <a:lnTo>
                  <a:pt x="217843" y="345440"/>
                </a:lnTo>
                <a:lnTo>
                  <a:pt x="217627" y="345440"/>
                </a:lnTo>
                <a:lnTo>
                  <a:pt x="217627" y="356222"/>
                </a:lnTo>
                <a:lnTo>
                  <a:pt x="215633" y="354164"/>
                </a:lnTo>
                <a:lnTo>
                  <a:pt x="217538" y="353212"/>
                </a:lnTo>
                <a:lnTo>
                  <a:pt x="215646" y="354164"/>
                </a:lnTo>
                <a:lnTo>
                  <a:pt x="216865" y="355422"/>
                </a:lnTo>
                <a:lnTo>
                  <a:pt x="217627" y="356222"/>
                </a:lnTo>
                <a:lnTo>
                  <a:pt x="217627" y="345440"/>
                </a:lnTo>
                <a:lnTo>
                  <a:pt x="216446" y="345440"/>
                </a:lnTo>
                <a:lnTo>
                  <a:pt x="216446" y="352196"/>
                </a:lnTo>
                <a:lnTo>
                  <a:pt x="216446" y="345440"/>
                </a:lnTo>
                <a:lnTo>
                  <a:pt x="215036" y="345440"/>
                </a:lnTo>
                <a:lnTo>
                  <a:pt x="214947" y="347980"/>
                </a:lnTo>
                <a:lnTo>
                  <a:pt x="214553" y="350329"/>
                </a:lnTo>
                <a:lnTo>
                  <a:pt x="214947" y="347522"/>
                </a:lnTo>
                <a:lnTo>
                  <a:pt x="215023" y="344563"/>
                </a:lnTo>
                <a:lnTo>
                  <a:pt x="214972" y="343433"/>
                </a:lnTo>
                <a:lnTo>
                  <a:pt x="214998" y="343154"/>
                </a:lnTo>
                <a:lnTo>
                  <a:pt x="215023" y="344563"/>
                </a:lnTo>
                <a:lnTo>
                  <a:pt x="215023" y="344766"/>
                </a:lnTo>
                <a:lnTo>
                  <a:pt x="216636" y="345313"/>
                </a:lnTo>
                <a:lnTo>
                  <a:pt x="217843" y="344500"/>
                </a:lnTo>
                <a:lnTo>
                  <a:pt x="219036" y="343662"/>
                </a:lnTo>
                <a:lnTo>
                  <a:pt x="218960" y="343446"/>
                </a:lnTo>
                <a:lnTo>
                  <a:pt x="218795" y="343268"/>
                </a:lnTo>
                <a:lnTo>
                  <a:pt x="218503" y="343217"/>
                </a:lnTo>
                <a:lnTo>
                  <a:pt x="217360" y="343166"/>
                </a:lnTo>
                <a:lnTo>
                  <a:pt x="216408" y="343535"/>
                </a:lnTo>
                <a:lnTo>
                  <a:pt x="215544" y="344131"/>
                </a:lnTo>
                <a:lnTo>
                  <a:pt x="216065" y="343230"/>
                </a:lnTo>
                <a:lnTo>
                  <a:pt x="216293" y="342176"/>
                </a:lnTo>
                <a:lnTo>
                  <a:pt x="209677" y="337629"/>
                </a:lnTo>
                <a:lnTo>
                  <a:pt x="212394" y="328015"/>
                </a:lnTo>
                <a:lnTo>
                  <a:pt x="211340" y="327583"/>
                </a:lnTo>
                <a:lnTo>
                  <a:pt x="207987" y="326224"/>
                </a:lnTo>
                <a:lnTo>
                  <a:pt x="207987" y="329552"/>
                </a:lnTo>
                <a:lnTo>
                  <a:pt x="207886" y="328650"/>
                </a:lnTo>
                <a:lnTo>
                  <a:pt x="207937" y="328828"/>
                </a:lnTo>
                <a:lnTo>
                  <a:pt x="207987" y="329552"/>
                </a:lnTo>
                <a:lnTo>
                  <a:pt x="207987" y="326224"/>
                </a:lnTo>
                <a:lnTo>
                  <a:pt x="204901" y="324967"/>
                </a:lnTo>
                <a:lnTo>
                  <a:pt x="204838" y="316750"/>
                </a:lnTo>
                <a:lnTo>
                  <a:pt x="202387" y="311988"/>
                </a:lnTo>
                <a:lnTo>
                  <a:pt x="202387" y="321779"/>
                </a:lnTo>
                <a:lnTo>
                  <a:pt x="202031" y="319239"/>
                </a:lnTo>
                <a:lnTo>
                  <a:pt x="202387" y="321779"/>
                </a:lnTo>
                <a:lnTo>
                  <a:pt x="202387" y="311988"/>
                </a:lnTo>
                <a:lnTo>
                  <a:pt x="201739" y="310718"/>
                </a:lnTo>
                <a:lnTo>
                  <a:pt x="195834" y="309308"/>
                </a:lnTo>
                <a:lnTo>
                  <a:pt x="195834" y="310972"/>
                </a:lnTo>
                <a:lnTo>
                  <a:pt x="191300" y="310197"/>
                </a:lnTo>
                <a:lnTo>
                  <a:pt x="195834" y="310972"/>
                </a:lnTo>
                <a:lnTo>
                  <a:pt x="195834" y="309308"/>
                </a:lnTo>
                <a:lnTo>
                  <a:pt x="193128" y="308648"/>
                </a:lnTo>
                <a:lnTo>
                  <a:pt x="192697" y="307886"/>
                </a:lnTo>
                <a:lnTo>
                  <a:pt x="195287" y="305308"/>
                </a:lnTo>
                <a:lnTo>
                  <a:pt x="190728" y="304355"/>
                </a:lnTo>
                <a:lnTo>
                  <a:pt x="188264" y="303834"/>
                </a:lnTo>
                <a:lnTo>
                  <a:pt x="186994" y="301802"/>
                </a:lnTo>
                <a:lnTo>
                  <a:pt x="182867" y="296862"/>
                </a:lnTo>
                <a:lnTo>
                  <a:pt x="186994" y="301790"/>
                </a:lnTo>
                <a:lnTo>
                  <a:pt x="188264" y="303822"/>
                </a:lnTo>
                <a:lnTo>
                  <a:pt x="190728" y="304342"/>
                </a:lnTo>
                <a:lnTo>
                  <a:pt x="188252" y="299897"/>
                </a:lnTo>
                <a:lnTo>
                  <a:pt x="181051" y="293154"/>
                </a:lnTo>
                <a:lnTo>
                  <a:pt x="173418" y="286778"/>
                </a:lnTo>
                <a:lnTo>
                  <a:pt x="167297" y="279095"/>
                </a:lnTo>
                <a:lnTo>
                  <a:pt x="166878" y="278320"/>
                </a:lnTo>
                <a:lnTo>
                  <a:pt x="166878" y="282105"/>
                </a:lnTo>
                <a:lnTo>
                  <a:pt x="166865" y="281965"/>
                </a:lnTo>
                <a:lnTo>
                  <a:pt x="166878" y="282105"/>
                </a:lnTo>
                <a:lnTo>
                  <a:pt x="166878" y="278320"/>
                </a:lnTo>
                <a:lnTo>
                  <a:pt x="166814" y="278193"/>
                </a:lnTo>
                <a:lnTo>
                  <a:pt x="165722" y="277774"/>
                </a:lnTo>
                <a:lnTo>
                  <a:pt x="164934" y="277863"/>
                </a:lnTo>
                <a:lnTo>
                  <a:pt x="171945" y="270903"/>
                </a:lnTo>
                <a:lnTo>
                  <a:pt x="186766" y="255879"/>
                </a:lnTo>
                <a:lnTo>
                  <a:pt x="187782" y="254838"/>
                </a:lnTo>
                <a:lnTo>
                  <a:pt x="188518" y="253593"/>
                </a:lnTo>
                <a:lnTo>
                  <a:pt x="188785" y="252145"/>
                </a:lnTo>
                <a:lnTo>
                  <a:pt x="188493" y="252018"/>
                </a:lnTo>
                <a:lnTo>
                  <a:pt x="188277" y="251815"/>
                </a:lnTo>
                <a:lnTo>
                  <a:pt x="187896" y="251764"/>
                </a:lnTo>
                <a:lnTo>
                  <a:pt x="185915" y="254000"/>
                </a:lnTo>
                <a:lnTo>
                  <a:pt x="183997" y="256311"/>
                </a:lnTo>
                <a:lnTo>
                  <a:pt x="181940" y="258470"/>
                </a:lnTo>
                <a:lnTo>
                  <a:pt x="175006" y="265518"/>
                </a:lnTo>
                <a:lnTo>
                  <a:pt x="167919" y="272427"/>
                </a:lnTo>
                <a:lnTo>
                  <a:pt x="164439" y="275958"/>
                </a:lnTo>
                <a:lnTo>
                  <a:pt x="164439" y="278511"/>
                </a:lnTo>
                <a:lnTo>
                  <a:pt x="164172" y="279971"/>
                </a:lnTo>
                <a:lnTo>
                  <a:pt x="131838" y="312712"/>
                </a:lnTo>
                <a:lnTo>
                  <a:pt x="130505" y="313156"/>
                </a:lnTo>
                <a:lnTo>
                  <a:pt x="136626" y="306070"/>
                </a:lnTo>
                <a:lnTo>
                  <a:pt x="142189" y="300990"/>
                </a:lnTo>
                <a:lnTo>
                  <a:pt x="143586" y="299720"/>
                </a:lnTo>
                <a:lnTo>
                  <a:pt x="150660" y="292100"/>
                </a:lnTo>
                <a:lnTo>
                  <a:pt x="157607" y="285750"/>
                </a:lnTo>
                <a:lnTo>
                  <a:pt x="159664" y="283210"/>
                </a:lnTo>
                <a:lnTo>
                  <a:pt x="160362" y="282295"/>
                </a:lnTo>
                <a:lnTo>
                  <a:pt x="162941" y="279793"/>
                </a:lnTo>
                <a:lnTo>
                  <a:pt x="163550" y="279400"/>
                </a:lnTo>
                <a:lnTo>
                  <a:pt x="163550" y="279196"/>
                </a:lnTo>
                <a:lnTo>
                  <a:pt x="164312" y="278460"/>
                </a:lnTo>
                <a:lnTo>
                  <a:pt x="164439" y="278511"/>
                </a:lnTo>
                <a:lnTo>
                  <a:pt x="164439" y="275958"/>
                </a:lnTo>
                <a:lnTo>
                  <a:pt x="164122" y="275247"/>
                </a:lnTo>
                <a:lnTo>
                  <a:pt x="163156" y="274231"/>
                </a:lnTo>
                <a:lnTo>
                  <a:pt x="156552" y="268198"/>
                </a:lnTo>
                <a:lnTo>
                  <a:pt x="149479" y="262712"/>
                </a:lnTo>
                <a:lnTo>
                  <a:pt x="142392" y="257060"/>
                </a:lnTo>
                <a:lnTo>
                  <a:pt x="136906" y="251663"/>
                </a:lnTo>
                <a:lnTo>
                  <a:pt x="137363" y="256921"/>
                </a:lnTo>
                <a:lnTo>
                  <a:pt x="141541" y="259080"/>
                </a:lnTo>
                <a:lnTo>
                  <a:pt x="146900" y="262597"/>
                </a:lnTo>
                <a:lnTo>
                  <a:pt x="151739" y="266776"/>
                </a:lnTo>
                <a:lnTo>
                  <a:pt x="156540" y="270979"/>
                </a:lnTo>
                <a:lnTo>
                  <a:pt x="161759" y="274637"/>
                </a:lnTo>
                <a:lnTo>
                  <a:pt x="163042" y="275361"/>
                </a:lnTo>
                <a:lnTo>
                  <a:pt x="163626" y="276491"/>
                </a:lnTo>
                <a:lnTo>
                  <a:pt x="163614" y="276758"/>
                </a:lnTo>
                <a:lnTo>
                  <a:pt x="163042" y="275590"/>
                </a:lnTo>
                <a:lnTo>
                  <a:pt x="161759" y="275590"/>
                </a:lnTo>
                <a:lnTo>
                  <a:pt x="158280" y="273050"/>
                </a:lnTo>
                <a:lnTo>
                  <a:pt x="156540" y="271780"/>
                </a:lnTo>
                <a:lnTo>
                  <a:pt x="151739" y="267970"/>
                </a:lnTo>
                <a:lnTo>
                  <a:pt x="146900" y="262890"/>
                </a:lnTo>
                <a:lnTo>
                  <a:pt x="141541" y="259080"/>
                </a:lnTo>
                <a:lnTo>
                  <a:pt x="137363" y="257810"/>
                </a:lnTo>
                <a:lnTo>
                  <a:pt x="137045" y="254000"/>
                </a:lnTo>
                <a:lnTo>
                  <a:pt x="136842" y="251625"/>
                </a:lnTo>
                <a:lnTo>
                  <a:pt x="136728" y="249682"/>
                </a:lnTo>
                <a:lnTo>
                  <a:pt x="135280" y="249923"/>
                </a:lnTo>
                <a:lnTo>
                  <a:pt x="135661" y="250380"/>
                </a:lnTo>
                <a:lnTo>
                  <a:pt x="129374" y="251460"/>
                </a:lnTo>
                <a:lnTo>
                  <a:pt x="128371" y="250190"/>
                </a:lnTo>
                <a:lnTo>
                  <a:pt x="128651" y="249758"/>
                </a:lnTo>
                <a:lnTo>
                  <a:pt x="129374" y="250939"/>
                </a:lnTo>
                <a:lnTo>
                  <a:pt x="135280" y="249923"/>
                </a:lnTo>
                <a:lnTo>
                  <a:pt x="133769" y="249809"/>
                </a:lnTo>
                <a:lnTo>
                  <a:pt x="132194" y="249694"/>
                </a:lnTo>
                <a:lnTo>
                  <a:pt x="141465" y="240169"/>
                </a:lnTo>
                <a:lnTo>
                  <a:pt x="150520" y="230530"/>
                </a:lnTo>
                <a:lnTo>
                  <a:pt x="159486" y="220776"/>
                </a:lnTo>
                <a:lnTo>
                  <a:pt x="165823" y="213817"/>
                </a:lnTo>
                <a:lnTo>
                  <a:pt x="167195" y="213360"/>
                </a:lnTo>
                <a:lnTo>
                  <a:pt x="167690" y="212090"/>
                </a:lnTo>
                <a:lnTo>
                  <a:pt x="167894" y="211531"/>
                </a:lnTo>
                <a:lnTo>
                  <a:pt x="169875" y="209372"/>
                </a:lnTo>
                <a:lnTo>
                  <a:pt x="171958" y="208203"/>
                </a:lnTo>
                <a:lnTo>
                  <a:pt x="177368" y="198374"/>
                </a:lnTo>
                <a:lnTo>
                  <a:pt x="181851" y="190779"/>
                </a:lnTo>
                <a:lnTo>
                  <a:pt x="186791" y="183502"/>
                </a:lnTo>
                <a:lnTo>
                  <a:pt x="192430" y="176669"/>
                </a:lnTo>
                <a:lnTo>
                  <a:pt x="193586" y="175412"/>
                </a:lnTo>
                <a:lnTo>
                  <a:pt x="193776" y="173812"/>
                </a:lnTo>
                <a:lnTo>
                  <a:pt x="194017" y="172173"/>
                </a:lnTo>
                <a:lnTo>
                  <a:pt x="196291" y="165049"/>
                </a:lnTo>
                <a:lnTo>
                  <a:pt x="200113" y="158673"/>
                </a:lnTo>
                <a:lnTo>
                  <a:pt x="204343" y="152412"/>
                </a:lnTo>
                <a:lnTo>
                  <a:pt x="207937" y="145453"/>
                </a:lnTo>
                <a:lnTo>
                  <a:pt x="210985" y="150202"/>
                </a:lnTo>
                <a:lnTo>
                  <a:pt x="211696" y="154952"/>
                </a:lnTo>
                <a:lnTo>
                  <a:pt x="215036" y="157314"/>
                </a:lnTo>
                <a:lnTo>
                  <a:pt x="221805" y="163118"/>
                </a:lnTo>
                <a:lnTo>
                  <a:pt x="225285" y="167271"/>
                </a:lnTo>
                <a:lnTo>
                  <a:pt x="225425" y="168910"/>
                </a:lnTo>
                <a:lnTo>
                  <a:pt x="228434" y="171323"/>
                </a:lnTo>
                <a:lnTo>
                  <a:pt x="232295" y="177076"/>
                </a:lnTo>
                <a:lnTo>
                  <a:pt x="236651" y="184492"/>
                </a:lnTo>
                <a:lnTo>
                  <a:pt x="241376" y="192405"/>
                </a:lnTo>
                <a:lnTo>
                  <a:pt x="268782" y="223342"/>
                </a:lnTo>
                <a:lnTo>
                  <a:pt x="271094" y="227596"/>
                </a:lnTo>
                <a:lnTo>
                  <a:pt x="271475" y="229870"/>
                </a:lnTo>
                <a:lnTo>
                  <a:pt x="272415" y="229997"/>
                </a:lnTo>
                <a:lnTo>
                  <a:pt x="273329" y="231660"/>
                </a:lnTo>
                <a:lnTo>
                  <a:pt x="275463" y="231838"/>
                </a:lnTo>
                <a:lnTo>
                  <a:pt x="278269" y="232854"/>
                </a:lnTo>
                <a:lnTo>
                  <a:pt x="280035" y="232829"/>
                </a:lnTo>
                <a:lnTo>
                  <a:pt x="284480" y="241731"/>
                </a:lnTo>
                <a:lnTo>
                  <a:pt x="293065" y="244068"/>
                </a:lnTo>
                <a:lnTo>
                  <a:pt x="295465" y="246938"/>
                </a:lnTo>
                <a:lnTo>
                  <a:pt x="295795" y="250190"/>
                </a:lnTo>
                <a:lnTo>
                  <a:pt x="298196" y="250190"/>
                </a:lnTo>
                <a:lnTo>
                  <a:pt x="296430" y="250558"/>
                </a:lnTo>
                <a:lnTo>
                  <a:pt x="294614" y="250850"/>
                </a:lnTo>
                <a:lnTo>
                  <a:pt x="293192" y="252234"/>
                </a:lnTo>
                <a:lnTo>
                  <a:pt x="288340" y="257289"/>
                </a:lnTo>
                <a:lnTo>
                  <a:pt x="283552" y="262382"/>
                </a:lnTo>
                <a:lnTo>
                  <a:pt x="278434" y="267233"/>
                </a:lnTo>
                <a:lnTo>
                  <a:pt x="272643" y="271526"/>
                </a:lnTo>
                <a:lnTo>
                  <a:pt x="267677" y="274637"/>
                </a:lnTo>
                <a:lnTo>
                  <a:pt x="263296" y="279488"/>
                </a:lnTo>
                <a:lnTo>
                  <a:pt x="255371" y="284365"/>
                </a:lnTo>
                <a:lnTo>
                  <a:pt x="253390" y="286397"/>
                </a:lnTo>
                <a:lnTo>
                  <a:pt x="248920" y="295046"/>
                </a:lnTo>
                <a:lnTo>
                  <a:pt x="246989" y="297916"/>
                </a:lnTo>
                <a:lnTo>
                  <a:pt x="251333" y="297916"/>
                </a:lnTo>
                <a:lnTo>
                  <a:pt x="251460" y="296722"/>
                </a:lnTo>
                <a:lnTo>
                  <a:pt x="251637" y="294474"/>
                </a:lnTo>
                <a:lnTo>
                  <a:pt x="254812" y="286486"/>
                </a:lnTo>
                <a:lnTo>
                  <a:pt x="256489" y="285927"/>
                </a:lnTo>
                <a:lnTo>
                  <a:pt x="262940" y="282168"/>
                </a:lnTo>
                <a:lnTo>
                  <a:pt x="268490" y="277037"/>
                </a:lnTo>
                <a:lnTo>
                  <a:pt x="274294" y="272313"/>
                </a:lnTo>
                <a:lnTo>
                  <a:pt x="281520" y="269786"/>
                </a:lnTo>
                <a:lnTo>
                  <a:pt x="282041" y="269735"/>
                </a:lnTo>
                <a:lnTo>
                  <a:pt x="282867" y="269036"/>
                </a:lnTo>
                <a:lnTo>
                  <a:pt x="283298" y="265163"/>
                </a:lnTo>
                <a:lnTo>
                  <a:pt x="285216" y="263766"/>
                </a:lnTo>
                <a:lnTo>
                  <a:pt x="292201" y="257060"/>
                </a:lnTo>
                <a:lnTo>
                  <a:pt x="295732" y="251853"/>
                </a:lnTo>
                <a:lnTo>
                  <a:pt x="300240" y="250190"/>
                </a:lnTo>
                <a:lnTo>
                  <a:pt x="302272" y="250190"/>
                </a:lnTo>
                <a:lnTo>
                  <a:pt x="302272" y="177609"/>
                </a:lnTo>
                <a:lnTo>
                  <a:pt x="301523" y="175260"/>
                </a:lnTo>
                <a:lnTo>
                  <a:pt x="300304" y="171450"/>
                </a:lnTo>
                <a:lnTo>
                  <a:pt x="298678" y="171450"/>
                </a:lnTo>
                <a:lnTo>
                  <a:pt x="299173" y="172720"/>
                </a:lnTo>
                <a:lnTo>
                  <a:pt x="299631" y="173990"/>
                </a:lnTo>
                <a:lnTo>
                  <a:pt x="297967" y="175260"/>
                </a:lnTo>
                <a:lnTo>
                  <a:pt x="295363" y="171450"/>
                </a:lnTo>
                <a:lnTo>
                  <a:pt x="292379" y="167640"/>
                </a:lnTo>
                <a:lnTo>
                  <a:pt x="288531" y="161290"/>
                </a:lnTo>
                <a:lnTo>
                  <a:pt x="286677" y="158750"/>
                </a:lnTo>
                <a:lnTo>
                  <a:pt x="278511" y="158750"/>
                </a:lnTo>
                <a:lnTo>
                  <a:pt x="276250" y="154940"/>
                </a:lnTo>
                <a:lnTo>
                  <a:pt x="274637" y="148590"/>
                </a:lnTo>
                <a:lnTo>
                  <a:pt x="272580" y="147320"/>
                </a:lnTo>
                <a:lnTo>
                  <a:pt x="267500" y="143510"/>
                </a:lnTo>
                <a:lnTo>
                  <a:pt x="264109" y="140970"/>
                </a:lnTo>
                <a:lnTo>
                  <a:pt x="259689" y="135890"/>
                </a:lnTo>
                <a:lnTo>
                  <a:pt x="259321" y="125730"/>
                </a:lnTo>
                <a:lnTo>
                  <a:pt x="259270" y="124460"/>
                </a:lnTo>
                <a:lnTo>
                  <a:pt x="257975" y="123190"/>
                </a:lnTo>
                <a:lnTo>
                  <a:pt x="252031" y="125730"/>
                </a:lnTo>
                <a:lnTo>
                  <a:pt x="251612" y="123190"/>
                </a:lnTo>
                <a:lnTo>
                  <a:pt x="248996" y="114300"/>
                </a:lnTo>
                <a:lnTo>
                  <a:pt x="248094" y="107950"/>
                </a:lnTo>
                <a:lnTo>
                  <a:pt x="242303" y="102870"/>
                </a:lnTo>
                <a:lnTo>
                  <a:pt x="241922" y="101600"/>
                </a:lnTo>
                <a:lnTo>
                  <a:pt x="242836" y="93980"/>
                </a:lnTo>
                <a:lnTo>
                  <a:pt x="241376" y="90170"/>
                </a:lnTo>
                <a:lnTo>
                  <a:pt x="235534" y="83820"/>
                </a:lnTo>
                <a:lnTo>
                  <a:pt x="233591" y="82550"/>
                </a:lnTo>
                <a:lnTo>
                  <a:pt x="231635" y="81280"/>
                </a:lnTo>
                <a:lnTo>
                  <a:pt x="234391" y="78740"/>
                </a:lnTo>
                <a:lnTo>
                  <a:pt x="237147" y="76200"/>
                </a:lnTo>
                <a:lnTo>
                  <a:pt x="238518" y="74930"/>
                </a:lnTo>
                <a:lnTo>
                  <a:pt x="232143" y="73660"/>
                </a:lnTo>
                <a:lnTo>
                  <a:pt x="231965" y="72390"/>
                </a:lnTo>
                <a:lnTo>
                  <a:pt x="231432" y="68580"/>
                </a:lnTo>
                <a:lnTo>
                  <a:pt x="228066" y="67310"/>
                </a:lnTo>
                <a:lnTo>
                  <a:pt x="230200" y="64770"/>
                </a:lnTo>
                <a:lnTo>
                  <a:pt x="233400" y="60960"/>
                </a:lnTo>
                <a:lnTo>
                  <a:pt x="229222" y="58420"/>
                </a:lnTo>
                <a:lnTo>
                  <a:pt x="226174" y="49530"/>
                </a:lnTo>
                <a:lnTo>
                  <a:pt x="231508" y="46990"/>
                </a:lnTo>
                <a:lnTo>
                  <a:pt x="227787" y="45720"/>
                </a:lnTo>
                <a:lnTo>
                  <a:pt x="220840" y="41910"/>
                </a:lnTo>
                <a:lnTo>
                  <a:pt x="220776" y="35560"/>
                </a:lnTo>
                <a:lnTo>
                  <a:pt x="220764" y="34290"/>
                </a:lnTo>
                <a:lnTo>
                  <a:pt x="222135" y="27940"/>
                </a:lnTo>
                <a:lnTo>
                  <a:pt x="223507" y="21590"/>
                </a:lnTo>
                <a:lnTo>
                  <a:pt x="223520" y="15240"/>
                </a:lnTo>
                <a:lnTo>
                  <a:pt x="220370" y="0"/>
                </a:lnTo>
                <a:lnTo>
                  <a:pt x="216433" y="2540"/>
                </a:lnTo>
                <a:lnTo>
                  <a:pt x="213664" y="3276"/>
                </a:lnTo>
                <a:lnTo>
                  <a:pt x="213664" y="151130"/>
                </a:lnTo>
                <a:lnTo>
                  <a:pt x="213563" y="155422"/>
                </a:lnTo>
                <a:lnTo>
                  <a:pt x="213588" y="151028"/>
                </a:lnTo>
                <a:lnTo>
                  <a:pt x="213664" y="3276"/>
                </a:lnTo>
                <a:lnTo>
                  <a:pt x="211658" y="3810"/>
                </a:lnTo>
                <a:lnTo>
                  <a:pt x="210604" y="7620"/>
                </a:lnTo>
                <a:lnTo>
                  <a:pt x="211963" y="12700"/>
                </a:lnTo>
                <a:lnTo>
                  <a:pt x="211328" y="13970"/>
                </a:lnTo>
                <a:lnTo>
                  <a:pt x="210680" y="14757"/>
                </a:lnTo>
                <a:lnTo>
                  <a:pt x="210680" y="143510"/>
                </a:lnTo>
                <a:lnTo>
                  <a:pt x="210235" y="145592"/>
                </a:lnTo>
                <a:lnTo>
                  <a:pt x="210146" y="145453"/>
                </a:lnTo>
                <a:lnTo>
                  <a:pt x="210642" y="143510"/>
                </a:lnTo>
                <a:lnTo>
                  <a:pt x="210680" y="14757"/>
                </a:lnTo>
                <a:lnTo>
                  <a:pt x="207124" y="19050"/>
                </a:lnTo>
                <a:lnTo>
                  <a:pt x="203949" y="21590"/>
                </a:lnTo>
                <a:lnTo>
                  <a:pt x="200812" y="26670"/>
                </a:lnTo>
                <a:lnTo>
                  <a:pt x="199059" y="29210"/>
                </a:lnTo>
                <a:lnTo>
                  <a:pt x="204673" y="27940"/>
                </a:lnTo>
                <a:lnTo>
                  <a:pt x="204025" y="30480"/>
                </a:lnTo>
                <a:lnTo>
                  <a:pt x="203123" y="35560"/>
                </a:lnTo>
                <a:lnTo>
                  <a:pt x="201053" y="33020"/>
                </a:lnTo>
                <a:lnTo>
                  <a:pt x="200025" y="31750"/>
                </a:lnTo>
                <a:lnTo>
                  <a:pt x="199885" y="31902"/>
                </a:lnTo>
                <a:lnTo>
                  <a:pt x="199885" y="158673"/>
                </a:lnTo>
                <a:lnTo>
                  <a:pt x="199339" y="158750"/>
                </a:lnTo>
                <a:lnTo>
                  <a:pt x="199605" y="158343"/>
                </a:lnTo>
                <a:lnTo>
                  <a:pt x="199885" y="158673"/>
                </a:lnTo>
                <a:lnTo>
                  <a:pt x="199885" y="31902"/>
                </a:lnTo>
                <a:lnTo>
                  <a:pt x="198856" y="33020"/>
                </a:lnTo>
                <a:lnTo>
                  <a:pt x="197319" y="31432"/>
                </a:lnTo>
                <a:lnTo>
                  <a:pt x="197319" y="78740"/>
                </a:lnTo>
                <a:lnTo>
                  <a:pt x="197319" y="82550"/>
                </a:lnTo>
                <a:lnTo>
                  <a:pt x="195097" y="82550"/>
                </a:lnTo>
                <a:lnTo>
                  <a:pt x="193738" y="81280"/>
                </a:lnTo>
                <a:lnTo>
                  <a:pt x="193738" y="81102"/>
                </a:lnTo>
                <a:lnTo>
                  <a:pt x="195097" y="81559"/>
                </a:lnTo>
                <a:lnTo>
                  <a:pt x="196862" y="81610"/>
                </a:lnTo>
                <a:lnTo>
                  <a:pt x="197319" y="82550"/>
                </a:lnTo>
                <a:lnTo>
                  <a:pt x="197319" y="78740"/>
                </a:lnTo>
                <a:lnTo>
                  <a:pt x="196926" y="79235"/>
                </a:lnTo>
                <a:lnTo>
                  <a:pt x="196926" y="80010"/>
                </a:lnTo>
                <a:lnTo>
                  <a:pt x="196837" y="80568"/>
                </a:lnTo>
                <a:lnTo>
                  <a:pt x="196723" y="80314"/>
                </a:lnTo>
                <a:lnTo>
                  <a:pt x="196786" y="80010"/>
                </a:lnTo>
                <a:lnTo>
                  <a:pt x="196926" y="80010"/>
                </a:lnTo>
                <a:lnTo>
                  <a:pt x="196926" y="79235"/>
                </a:lnTo>
                <a:lnTo>
                  <a:pt x="196303" y="79006"/>
                </a:lnTo>
                <a:lnTo>
                  <a:pt x="196481" y="78740"/>
                </a:lnTo>
                <a:lnTo>
                  <a:pt x="197319" y="78740"/>
                </a:lnTo>
                <a:lnTo>
                  <a:pt x="197319" y="31432"/>
                </a:lnTo>
                <a:lnTo>
                  <a:pt x="195173" y="29210"/>
                </a:lnTo>
                <a:lnTo>
                  <a:pt x="194017" y="34290"/>
                </a:lnTo>
                <a:lnTo>
                  <a:pt x="195453" y="41910"/>
                </a:lnTo>
                <a:lnTo>
                  <a:pt x="193687" y="48260"/>
                </a:lnTo>
                <a:lnTo>
                  <a:pt x="193205" y="52705"/>
                </a:lnTo>
                <a:lnTo>
                  <a:pt x="193205" y="174472"/>
                </a:lnTo>
                <a:lnTo>
                  <a:pt x="192798" y="174815"/>
                </a:lnTo>
                <a:lnTo>
                  <a:pt x="192074" y="173990"/>
                </a:lnTo>
                <a:lnTo>
                  <a:pt x="192138" y="172834"/>
                </a:lnTo>
                <a:lnTo>
                  <a:pt x="193205" y="174472"/>
                </a:lnTo>
                <a:lnTo>
                  <a:pt x="193205" y="52705"/>
                </a:lnTo>
                <a:lnTo>
                  <a:pt x="192722" y="57150"/>
                </a:lnTo>
                <a:lnTo>
                  <a:pt x="192976" y="59690"/>
                </a:lnTo>
                <a:lnTo>
                  <a:pt x="192659" y="59778"/>
                </a:lnTo>
                <a:lnTo>
                  <a:pt x="192659" y="73660"/>
                </a:lnTo>
                <a:lnTo>
                  <a:pt x="192595" y="74930"/>
                </a:lnTo>
                <a:lnTo>
                  <a:pt x="192493" y="76200"/>
                </a:lnTo>
                <a:lnTo>
                  <a:pt x="190868" y="76200"/>
                </a:lnTo>
                <a:lnTo>
                  <a:pt x="190106" y="74930"/>
                </a:lnTo>
                <a:lnTo>
                  <a:pt x="190309" y="74371"/>
                </a:lnTo>
                <a:lnTo>
                  <a:pt x="190868" y="75082"/>
                </a:lnTo>
                <a:lnTo>
                  <a:pt x="192506" y="75209"/>
                </a:lnTo>
                <a:lnTo>
                  <a:pt x="192608" y="74180"/>
                </a:lnTo>
                <a:lnTo>
                  <a:pt x="192620" y="73621"/>
                </a:lnTo>
                <a:lnTo>
                  <a:pt x="192659" y="59778"/>
                </a:lnTo>
                <a:lnTo>
                  <a:pt x="188226" y="60960"/>
                </a:lnTo>
                <a:lnTo>
                  <a:pt x="187998" y="63500"/>
                </a:lnTo>
                <a:lnTo>
                  <a:pt x="187845" y="68580"/>
                </a:lnTo>
                <a:lnTo>
                  <a:pt x="191541" y="64770"/>
                </a:lnTo>
                <a:lnTo>
                  <a:pt x="192074" y="67310"/>
                </a:lnTo>
                <a:lnTo>
                  <a:pt x="185940" y="72390"/>
                </a:lnTo>
                <a:lnTo>
                  <a:pt x="186575" y="81280"/>
                </a:lnTo>
                <a:lnTo>
                  <a:pt x="183057" y="92710"/>
                </a:lnTo>
                <a:lnTo>
                  <a:pt x="182562" y="99060"/>
                </a:lnTo>
                <a:lnTo>
                  <a:pt x="180174" y="109220"/>
                </a:lnTo>
                <a:lnTo>
                  <a:pt x="179844" y="113030"/>
                </a:lnTo>
                <a:lnTo>
                  <a:pt x="183857" y="121920"/>
                </a:lnTo>
                <a:lnTo>
                  <a:pt x="182410" y="124460"/>
                </a:lnTo>
                <a:lnTo>
                  <a:pt x="175196" y="129540"/>
                </a:lnTo>
                <a:lnTo>
                  <a:pt x="172339" y="130810"/>
                </a:lnTo>
                <a:lnTo>
                  <a:pt x="174117" y="137160"/>
                </a:lnTo>
                <a:lnTo>
                  <a:pt x="173494" y="137160"/>
                </a:lnTo>
                <a:lnTo>
                  <a:pt x="168757" y="138430"/>
                </a:lnTo>
                <a:lnTo>
                  <a:pt x="168173" y="143510"/>
                </a:lnTo>
                <a:lnTo>
                  <a:pt x="163487" y="148590"/>
                </a:lnTo>
                <a:lnTo>
                  <a:pt x="165582" y="154940"/>
                </a:lnTo>
                <a:lnTo>
                  <a:pt x="154305" y="153670"/>
                </a:lnTo>
                <a:lnTo>
                  <a:pt x="152844" y="156210"/>
                </a:lnTo>
                <a:lnTo>
                  <a:pt x="152120" y="162560"/>
                </a:lnTo>
                <a:lnTo>
                  <a:pt x="150228" y="165100"/>
                </a:lnTo>
                <a:lnTo>
                  <a:pt x="144106" y="165100"/>
                </a:lnTo>
                <a:lnTo>
                  <a:pt x="144437" y="173990"/>
                </a:lnTo>
                <a:lnTo>
                  <a:pt x="138658" y="172720"/>
                </a:lnTo>
                <a:lnTo>
                  <a:pt x="133299" y="172720"/>
                </a:lnTo>
                <a:lnTo>
                  <a:pt x="135636" y="173990"/>
                </a:lnTo>
                <a:lnTo>
                  <a:pt x="135483" y="175260"/>
                </a:lnTo>
                <a:lnTo>
                  <a:pt x="132651" y="181610"/>
                </a:lnTo>
                <a:lnTo>
                  <a:pt x="131940" y="180340"/>
                </a:lnTo>
                <a:lnTo>
                  <a:pt x="130505" y="177800"/>
                </a:lnTo>
                <a:lnTo>
                  <a:pt x="126479" y="180340"/>
                </a:lnTo>
                <a:lnTo>
                  <a:pt x="123710" y="177800"/>
                </a:lnTo>
                <a:lnTo>
                  <a:pt x="121285" y="179070"/>
                </a:lnTo>
                <a:lnTo>
                  <a:pt x="123393" y="184150"/>
                </a:lnTo>
                <a:lnTo>
                  <a:pt x="121361" y="191770"/>
                </a:lnTo>
                <a:lnTo>
                  <a:pt x="113626" y="191770"/>
                </a:lnTo>
                <a:lnTo>
                  <a:pt x="108369" y="189230"/>
                </a:lnTo>
                <a:lnTo>
                  <a:pt x="107835" y="195580"/>
                </a:lnTo>
                <a:lnTo>
                  <a:pt x="102120" y="196850"/>
                </a:lnTo>
                <a:lnTo>
                  <a:pt x="100444" y="201930"/>
                </a:lnTo>
                <a:lnTo>
                  <a:pt x="99364" y="203441"/>
                </a:lnTo>
                <a:lnTo>
                  <a:pt x="99364" y="209550"/>
                </a:lnTo>
                <a:lnTo>
                  <a:pt x="96240" y="212090"/>
                </a:lnTo>
                <a:lnTo>
                  <a:pt x="99225" y="209384"/>
                </a:lnTo>
                <a:lnTo>
                  <a:pt x="99364" y="209550"/>
                </a:lnTo>
                <a:lnTo>
                  <a:pt x="99364" y="203441"/>
                </a:lnTo>
                <a:lnTo>
                  <a:pt x="97701" y="205740"/>
                </a:lnTo>
                <a:lnTo>
                  <a:pt x="97409" y="206806"/>
                </a:lnTo>
                <a:lnTo>
                  <a:pt x="97701" y="204558"/>
                </a:lnTo>
                <a:lnTo>
                  <a:pt x="97370" y="204533"/>
                </a:lnTo>
                <a:lnTo>
                  <a:pt x="97320" y="205460"/>
                </a:lnTo>
                <a:lnTo>
                  <a:pt x="97256" y="207683"/>
                </a:lnTo>
                <a:lnTo>
                  <a:pt x="97294" y="205651"/>
                </a:lnTo>
                <a:lnTo>
                  <a:pt x="97320" y="205460"/>
                </a:lnTo>
                <a:lnTo>
                  <a:pt x="97320" y="204546"/>
                </a:lnTo>
                <a:lnTo>
                  <a:pt x="97040" y="204558"/>
                </a:lnTo>
                <a:lnTo>
                  <a:pt x="96697" y="204622"/>
                </a:lnTo>
                <a:lnTo>
                  <a:pt x="96621" y="205803"/>
                </a:lnTo>
                <a:lnTo>
                  <a:pt x="93675" y="208280"/>
                </a:lnTo>
                <a:lnTo>
                  <a:pt x="85432" y="201930"/>
                </a:lnTo>
                <a:lnTo>
                  <a:pt x="87071" y="213360"/>
                </a:lnTo>
                <a:lnTo>
                  <a:pt x="83426" y="207010"/>
                </a:lnTo>
                <a:lnTo>
                  <a:pt x="80848" y="208280"/>
                </a:lnTo>
                <a:lnTo>
                  <a:pt x="78727" y="214630"/>
                </a:lnTo>
                <a:lnTo>
                  <a:pt x="66116" y="214630"/>
                </a:lnTo>
                <a:lnTo>
                  <a:pt x="59715" y="222250"/>
                </a:lnTo>
                <a:lnTo>
                  <a:pt x="57797" y="222250"/>
                </a:lnTo>
                <a:lnTo>
                  <a:pt x="49377" y="219710"/>
                </a:lnTo>
                <a:lnTo>
                  <a:pt x="44665" y="226060"/>
                </a:lnTo>
                <a:lnTo>
                  <a:pt x="38061" y="224790"/>
                </a:lnTo>
                <a:lnTo>
                  <a:pt x="36868" y="227330"/>
                </a:lnTo>
                <a:lnTo>
                  <a:pt x="36347" y="231140"/>
                </a:lnTo>
                <a:lnTo>
                  <a:pt x="34556" y="231140"/>
                </a:lnTo>
                <a:lnTo>
                  <a:pt x="32740" y="229882"/>
                </a:lnTo>
                <a:lnTo>
                  <a:pt x="32740" y="233680"/>
                </a:lnTo>
                <a:lnTo>
                  <a:pt x="30048" y="231140"/>
                </a:lnTo>
                <a:lnTo>
                  <a:pt x="28803" y="231140"/>
                </a:lnTo>
                <a:lnTo>
                  <a:pt x="30670" y="228600"/>
                </a:lnTo>
                <a:lnTo>
                  <a:pt x="31610" y="229870"/>
                </a:lnTo>
                <a:lnTo>
                  <a:pt x="32639" y="229870"/>
                </a:lnTo>
                <a:lnTo>
                  <a:pt x="32740" y="233680"/>
                </a:lnTo>
                <a:lnTo>
                  <a:pt x="32740" y="229882"/>
                </a:lnTo>
                <a:lnTo>
                  <a:pt x="32258" y="228600"/>
                </a:lnTo>
                <a:lnTo>
                  <a:pt x="34848" y="226060"/>
                </a:lnTo>
                <a:lnTo>
                  <a:pt x="28130" y="227330"/>
                </a:lnTo>
                <a:lnTo>
                  <a:pt x="25565" y="227330"/>
                </a:lnTo>
                <a:lnTo>
                  <a:pt x="26631" y="233680"/>
                </a:lnTo>
                <a:lnTo>
                  <a:pt x="24701" y="234950"/>
                </a:lnTo>
                <a:lnTo>
                  <a:pt x="23876" y="235432"/>
                </a:lnTo>
                <a:lnTo>
                  <a:pt x="143306" y="235432"/>
                </a:lnTo>
                <a:lnTo>
                  <a:pt x="142570" y="236220"/>
                </a:lnTo>
                <a:lnTo>
                  <a:pt x="83553" y="236220"/>
                </a:lnTo>
                <a:lnTo>
                  <a:pt x="83553" y="284480"/>
                </a:lnTo>
                <a:lnTo>
                  <a:pt x="83121" y="284695"/>
                </a:lnTo>
                <a:lnTo>
                  <a:pt x="83540" y="284480"/>
                </a:lnTo>
                <a:lnTo>
                  <a:pt x="83553" y="236220"/>
                </a:lnTo>
                <a:lnTo>
                  <a:pt x="22542" y="236220"/>
                </a:lnTo>
                <a:lnTo>
                  <a:pt x="21361" y="236220"/>
                </a:lnTo>
                <a:lnTo>
                  <a:pt x="14719" y="237490"/>
                </a:lnTo>
                <a:lnTo>
                  <a:pt x="16014" y="241300"/>
                </a:lnTo>
                <a:lnTo>
                  <a:pt x="16738" y="243840"/>
                </a:lnTo>
                <a:lnTo>
                  <a:pt x="20929" y="240030"/>
                </a:lnTo>
                <a:lnTo>
                  <a:pt x="19316" y="245110"/>
                </a:lnTo>
                <a:lnTo>
                  <a:pt x="17399" y="243840"/>
                </a:lnTo>
                <a:lnTo>
                  <a:pt x="16738" y="243840"/>
                </a:lnTo>
                <a:lnTo>
                  <a:pt x="16141" y="243840"/>
                </a:lnTo>
                <a:lnTo>
                  <a:pt x="12407" y="245110"/>
                </a:lnTo>
                <a:lnTo>
                  <a:pt x="6438" y="245110"/>
                </a:lnTo>
                <a:lnTo>
                  <a:pt x="10693" y="252730"/>
                </a:lnTo>
                <a:lnTo>
                  <a:pt x="9664" y="254000"/>
                </a:lnTo>
                <a:lnTo>
                  <a:pt x="2844" y="251460"/>
                </a:lnTo>
                <a:lnTo>
                  <a:pt x="4686" y="257810"/>
                </a:lnTo>
                <a:lnTo>
                  <a:pt x="1651" y="261620"/>
                </a:lnTo>
                <a:lnTo>
                  <a:pt x="0" y="266700"/>
                </a:lnTo>
                <a:lnTo>
                  <a:pt x="8166" y="270510"/>
                </a:lnTo>
                <a:lnTo>
                  <a:pt x="8940" y="278130"/>
                </a:lnTo>
                <a:lnTo>
                  <a:pt x="16179" y="276860"/>
                </a:lnTo>
                <a:lnTo>
                  <a:pt x="16992" y="276860"/>
                </a:lnTo>
                <a:lnTo>
                  <a:pt x="18173" y="284480"/>
                </a:lnTo>
                <a:lnTo>
                  <a:pt x="21031" y="280670"/>
                </a:lnTo>
                <a:lnTo>
                  <a:pt x="26289" y="276860"/>
                </a:lnTo>
                <a:lnTo>
                  <a:pt x="28041" y="275590"/>
                </a:lnTo>
                <a:lnTo>
                  <a:pt x="30746" y="276860"/>
                </a:lnTo>
                <a:lnTo>
                  <a:pt x="32981" y="284480"/>
                </a:lnTo>
                <a:lnTo>
                  <a:pt x="34518" y="283210"/>
                </a:lnTo>
                <a:lnTo>
                  <a:pt x="42392" y="285750"/>
                </a:lnTo>
                <a:lnTo>
                  <a:pt x="43522" y="283210"/>
                </a:lnTo>
                <a:lnTo>
                  <a:pt x="45808" y="278130"/>
                </a:lnTo>
                <a:lnTo>
                  <a:pt x="51943" y="279400"/>
                </a:lnTo>
                <a:lnTo>
                  <a:pt x="52755" y="278130"/>
                </a:lnTo>
                <a:lnTo>
                  <a:pt x="54368" y="275590"/>
                </a:lnTo>
                <a:lnTo>
                  <a:pt x="55994" y="273050"/>
                </a:lnTo>
                <a:lnTo>
                  <a:pt x="58000" y="279400"/>
                </a:lnTo>
                <a:lnTo>
                  <a:pt x="59931" y="281940"/>
                </a:lnTo>
                <a:lnTo>
                  <a:pt x="62674" y="280670"/>
                </a:lnTo>
                <a:lnTo>
                  <a:pt x="61150" y="276860"/>
                </a:lnTo>
                <a:lnTo>
                  <a:pt x="66001" y="279400"/>
                </a:lnTo>
                <a:lnTo>
                  <a:pt x="68884" y="280670"/>
                </a:lnTo>
                <a:lnTo>
                  <a:pt x="73190" y="287020"/>
                </a:lnTo>
                <a:lnTo>
                  <a:pt x="77622" y="289560"/>
                </a:lnTo>
                <a:lnTo>
                  <a:pt x="82600" y="287020"/>
                </a:lnTo>
                <a:lnTo>
                  <a:pt x="80060" y="287020"/>
                </a:lnTo>
                <a:lnTo>
                  <a:pt x="80124" y="286854"/>
                </a:lnTo>
                <a:lnTo>
                  <a:pt x="81711" y="286562"/>
                </a:lnTo>
                <a:lnTo>
                  <a:pt x="82588" y="286880"/>
                </a:lnTo>
                <a:lnTo>
                  <a:pt x="84048" y="284480"/>
                </a:lnTo>
                <a:lnTo>
                  <a:pt x="84251" y="284480"/>
                </a:lnTo>
                <a:lnTo>
                  <a:pt x="86233" y="283210"/>
                </a:lnTo>
                <a:lnTo>
                  <a:pt x="86245" y="284480"/>
                </a:lnTo>
                <a:lnTo>
                  <a:pt x="89712" y="289560"/>
                </a:lnTo>
                <a:lnTo>
                  <a:pt x="90893" y="297180"/>
                </a:lnTo>
                <a:lnTo>
                  <a:pt x="99606" y="292100"/>
                </a:lnTo>
                <a:lnTo>
                  <a:pt x="99364" y="293370"/>
                </a:lnTo>
                <a:lnTo>
                  <a:pt x="101930" y="298450"/>
                </a:lnTo>
                <a:lnTo>
                  <a:pt x="107302" y="298450"/>
                </a:lnTo>
                <a:lnTo>
                  <a:pt x="114630" y="302260"/>
                </a:lnTo>
                <a:lnTo>
                  <a:pt x="119291" y="304800"/>
                </a:lnTo>
                <a:lnTo>
                  <a:pt x="125514" y="300990"/>
                </a:lnTo>
                <a:lnTo>
                  <a:pt x="125971" y="306070"/>
                </a:lnTo>
                <a:lnTo>
                  <a:pt x="128041" y="309880"/>
                </a:lnTo>
                <a:lnTo>
                  <a:pt x="128447" y="312420"/>
                </a:lnTo>
                <a:lnTo>
                  <a:pt x="130035" y="313690"/>
                </a:lnTo>
                <a:lnTo>
                  <a:pt x="130162" y="313537"/>
                </a:lnTo>
                <a:lnTo>
                  <a:pt x="131914" y="317703"/>
                </a:lnTo>
                <a:lnTo>
                  <a:pt x="138328" y="317487"/>
                </a:lnTo>
                <a:lnTo>
                  <a:pt x="140601" y="325729"/>
                </a:lnTo>
                <a:lnTo>
                  <a:pt x="142887" y="327710"/>
                </a:lnTo>
                <a:lnTo>
                  <a:pt x="145592" y="329552"/>
                </a:lnTo>
                <a:lnTo>
                  <a:pt x="150710" y="334251"/>
                </a:lnTo>
                <a:lnTo>
                  <a:pt x="155130" y="339712"/>
                </a:lnTo>
                <a:lnTo>
                  <a:pt x="159880" y="344906"/>
                </a:lnTo>
                <a:lnTo>
                  <a:pt x="165849" y="348703"/>
                </a:lnTo>
                <a:lnTo>
                  <a:pt x="166154" y="348818"/>
                </a:lnTo>
                <a:lnTo>
                  <a:pt x="166128" y="350608"/>
                </a:lnTo>
                <a:lnTo>
                  <a:pt x="167868" y="358787"/>
                </a:lnTo>
                <a:lnTo>
                  <a:pt x="171589" y="365696"/>
                </a:lnTo>
                <a:lnTo>
                  <a:pt x="176796" y="371640"/>
                </a:lnTo>
                <a:lnTo>
                  <a:pt x="182994" y="376961"/>
                </a:lnTo>
                <a:lnTo>
                  <a:pt x="181749" y="382803"/>
                </a:lnTo>
                <a:lnTo>
                  <a:pt x="184467" y="382765"/>
                </a:lnTo>
                <a:lnTo>
                  <a:pt x="181749" y="382816"/>
                </a:lnTo>
                <a:lnTo>
                  <a:pt x="183324" y="385445"/>
                </a:lnTo>
                <a:lnTo>
                  <a:pt x="184721" y="388073"/>
                </a:lnTo>
                <a:lnTo>
                  <a:pt x="191122" y="386143"/>
                </a:lnTo>
                <a:lnTo>
                  <a:pt x="193344" y="388404"/>
                </a:lnTo>
                <a:lnTo>
                  <a:pt x="193497" y="392303"/>
                </a:lnTo>
                <a:lnTo>
                  <a:pt x="191350" y="392430"/>
                </a:lnTo>
                <a:lnTo>
                  <a:pt x="188823" y="391223"/>
                </a:lnTo>
                <a:lnTo>
                  <a:pt x="187020" y="392303"/>
                </a:lnTo>
                <a:lnTo>
                  <a:pt x="186918" y="392430"/>
                </a:lnTo>
                <a:lnTo>
                  <a:pt x="191439" y="397497"/>
                </a:lnTo>
                <a:lnTo>
                  <a:pt x="189534" y="404342"/>
                </a:lnTo>
                <a:lnTo>
                  <a:pt x="196977" y="406869"/>
                </a:lnTo>
                <a:lnTo>
                  <a:pt x="197485" y="409613"/>
                </a:lnTo>
                <a:lnTo>
                  <a:pt x="199085" y="416890"/>
                </a:lnTo>
                <a:lnTo>
                  <a:pt x="197180" y="423811"/>
                </a:lnTo>
                <a:lnTo>
                  <a:pt x="205549" y="426542"/>
                </a:lnTo>
                <a:lnTo>
                  <a:pt x="206349" y="428421"/>
                </a:lnTo>
                <a:lnTo>
                  <a:pt x="202463" y="432460"/>
                </a:lnTo>
                <a:lnTo>
                  <a:pt x="206921" y="437159"/>
                </a:lnTo>
                <a:lnTo>
                  <a:pt x="202679" y="444614"/>
                </a:lnTo>
                <a:lnTo>
                  <a:pt x="204533" y="449186"/>
                </a:lnTo>
                <a:lnTo>
                  <a:pt x="200863" y="455079"/>
                </a:lnTo>
                <a:lnTo>
                  <a:pt x="206933" y="454482"/>
                </a:lnTo>
                <a:lnTo>
                  <a:pt x="200660" y="463296"/>
                </a:lnTo>
                <a:lnTo>
                  <a:pt x="202438" y="468337"/>
                </a:lnTo>
                <a:lnTo>
                  <a:pt x="206743" y="478040"/>
                </a:lnTo>
                <a:lnTo>
                  <a:pt x="213842" y="480301"/>
                </a:lnTo>
                <a:lnTo>
                  <a:pt x="209842" y="487438"/>
                </a:lnTo>
                <a:lnTo>
                  <a:pt x="211175" y="489839"/>
                </a:lnTo>
                <a:lnTo>
                  <a:pt x="215519" y="489292"/>
                </a:lnTo>
                <a:lnTo>
                  <a:pt x="216928" y="490258"/>
                </a:lnTo>
                <a:lnTo>
                  <a:pt x="217639" y="492264"/>
                </a:lnTo>
                <a:lnTo>
                  <a:pt x="220865" y="495033"/>
                </a:lnTo>
                <a:lnTo>
                  <a:pt x="218440" y="496430"/>
                </a:lnTo>
                <a:lnTo>
                  <a:pt x="216408" y="497916"/>
                </a:lnTo>
                <a:lnTo>
                  <a:pt x="219138" y="503872"/>
                </a:lnTo>
                <a:lnTo>
                  <a:pt x="223354" y="507695"/>
                </a:lnTo>
                <a:lnTo>
                  <a:pt x="231927" y="506514"/>
                </a:lnTo>
                <a:lnTo>
                  <a:pt x="233133" y="506463"/>
                </a:lnTo>
                <a:lnTo>
                  <a:pt x="237871" y="513918"/>
                </a:lnTo>
                <a:lnTo>
                  <a:pt x="241427" y="511479"/>
                </a:lnTo>
                <a:lnTo>
                  <a:pt x="244970" y="507314"/>
                </a:lnTo>
                <a:lnTo>
                  <a:pt x="245186" y="506463"/>
                </a:lnTo>
                <a:lnTo>
                  <a:pt x="245427" y="505523"/>
                </a:lnTo>
                <a:lnTo>
                  <a:pt x="235851" y="504101"/>
                </a:lnTo>
                <a:lnTo>
                  <a:pt x="245325" y="501853"/>
                </a:lnTo>
                <a:lnTo>
                  <a:pt x="246456" y="501865"/>
                </a:lnTo>
                <a:lnTo>
                  <a:pt x="245643" y="500418"/>
                </a:lnTo>
                <a:lnTo>
                  <a:pt x="243306" y="496277"/>
                </a:lnTo>
                <a:lnTo>
                  <a:pt x="243039" y="495795"/>
                </a:lnTo>
                <a:lnTo>
                  <a:pt x="243840" y="494614"/>
                </a:lnTo>
                <a:lnTo>
                  <a:pt x="246557" y="490613"/>
                </a:lnTo>
                <a:lnTo>
                  <a:pt x="246303" y="489292"/>
                </a:lnTo>
                <a:lnTo>
                  <a:pt x="244055" y="477570"/>
                </a:lnTo>
                <a:lnTo>
                  <a:pt x="241604" y="469709"/>
                </a:lnTo>
                <a:lnTo>
                  <a:pt x="245910" y="459879"/>
                </a:lnTo>
                <a:lnTo>
                  <a:pt x="245402" y="457250"/>
                </a:lnTo>
                <a:lnTo>
                  <a:pt x="244513" y="454482"/>
                </a:lnTo>
                <a:lnTo>
                  <a:pt x="243586" y="451573"/>
                </a:lnTo>
                <a:lnTo>
                  <a:pt x="238747" y="448741"/>
                </a:lnTo>
                <a:lnTo>
                  <a:pt x="243319" y="443204"/>
                </a:lnTo>
                <a:lnTo>
                  <a:pt x="242176" y="442480"/>
                </a:lnTo>
                <a:lnTo>
                  <a:pt x="238099" y="440563"/>
                </a:lnTo>
                <a:lnTo>
                  <a:pt x="236461" y="439077"/>
                </a:lnTo>
                <a:lnTo>
                  <a:pt x="242824" y="434784"/>
                </a:lnTo>
                <a:lnTo>
                  <a:pt x="244424" y="427913"/>
                </a:lnTo>
                <a:lnTo>
                  <a:pt x="236410" y="426847"/>
                </a:lnTo>
                <a:lnTo>
                  <a:pt x="241820" y="423608"/>
                </a:lnTo>
                <a:lnTo>
                  <a:pt x="240677" y="422122"/>
                </a:lnTo>
                <a:lnTo>
                  <a:pt x="242481" y="421030"/>
                </a:lnTo>
                <a:lnTo>
                  <a:pt x="242417" y="419950"/>
                </a:lnTo>
                <a:lnTo>
                  <a:pt x="240271" y="412889"/>
                </a:lnTo>
                <a:lnTo>
                  <a:pt x="246519" y="406869"/>
                </a:lnTo>
                <a:lnTo>
                  <a:pt x="239801" y="402399"/>
                </a:lnTo>
                <a:lnTo>
                  <a:pt x="240576" y="401434"/>
                </a:lnTo>
                <a:lnTo>
                  <a:pt x="243319" y="394004"/>
                </a:lnTo>
                <a:lnTo>
                  <a:pt x="244017" y="392430"/>
                </a:lnTo>
                <a:lnTo>
                  <a:pt x="246316" y="387299"/>
                </a:lnTo>
                <a:lnTo>
                  <a:pt x="246189" y="386143"/>
                </a:lnTo>
                <a:lnTo>
                  <a:pt x="245592" y="380568"/>
                </a:lnTo>
                <a:lnTo>
                  <a:pt x="245503" y="379730"/>
                </a:lnTo>
                <a:lnTo>
                  <a:pt x="251167" y="378460"/>
                </a:lnTo>
                <a:lnTo>
                  <a:pt x="251167" y="372110"/>
                </a:lnTo>
                <a:lnTo>
                  <a:pt x="259334" y="365760"/>
                </a:lnTo>
                <a:lnTo>
                  <a:pt x="262559" y="359410"/>
                </a:lnTo>
                <a:lnTo>
                  <a:pt x="263702" y="351790"/>
                </a:lnTo>
                <a:lnTo>
                  <a:pt x="263893" y="350520"/>
                </a:lnTo>
                <a:lnTo>
                  <a:pt x="264617" y="350520"/>
                </a:lnTo>
                <a:lnTo>
                  <a:pt x="265988" y="349250"/>
                </a:lnTo>
                <a:lnTo>
                  <a:pt x="274129" y="342900"/>
                </a:lnTo>
                <a:lnTo>
                  <a:pt x="282371" y="336550"/>
                </a:lnTo>
                <a:lnTo>
                  <a:pt x="289687" y="330200"/>
                </a:lnTo>
                <a:lnTo>
                  <a:pt x="290449" y="328930"/>
                </a:lnTo>
                <a:lnTo>
                  <a:pt x="295008" y="321310"/>
                </a:lnTo>
                <a:lnTo>
                  <a:pt x="295643" y="320040"/>
                </a:lnTo>
                <a:lnTo>
                  <a:pt x="297434" y="316230"/>
                </a:lnTo>
                <a:lnTo>
                  <a:pt x="303618" y="318770"/>
                </a:lnTo>
                <a:lnTo>
                  <a:pt x="305244" y="317500"/>
                </a:lnTo>
                <a:lnTo>
                  <a:pt x="306133" y="316230"/>
                </a:lnTo>
                <a:lnTo>
                  <a:pt x="310642" y="309880"/>
                </a:lnTo>
                <a:lnTo>
                  <a:pt x="314604" y="304800"/>
                </a:lnTo>
                <a:lnTo>
                  <a:pt x="325069" y="304800"/>
                </a:lnTo>
                <a:lnTo>
                  <a:pt x="324878" y="298450"/>
                </a:lnTo>
                <a:lnTo>
                  <a:pt x="329742" y="298450"/>
                </a:lnTo>
                <a:lnTo>
                  <a:pt x="332117" y="293370"/>
                </a:lnTo>
                <a:lnTo>
                  <a:pt x="333844" y="290830"/>
                </a:lnTo>
                <a:lnTo>
                  <a:pt x="342188" y="294640"/>
                </a:lnTo>
                <a:lnTo>
                  <a:pt x="343128" y="290830"/>
                </a:lnTo>
                <a:lnTo>
                  <a:pt x="343763" y="288290"/>
                </a:lnTo>
                <a:lnTo>
                  <a:pt x="338086" y="284480"/>
                </a:lnTo>
                <a:lnTo>
                  <a:pt x="341782" y="284480"/>
                </a:lnTo>
                <a:lnTo>
                  <a:pt x="344627" y="281940"/>
                </a:lnTo>
                <a:lnTo>
                  <a:pt x="346595" y="281940"/>
                </a:lnTo>
                <a:lnTo>
                  <a:pt x="348475" y="280670"/>
                </a:lnTo>
                <a:lnTo>
                  <a:pt x="348640" y="279946"/>
                </a:lnTo>
                <a:lnTo>
                  <a:pt x="349110" y="281736"/>
                </a:lnTo>
                <a:lnTo>
                  <a:pt x="345376" y="284200"/>
                </a:lnTo>
                <a:lnTo>
                  <a:pt x="350418" y="286194"/>
                </a:lnTo>
                <a:lnTo>
                  <a:pt x="350786" y="282829"/>
                </a:lnTo>
                <a:lnTo>
                  <a:pt x="351612" y="281152"/>
                </a:lnTo>
                <a:lnTo>
                  <a:pt x="352031" y="281152"/>
                </a:lnTo>
                <a:lnTo>
                  <a:pt x="352450" y="281139"/>
                </a:lnTo>
                <a:lnTo>
                  <a:pt x="352552" y="279908"/>
                </a:lnTo>
                <a:lnTo>
                  <a:pt x="352856" y="279196"/>
                </a:lnTo>
                <a:lnTo>
                  <a:pt x="353326" y="279400"/>
                </a:lnTo>
                <a:lnTo>
                  <a:pt x="352552" y="280670"/>
                </a:lnTo>
                <a:lnTo>
                  <a:pt x="352437" y="281940"/>
                </a:lnTo>
                <a:lnTo>
                  <a:pt x="357479" y="284480"/>
                </a:lnTo>
                <a:lnTo>
                  <a:pt x="354749" y="278130"/>
                </a:lnTo>
                <a:lnTo>
                  <a:pt x="354215" y="276860"/>
                </a:lnTo>
                <a:lnTo>
                  <a:pt x="357759" y="278130"/>
                </a:lnTo>
                <a:lnTo>
                  <a:pt x="360006" y="283210"/>
                </a:lnTo>
                <a:lnTo>
                  <a:pt x="365391" y="278130"/>
                </a:lnTo>
                <a:lnTo>
                  <a:pt x="371817" y="281940"/>
                </a:lnTo>
                <a:lnTo>
                  <a:pt x="384848" y="278130"/>
                </a:lnTo>
                <a:lnTo>
                  <a:pt x="392290" y="276860"/>
                </a:lnTo>
                <a:lnTo>
                  <a:pt x="399288" y="281940"/>
                </a:lnTo>
                <a:lnTo>
                  <a:pt x="401561" y="279400"/>
                </a:lnTo>
                <a:lnTo>
                  <a:pt x="396252" y="278130"/>
                </a:lnTo>
                <a:lnTo>
                  <a:pt x="397598" y="276860"/>
                </a:lnTo>
                <a:lnTo>
                  <a:pt x="398945" y="275590"/>
                </a:lnTo>
                <a:lnTo>
                  <a:pt x="408051" y="283210"/>
                </a:lnTo>
                <a:lnTo>
                  <a:pt x="411251" y="276860"/>
                </a:lnTo>
                <a:lnTo>
                  <a:pt x="413423" y="276860"/>
                </a:lnTo>
                <a:lnTo>
                  <a:pt x="413143" y="279400"/>
                </a:lnTo>
                <a:lnTo>
                  <a:pt x="419252" y="283210"/>
                </a:lnTo>
                <a:lnTo>
                  <a:pt x="421144" y="278130"/>
                </a:lnTo>
                <a:lnTo>
                  <a:pt x="428840" y="276860"/>
                </a:lnTo>
                <a:lnTo>
                  <a:pt x="432968" y="274320"/>
                </a:lnTo>
                <a:lnTo>
                  <a:pt x="435000" y="271780"/>
                </a:lnTo>
                <a:lnTo>
                  <a:pt x="439051" y="266700"/>
                </a:lnTo>
                <a:lnTo>
                  <a:pt x="439699" y="262890"/>
                </a:lnTo>
                <a:lnTo>
                  <a:pt x="436943" y="256540"/>
                </a:lnTo>
                <a:lnTo>
                  <a:pt x="441236" y="260350"/>
                </a:lnTo>
                <a:lnTo>
                  <a:pt x="442810" y="261620"/>
                </a:lnTo>
                <a:lnTo>
                  <a:pt x="443623" y="256540"/>
                </a:lnTo>
                <a:lnTo>
                  <a:pt x="444030" y="254000"/>
                </a:lnTo>
                <a:lnTo>
                  <a:pt x="444233" y="252730"/>
                </a:lnTo>
                <a:lnTo>
                  <a:pt x="444830" y="250190"/>
                </a:lnTo>
                <a:lnTo>
                  <a:pt x="442912" y="243840"/>
                </a:lnTo>
                <a:lnTo>
                  <a:pt x="440842" y="242633"/>
                </a:lnTo>
                <a:lnTo>
                  <a:pt x="440842" y="248920"/>
                </a:lnTo>
                <a:lnTo>
                  <a:pt x="439051" y="250190"/>
                </a:lnTo>
                <a:lnTo>
                  <a:pt x="437870" y="250190"/>
                </a:lnTo>
                <a:lnTo>
                  <a:pt x="435711" y="248920"/>
                </a:lnTo>
                <a:lnTo>
                  <a:pt x="436943" y="247650"/>
                </a:lnTo>
                <a:lnTo>
                  <a:pt x="435013" y="247650"/>
                </a:lnTo>
                <a:lnTo>
                  <a:pt x="433933" y="248920"/>
                </a:lnTo>
                <a:lnTo>
                  <a:pt x="432130" y="246380"/>
                </a:lnTo>
                <a:lnTo>
                  <a:pt x="433133" y="245110"/>
                </a:lnTo>
                <a:lnTo>
                  <a:pt x="434682" y="242570"/>
                </a:lnTo>
                <a:lnTo>
                  <a:pt x="434936" y="245110"/>
                </a:lnTo>
                <a:lnTo>
                  <a:pt x="435889" y="245110"/>
                </a:lnTo>
                <a:lnTo>
                  <a:pt x="436143" y="243840"/>
                </a:lnTo>
                <a:lnTo>
                  <a:pt x="436257" y="242570"/>
                </a:lnTo>
                <a:lnTo>
                  <a:pt x="440055" y="243840"/>
                </a:lnTo>
                <a:lnTo>
                  <a:pt x="438226" y="245110"/>
                </a:lnTo>
                <a:lnTo>
                  <a:pt x="438632" y="247650"/>
                </a:lnTo>
                <a:lnTo>
                  <a:pt x="439000" y="247650"/>
                </a:lnTo>
                <a:lnTo>
                  <a:pt x="440842" y="248920"/>
                </a:lnTo>
                <a:lnTo>
                  <a:pt x="440842" y="242633"/>
                </a:lnTo>
                <a:lnTo>
                  <a:pt x="442874" y="240030"/>
                </a:lnTo>
                <a:lnTo>
                  <a:pt x="445731" y="238760"/>
                </a:lnTo>
                <a:close/>
              </a:path>
            </a:pathLst>
          </a:custGeom>
          <a:solidFill>
            <a:srgbClr val="85D243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6" name="Picture 5" descr="Logo, company name&#10;&#10;Description automatically generated">
            <a:extLst>
              <a:ext uri="{FF2B5EF4-FFF2-40B4-BE49-F238E27FC236}">
                <a16:creationId xmlns:a16="http://schemas.microsoft.com/office/drawing/2014/main" id="{DF141121-BCCF-1F02-66C2-6404E265E893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1196" t="17928" r="20543" b="18722"/>
          <a:stretch/>
        </p:blipFill>
        <p:spPr>
          <a:xfrm>
            <a:off x="596900" y="287973"/>
            <a:ext cx="1709815" cy="116866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F9F08B8-28E2-A4CD-ECD7-CC31F8B2C22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D911606-79C9-DC68-D69A-1C1052ECEEC2}"/>
              </a:ext>
            </a:extLst>
          </p:cNvPr>
          <p:cNvSpPr txBox="1"/>
          <p:nvPr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bg1"/>
                </a:solidFill>
                <a:ea typeface="+mj-ea"/>
                <a:cs typeface="+mj-cs"/>
              </a:rPr>
              <a:pPr algn="r"/>
              <a:t>1</a:t>
            </a:fld>
            <a:endParaRPr lang="en-US" sz="700" spc="300">
              <a:solidFill>
                <a:schemeClr val="bg1"/>
              </a:solidFill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230726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1120B907-E21E-A08B-BF22-1E0D926137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120B907-E21E-A08B-BF22-1E0D926137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4C188E51-E524-E8E8-A993-26ADCA678072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11D8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3" name="Freeform: Shape 112">
            <a:extLst>
              <a:ext uri="{FF2B5EF4-FFF2-40B4-BE49-F238E27FC236}">
                <a16:creationId xmlns:a16="http://schemas.microsoft.com/office/drawing/2014/main" id="{B6C52B2A-5C44-B3FD-E4F3-DB8621D2316C}"/>
              </a:ext>
            </a:extLst>
          </p:cNvPr>
          <p:cNvSpPr>
            <a:spLocks noChangeAspect="1"/>
          </p:cNvSpPr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3065588 h 6858000"/>
              <a:gd name="connsiteX3" fmla="*/ 12166943 w 12192000"/>
              <a:gd name="connsiteY3" fmla="*/ 3121012 h 6858000"/>
              <a:gd name="connsiteX4" fmla="*/ 7453357 w 12192000"/>
              <a:gd name="connsiteY4" fmla="*/ 6799333 h 6858000"/>
              <a:gd name="connsiteX5" fmla="*/ 7124839 w 12192000"/>
              <a:gd name="connsiteY5" fmla="*/ 6858000 h 6858000"/>
              <a:gd name="connsiteX6" fmla="*/ 5067162 w 12192000"/>
              <a:gd name="connsiteY6" fmla="*/ 6858000 h 6858000"/>
              <a:gd name="connsiteX7" fmla="*/ 4738644 w 12192000"/>
              <a:gd name="connsiteY7" fmla="*/ 6799333 h 6858000"/>
              <a:gd name="connsiteX8" fmla="*/ 25057 w 12192000"/>
              <a:gd name="connsiteY8" fmla="*/ 3121012 h 6858000"/>
              <a:gd name="connsiteX9" fmla="*/ 0 w 12192000"/>
              <a:gd name="connsiteY9" fmla="*/ 306558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3065588"/>
                </a:lnTo>
                <a:lnTo>
                  <a:pt x="12166943" y="3121012"/>
                </a:lnTo>
                <a:cubicBezTo>
                  <a:pt x="11268390" y="4985813"/>
                  <a:pt x="9535940" y="6373175"/>
                  <a:pt x="7453357" y="6799333"/>
                </a:cubicBezTo>
                <a:lnTo>
                  <a:pt x="7124839" y="6858000"/>
                </a:lnTo>
                <a:lnTo>
                  <a:pt x="5067162" y="6858000"/>
                </a:lnTo>
                <a:lnTo>
                  <a:pt x="4738644" y="6799333"/>
                </a:lnTo>
                <a:cubicBezTo>
                  <a:pt x="2656060" y="6373175"/>
                  <a:pt x="923610" y="4985813"/>
                  <a:pt x="25057" y="3121012"/>
                </a:cubicBezTo>
                <a:lnTo>
                  <a:pt x="0" y="3065588"/>
                </a:lnTo>
                <a:close/>
              </a:path>
            </a:pathLst>
          </a:custGeom>
          <a:solidFill>
            <a:schemeClr val="tx1">
              <a:alpha val="18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392" name="Graphic 391">
            <a:extLst>
              <a:ext uri="{FF2B5EF4-FFF2-40B4-BE49-F238E27FC236}">
                <a16:creationId xmlns:a16="http://schemas.microsoft.com/office/drawing/2014/main" id="{786796F0-C89F-20E6-09D9-2ADA3F09F844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10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551" t="12250" r="10206" b="48550"/>
          <a:stretch/>
        </p:blipFill>
        <p:spPr>
          <a:xfrm rot="10800000">
            <a:off x="1017357" y="146417"/>
            <a:ext cx="11417868" cy="5250642"/>
          </a:xfrm>
          <a:custGeom>
            <a:avLst/>
            <a:gdLst>
              <a:gd name="connsiteX0" fmla="*/ 11417868 w 11417868"/>
              <a:gd name="connsiteY0" fmla="*/ 5250642 h 5250642"/>
              <a:gd name="connsiteX1" fmla="*/ 0 w 11417868"/>
              <a:gd name="connsiteY1" fmla="*/ 5250642 h 5250642"/>
              <a:gd name="connsiteX2" fmla="*/ 0 w 11417868"/>
              <a:gd name="connsiteY2" fmla="*/ 0 h 5250642"/>
              <a:gd name="connsiteX3" fmla="*/ 11417868 w 11417868"/>
              <a:gd name="connsiteY3" fmla="*/ 0 h 5250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417868" h="5250642">
                <a:moveTo>
                  <a:pt x="11417868" y="5250642"/>
                </a:moveTo>
                <a:lnTo>
                  <a:pt x="0" y="5250642"/>
                </a:lnTo>
                <a:lnTo>
                  <a:pt x="0" y="0"/>
                </a:lnTo>
                <a:lnTo>
                  <a:pt x="11417868" y="0"/>
                </a:lnTo>
                <a:close/>
              </a:path>
            </a:pathLst>
          </a:custGeom>
        </p:spPr>
      </p:pic>
      <p:sp>
        <p:nvSpPr>
          <p:cNvPr id="137" name="Freeform: Shape 136">
            <a:extLst>
              <a:ext uri="{FF2B5EF4-FFF2-40B4-BE49-F238E27FC236}">
                <a16:creationId xmlns:a16="http://schemas.microsoft.com/office/drawing/2014/main" id="{10CA9F7A-DAE1-4D1D-00E8-B9C0BDADEC7E}"/>
              </a:ext>
            </a:extLst>
          </p:cNvPr>
          <p:cNvSpPr>
            <a:spLocks/>
          </p:cNvSpPr>
          <p:nvPr/>
        </p:nvSpPr>
        <p:spPr>
          <a:xfrm>
            <a:off x="2296325" y="0"/>
            <a:ext cx="7599350" cy="4000744"/>
          </a:xfrm>
          <a:custGeom>
            <a:avLst/>
            <a:gdLst>
              <a:gd name="connsiteX0" fmla="*/ 5365 w 7599350"/>
              <a:gd name="connsiteY0" fmla="*/ 0 h 4000744"/>
              <a:gd name="connsiteX1" fmla="*/ 7593985 w 7599350"/>
              <a:gd name="connsiteY1" fmla="*/ 0 h 4000744"/>
              <a:gd name="connsiteX2" fmla="*/ 7594406 w 7599350"/>
              <a:gd name="connsiteY2" fmla="*/ 5538 h 4000744"/>
              <a:gd name="connsiteX3" fmla="*/ 7599350 w 7599350"/>
              <a:gd name="connsiteY3" fmla="*/ 201069 h 4000744"/>
              <a:gd name="connsiteX4" fmla="*/ 3799675 w 7599350"/>
              <a:gd name="connsiteY4" fmla="*/ 4000744 h 4000744"/>
              <a:gd name="connsiteX5" fmla="*/ 0 w 7599350"/>
              <a:gd name="connsiteY5" fmla="*/ 201069 h 4000744"/>
              <a:gd name="connsiteX6" fmla="*/ 4944 w 7599350"/>
              <a:gd name="connsiteY6" fmla="*/ 5538 h 4000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599350" h="4000744">
                <a:moveTo>
                  <a:pt x="5365" y="0"/>
                </a:moveTo>
                <a:lnTo>
                  <a:pt x="7593985" y="0"/>
                </a:lnTo>
                <a:lnTo>
                  <a:pt x="7594406" y="5538"/>
                </a:lnTo>
                <a:cubicBezTo>
                  <a:pt x="7597689" y="70301"/>
                  <a:pt x="7599350" y="135491"/>
                  <a:pt x="7599350" y="201069"/>
                </a:cubicBezTo>
                <a:cubicBezTo>
                  <a:pt x="7599350" y="2299572"/>
                  <a:pt x="5898178" y="4000744"/>
                  <a:pt x="3799675" y="4000744"/>
                </a:cubicBezTo>
                <a:cubicBezTo>
                  <a:pt x="1701172" y="4000744"/>
                  <a:pt x="0" y="2299572"/>
                  <a:pt x="0" y="201069"/>
                </a:cubicBezTo>
                <a:cubicBezTo>
                  <a:pt x="0" y="135491"/>
                  <a:pt x="1662" y="70301"/>
                  <a:pt x="4944" y="5538"/>
                </a:cubicBezTo>
                <a:close/>
              </a:path>
            </a:pathLst>
          </a:cu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000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74FC8F05-20CF-C584-71DF-34C04DB26681}"/>
              </a:ext>
            </a:extLst>
          </p:cNvPr>
          <p:cNvSpPr>
            <a:spLocks/>
          </p:cNvSpPr>
          <p:nvPr/>
        </p:nvSpPr>
        <p:spPr>
          <a:xfrm>
            <a:off x="177800" y="6086901"/>
            <a:ext cx="11819592" cy="771098"/>
          </a:xfrm>
          <a:custGeom>
            <a:avLst/>
            <a:gdLst>
              <a:gd name="connsiteX0" fmla="*/ 990833 w 11549483"/>
              <a:gd name="connsiteY0" fmla="*/ 0 h 1016000"/>
              <a:gd name="connsiteX1" fmla="*/ 10558650 w 11549483"/>
              <a:gd name="connsiteY1" fmla="*/ 0 h 1016000"/>
              <a:gd name="connsiteX2" fmla="*/ 11549483 w 11549483"/>
              <a:gd name="connsiteY2" fmla="*/ 990833 h 1016000"/>
              <a:gd name="connsiteX3" fmla="*/ 11549483 w 11549483"/>
              <a:gd name="connsiteY3" fmla="*/ 1016000 h 1016000"/>
              <a:gd name="connsiteX4" fmla="*/ 0 w 11549483"/>
              <a:gd name="connsiteY4" fmla="*/ 1016000 h 1016000"/>
              <a:gd name="connsiteX5" fmla="*/ 0 w 11549483"/>
              <a:gd name="connsiteY5" fmla="*/ 990833 h 1016000"/>
              <a:gd name="connsiteX6" fmla="*/ 990833 w 11549483"/>
              <a:gd name="connsiteY6" fmla="*/ 0 h 10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549483" h="1016000">
                <a:moveTo>
                  <a:pt x="990833" y="0"/>
                </a:moveTo>
                <a:lnTo>
                  <a:pt x="10558650" y="0"/>
                </a:lnTo>
                <a:cubicBezTo>
                  <a:pt x="11105872" y="0"/>
                  <a:pt x="11549483" y="443611"/>
                  <a:pt x="11549483" y="990833"/>
                </a:cubicBezTo>
                <a:lnTo>
                  <a:pt x="11549483" y="1016000"/>
                </a:lnTo>
                <a:lnTo>
                  <a:pt x="0" y="1016000"/>
                </a:lnTo>
                <a:lnTo>
                  <a:pt x="0" y="990833"/>
                </a:lnTo>
                <a:cubicBezTo>
                  <a:pt x="0" y="443611"/>
                  <a:pt x="443611" y="0"/>
                  <a:pt x="990833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20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F805EEA-1FC2-B44B-E666-1A291BAF09AB}"/>
              </a:ext>
            </a:extLst>
          </p:cNvPr>
          <p:cNvSpPr/>
          <p:nvPr/>
        </p:nvSpPr>
        <p:spPr>
          <a:xfrm>
            <a:off x="5181787" y="5351450"/>
            <a:ext cx="1781176" cy="258775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pep+ </a:t>
            </a:r>
            <a:r>
              <a:rPr kumimoji="0" lang="en-IN" sz="1600" b="1" i="0" u="none" strike="noStrike" kern="1200" cap="none" spc="0" normalizeH="0" baseline="0" noProof="0" err="1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REnew</a:t>
            </a: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 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8EDB43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138" name="Freeform: Shape 137">
            <a:extLst>
              <a:ext uri="{FF2B5EF4-FFF2-40B4-BE49-F238E27FC236}">
                <a16:creationId xmlns:a16="http://schemas.microsoft.com/office/drawing/2014/main" id="{C6DABDAB-E0D7-5095-14CF-4D27007B5048}"/>
              </a:ext>
            </a:extLst>
          </p:cNvPr>
          <p:cNvSpPr/>
          <p:nvPr/>
        </p:nvSpPr>
        <p:spPr>
          <a:xfrm rot="5400000">
            <a:off x="4095628" y="-1799303"/>
            <a:ext cx="4000744" cy="7599351"/>
          </a:xfrm>
          <a:custGeom>
            <a:avLst/>
            <a:gdLst>
              <a:gd name="connsiteX0" fmla="*/ 1 w 4000744"/>
              <a:gd name="connsiteY0" fmla="*/ 4626871 h 7599351"/>
              <a:gd name="connsiteX1" fmla="*/ 1 w 4000744"/>
              <a:gd name="connsiteY1" fmla="*/ 4452423 h 7599351"/>
              <a:gd name="connsiteX2" fmla="*/ 62925 w 4000744"/>
              <a:gd name="connsiteY2" fmla="*/ 4471994 h 7599351"/>
              <a:gd name="connsiteX3" fmla="*/ 201073 w 4000744"/>
              <a:gd name="connsiteY3" fmla="*/ 4485961 h 7599351"/>
              <a:gd name="connsiteX4" fmla="*/ 887356 w 4000744"/>
              <a:gd name="connsiteY4" fmla="*/ 3799677 h 7599351"/>
              <a:gd name="connsiteX5" fmla="*/ 201073 w 4000744"/>
              <a:gd name="connsiteY5" fmla="*/ 3113391 h 7599351"/>
              <a:gd name="connsiteX6" fmla="*/ 62925 w 4000744"/>
              <a:gd name="connsiteY6" fmla="*/ 3127357 h 7599351"/>
              <a:gd name="connsiteX7" fmla="*/ 1 w 4000744"/>
              <a:gd name="connsiteY7" fmla="*/ 3146929 h 7599351"/>
              <a:gd name="connsiteX8" fmla="*/ 1 w 4000744"/>
              <a:gd name="connsiteY8" fmla="*/ 2972480 h 7599351"/>
              <a:gd name="connsiteX9" fmla="*/ 29252 w 4000744"/>
              <a:gd name="connsiteY9" fmla="*/ 2963380 h 7599351"/>
              <a:gd name="connsiteX10" fmla="*/ 201073 w 4000744"/>
              <a:gd name="connsiteY10" fmla="*/ 2946004 h 7599351"/>
              <a:gd name="connsiteX11" fmla="*/ 1054742 w 4000744"/>
              <a:gd name="connsiteY11" fmla="*/ 3799677 h 7599351"/>
              <a:gd name="connsiteX12" fmla="*/ 201073 w 4000744"/>
              <a:gd name="connsiteY12" fmla="*/ 4653347 h 7599351"/>
              <a:gd name="connsiteX13" fmla="*/ 29252 w 4000744"/>
              <a:gd name="connsiteY13" fmla="*/ 4635972 h 7599351"/>
              <a:gd name="connsiteX14" fmla="*/ 1 w 4000744"/>
              <a:gd name="connsiteY14" fmla="*/ 5748133 h 7599351"/>
              <a:gd name="connsiteX15" fmla="*/ 1 w 4000744"/>
              <a:gd name="connsiteY15" fmla="*/ 5579165 h 7599351"/>
              <a:gd name="connsiteX16" fmla="*/ 18177 w 4000744"/>
              <a:gd name="connsiteY16" fmla="*/ 5581947 h 7599351"/>
              <a:gd name="connsiteX17" fmla="*/ 201071 w 4000744"/>
              <a:gd name="connsiteY17" fmla="*/ 5591214 h 7599351"/>
              <a:gd name="connsiteX18" fmla="*/ 1992443 w 4000744"/>
              <a:gd name="connsiteY18" fmla="*/ 3799842 h 7599351"/>
              <a:gd name="connsiteX19" fmla="*/ 201071 w 4000744"/>
              <a:gd name="connsiteY19" fmla="*/ 2008470 h 7599351"/>
              <a:gd name="connsiteX20" fmla="*/ 18177 w 4000744"/>
              <a:gd name="connsiteY20" fmla="*/ 2017736 h 7599351"/>
              <a:gd name="connsiteX21" fmla="*/ 1 w 4000744"/>
              <a:gd name="connsiteY21" fmla="*/ 2020518 h 7599351"/>
              <a:gd name="connsiteX22" fmla="*/ 1 w 4000744"/>
              <a:gd name="connsiteY22" fmla="*/ 1851210 h 7599351"/>
              <a:gd name="connsiteX23" fmla="*/ 1070 w 4000744"/>
              <a:gd name="connsiteY23" fmla="*/ 1851046 h 7599351"/>
              <a:gd name="connsiteX24" fmla="*/ 201071 w 4000744"/>
              <a:gd name="connsiteY24" fmla="*/ 1840915 h 7599351"/>
              <a:gd name="connsiteX25" fmla="*/ 2159830 w 4000744"/>
              <a:gd name="connsiteY25" fmla="*/ 3799675 h 7599351"/>
              <a:gd name="connsiteX26" fmla="*/ 201071 w 4000744"/>
              <a:gd name="connsiteY26" fmla="*/ 5758432 h 7599351"/>
              <a:gd name="connsiteX27" fmla="*/ 1098 w 4000744"/>
              <a:gd name="connsiteY27" fmla="*/ 5748302 h 7599351"/>
              <a:gd name="connsiteX28" fmla="*/ 1 w 4000744"/>
              <a:gd name="connsiteY28" fmla="*/ 6928825 h 7599351"/>
              <a:gd name="connsiteX29" fmla="*/ 1 w 4000744"/>
              <a:gd name="connsiteY29" fmla="*/ 6761269 h 7599351"/>
              <a:gd name="connsiteX30" fmla="*/ 201071 w 4000744"/>
              <a:gd name="connsiteY30" fmla="*/ 6771456 h 7599351"/>
              <a:gd name="connsiteX31" fmla="*/ 3172851 w 4000744"/>
              <a:gd name="connsiteY31" fmla="*/ 3799679 h 7599351"/>
              <a:gd name="connsiteX32" fmla="*/ 201071 w 4000744"/>
              <a:gd name="connsiteY32" fmla="*/ 827896 h 7599351"/>
              <a:gd name="connsiteX33" fmla="*/ 1 w 4000744"/>
              <a:gd name="connsiteY33" fmla="*/ 838083 h 7599351"/>
              <a:gd name="connsiteX34" fmla="*/ 1 w 4000744"/>
              <a:gd name="connsiteY34" fmla="*/ 670865 h 7599351"/>
              <a:gd name="connsiteX35" fmla="*/ 201071 w 4000744"/>
              <a:gd name="connsiteY35" fmla="*/ 660678 h 7599351"/>
              <a:gd name="connsiteX36" fmla="*/ 3340238 w 4000744"/>
              <a:gd name="connsiteY36" fmla="*/ 3799847 h 7599351"/>
              <a:gd name="connsiteX37" fmla="*/ 201071 w 4000744"/>
              <a:gd name="connsiteY37" fmla="*/ 6939011 h 7599351"/>
              <a:gd name="connsiteX38" fmla="*/ 0 w 4000744"/>
              <a:gd name="connsiteY38" fmla="*/ 4928501 h 7599351"/>
              <a:gd name="connsiteX39" fmla="*/ 0 w 4000744"/>
              <a:gd name="connsiteY39" fmla="*/ 4758936 h 7599351"/>
              <a:gd name="connsiteX40" fmla="*/ 3771 w 4000744"/>
              <a:gd name="connsiteY40" fmla="*/ 4760109 h 7599351"/>
              <a:gd name="connsiteX41" fmla="*/ 201070 w 4000744"/>
              <a:gd name="connsiteY41" fmla="*/ 4780059 h 7599351"/>
              <a:gd name="connsiteX42" fmla="*/ 1181285 w 4000744"/>
              <a:gd name="connsiteY42" fmla="*/ 3799844 h 7599351"/>
              <a:gd name="connsiteX43" fmla="*/ 201070 w 4000744"/>
              <a:gd name="connsiteY43" fmla="*/ 2819630 h 7599351"/>
              <a:gd name="connsiteX44" fmla="*/ 3771 w 4000744"/>
              <a:gd name="connsiteY44" fmla="*/ 2839580 h 7599351"/>
              <a:gd name="connsiteX45" fmla="*/ 0 w 4000744"/>
              <a:gd name="connsiteY45" fmla="*/ 2840753 h 7599351"/>
              <a:gd name="connsiteX46" fmla="*/ 0 w 4000744"/>
              <a:gd name="connsiteY46" fmla="*/ 2670845 h 7599351"/>
              <a:gd name="connsiteX47" fmla="*/ 83885 w 4000744"/>
              <a:gd name="connsiteY47" fmla="*/ 2658010 h 7599351"/>
              <a:gd name="connsiteX48" fmla="*/ 201070 w 4000744"/>
              <a:gd name="connsiteY48" fmla="*/ 2652075 h 7599351"/>
              <a:gd name="connsiteX49" fmla="*/ 1348672 w 4000744"/>
              <a:gd name="connsiteY49" fmla="*/ 3799677 h 7599351"/>
              <a:gd name="connsiteX50" fmla="*/ 201070 w 4000744"/>
              <a:gd name="connsiteY50" fmla="*/ 4947278 h 7599351"/>
              <a:gd name="connsiteX51" fmla="*/ 83912 w 4000744"/>
              <a:gd name="connsiteY51" fmla="*/ 4941343 h 7599351"/>
              <a:gd name="connsiteX52" fmla="*/ 0 w 4000744"/>
              <a:gd name="connsiteY52" fmla="*/ 5215188 h 7599351"/>
              <a:gd name="connsiteX53" fmla="*/ 0 w 4000744"/>
              <a:gd name="connsiteY53" fmla="*/ 5046223 h 7599351"/>
              <a:gd name="connsiteX54" fmla="*/ 72015 w 4000744"/>
              <a:gd name="connsiteY54" fmla="*/ 5057243 h 7599351"/>
              <a:gd name="connsiteX55" fmla="*/ 201071 w 4000744"/>
              <a:gd name="connsiteY55" fmla="*/ 5063781 h 7599351"/>
              <a:gd name="connsiteX56" fmla="*/ 1465008 w 4000744"/>
              <a:gd name="connsiteY56" fmla="*/ 3799844 h 7599351"/>
              <a:gd name="connsiteX57" fmla="*/ 201071 w 4000744"/>
              <a:gd name="connsiteY57" fmla="*/ 2535907 h 7599351"/>
              <a:gd name="connsiteX58" fmla="*/ 72043 w 4000744"/>
              <a:gd name="connsiteY58" fmla="*/ 2542444 h 7599351"/>
              <a:gd name="connsiteX59" fmla="*/ 0 w 4000744"/>
              <a:gd name="connsiteY59" fmla="*/ 2553470 h 7599351"/>
              <a:gd name="connsiteX60" fmla="*/ 0 w 4000744"/>
              <a:gd name="connsiteY60" fmla="*/ 2384164 h 7599351"/>
              <a:gd name="connsiteX61" fmla="*/ 54936 w 4000744"/>
              <a:gd name="connsiteY61" fmla="*/ 2375756 h 7599351"/>
              <a:gd name="connsiteX62" fmla="*/ 201071 w 4000744"/>
              <a:gd name="connsiteY62" fmla="*/ 2368352 h 7599351"/>
              <a:gd name="connsiteX63" fmla="*/ 1632395 w 4000744"/>
              <a:gd name="connsiteY63" fmla="*/ 3799676 h 7599351"/>
              <a:gd name="connsiteX64" fmla="*/ 201071 w 4000744"/>
              <a:gd name="connsiteY64" fmla="*/ 5231000 h 7599351"/>
              <a:gd name="connsiteX65" fmla="*/ 54936 w 4000744"/>
              <a:gd name="connsiteY65" fmla="*/ 5223596 h 7599351"/>
              <a:gd name="connsiteX66" fmla="*/ 0 w 4000744"/>
              <a:gd name="connsiteY66" fmla="*/ 5478871 h 7599351"/>
              <a:gd name="connsiteX67" fmla="*/ 0 w 4000744"/>
              <a:gd name="connsiteY67" fmla="*/ 5309567 h 7599351"/>
              <a:gd name="connsiteX68" fmla="*/ 45388 w 4000744"/>
              <a:gd name="connsiteY68" fmla="*/ 5316515 h 7599351"/>
              <a:gd name="connsiteX69" fmla="*/ 201070 w 4000744"/>
              <a:gd name="connsiteY69" fmla="*/ 5324403 h 7599351"/>
              <a:gd name="connsiteX70" fmla="*/ 1725962 w 4000744"/>
              <a:gd name="connsiteY70" fmla="*/ 3799511 h 7599351"/>
              <a:gd name="connsiteX71" fmla="*/ 201070 w 4000744"/>
              <a:gd name="connsiteY71" fmla="*/ 2274619 h 7599351"/>
              <a:gd name="connsiteX72" fmla="*/ 45361 w 4000744"/>
              <a:gd name="connsiteY72" fmla="*/ 2282507 h 7599351"/>
              <a:gd name="connsiteX73" fmla="*/ 0 w 4000744"/>
              <a:gd name="connsiteY73" fmla="*/ 2289450 h 7599351"/>
              <a:gd name="connsiteX74" fmla="*/ 0 w 4000744"/>
              <a:gd name="connsiteY74" fmla="*/ 2120489 h 7599351"/>
              <a:gd name="connsiteX75" fmla="*/ 28310 w 4000744"/>
              <a:gd name="connsiteY75" fmla="*/ 2116155 h 7599351"/>
              <a:gd name="connsiteX76" fmla="*/ 201070 w 4000744"/>
              <a:gd name="connsiteY76" fmla="*/ 2107400 h 7599351"/>
              <a:gd name="connsiteX77" fmla="*/ 1893346 w 4000744"/>
              <a:gd name="connsiteY77" fmla="*/ 3799679 h 7599351"/>
              <a:gd name="connsiteX78" fmla="*/ 201070 w 4000744"/>
              <a:gd name="connsiteY78" fmla="*/ 5491955 h 7599351"/>
              <a:gd name="connsiteX79" fmla="*/ 28282 w 4000744"/>
              <a:gd name="connsiteY79" fmla="*/ 5483200 h 7599351"/>
              <a:gd name="connsiteX80" fmla="*/ 0 w 4000744"/>
              <a:gd name="connsiteY80" fmla="*/ 6021257 h 7599351"/>
              <a:gd name="connsiteX81" fmla="*/ 0 w 4000744"/>
              <a:gd name="connsiteY81" fmla="*/ 5853700 h 7599351"/>
              <a:gd name="connsiteX82" fmla="*/ 201070 w 4000744"/>
              <a:gd name="connsiteY82" fmla="*/ 5863889 h 7599351"/>
              <a:gd name="connsiteX83" fmla="*/ 2265449 w 4000744"/>
              <a:gd name="connsiteY83" fmla="*/ 3799511 h 7599351"/>
              <a:gd name="connsiteX84" fmla="*/ 201070 w 4000744"/>
              <a:gd name="connsiteY84" fmla="*/ 1735130 h 7599351"/>
              <a:gd name="connsiteX85" fmla="*/ 0 w 4000744"/>
              <a:gd name="connsiteY85" fmla="*/ 1745317 h 7599351"/>
              <a:gd name="connsiteX86" fmla="*/ 0 w 4000744"/>
              <a:gd name="connsiteY86" fmla="*/ 1578097 h 7599351"/>
              <a:gd name="connsiteX87" fmla="*/ 201070 w 4000744"/>
              <a:gd name="connsiteY87" fmla="*/ 1567911 h 7599351"/>
              <a:gd name="connsiteX88" fmla="*/ 2432835 w 4000744"/>
              <a:gd name="connsiteY88" fmla="*/ 3799676 h 7599351"/>
              <a:gd name="connsiteX89" fmla="*/ 201070 w 4000744"/>
              <a:gd name="connsiteY89" fmla="*/ 6031443 h 7599351"/>
              <a:gd name="connsiteX90" fmla="*/ 0 w 4000744"/>
              <a:gd name="connsiteY90" fmla="*/ 6308321 h 7599351"/>
              <a:gd name="connsiteX91" fmla="*/ 0 w 4000744"/>
              <a:gd name="connsiteY91" fmla="*/ 6140766 h 7599351"/>
              <a:gd name="connsiteX92" fmla="*/ 201070 w 4000744"/>
              <a:gd name="connsiteY92" fmla="*/ 6150953 h 7599351"/>
              <a:gd name="connsiteX93" fmla="*/ 2552517 w 4000744"/>
              <a:gd name="connsiteY93" fmla="*/ 3799507 h 7599351"/>
              <a:gd name="connsiteX94" fmla="*/ 201070 w 4000744"/>
              <a:gd name="connsiteY94" fmla="*/ 1448061 h 7599351"/>
              <a:gd name="connsiteX95" fmla="*/ 0 w 4000744"/>
              <a:gd name="connsiteY95" fmla="*/ 1458247 h 7599351"/>
              <a:gd name="connsiteX96" fmla="*/ 0 w 4000744"/>
              <a:gd name="connsiteY96" fmla="*/ 1291029 h 7599351"/>
              <a:gd name="connsiteX97" fmla="*/ 201070 w 4000744"/>
              <a:gd name="connsiteY97" fmla="*/ 1280841 h 7599351"/>
              <a:gd name="connsiteX98" fmla="*/ 2719904 w 4000744"/>
              <a:gd name="connsiteY98" fmla="*/ 3799675 h 7599351"/>
              <a:gd name="connsiteX99" fmla="*/ 201070 w 4000744"/>
              <a:gd name="connsiteY99" fmla="*/ 6318507 h 7599351"/>
              <a:gd name="connsiteX100" fmla="*/ 0 w 4000744"/>
              <a:gd name="connsiteY100" fmla="*/ 6612795 h 7599351"/>
              <a:gd name="connsiteX101" fmla="*/ 0 w 4000744"/>
              <a:gd name="connsiteY101" fmla="*/ 6445576 h 7599351"/>
              <a:gd name="connsiteX102" fmla="*/ 201070 w 4000744"/>
              <a:gd name="connsiteY102" fmla="*/ 6455762 h 7599351"/>
              <a:gd name="connsiteX103" fmla="*/ 2856992 w 4000744"/>
              <a:gd name="connsiteY103" fmla="*/ 3799839 h 7599351"/>
              <a:gd name="connsiteX104" fmla="*/ 201070 w 4000744"/>
              <a:gd name="connsiteY104" fmla="*/ 1143917 h 7599351"/>
              <a:gd name="connsiteX105" fmla="*/ 0 w 4000744"/>
              <a:gd name="connsiteY105" fmla="*/ 1154105 h 7599351"/>
              <a:gd name="connsiteX106" fmla="*/ 0 w 4000744"/>
              <a:gd name="connsiteY106" fmla="*/ 986547 h 7599351"/>
              <a:gd name="connsiteX107" fmla="*/ 201070 w 4000744"/>
              <a:gd name="connsiteY107" fmla="*/ 976363 h 7599351"/>
              <a:gd name="connsiteX108" fmla="*/ 3024379 w 4000744"/>
              <a:gd name="connsiteY108" fmla="*/ 3799674 h 7599351"/>
              <a:gd name="connsiteX109" fmla="*/ 201070 w 4000744"/>
              <a:gd name="connsiteY109" fmla="*/ 6622981 h 7599351"/>
              <a:gd name="connsiteX110" fmla="*/ 0 w 4000744"/>
              <a:gd name="connsiteY110" fmla="*/ 7263003 h 7599351"/>
              <a:gd name="connsiteX111" fmla="*/ 0 w 4000744"/>
              <a:gd name="connsiteY111" fmla="*/ 7091692 h 7599351"/>
              <a:gd name="connsiteX112" fmla="*/ 201069 w 4000744"/>
              <a:gd name="connsiteY112" fmla="*/ 7101878 h 7599351"/>
              <a:gd name="connsiteX113" fmla="*/ 3503272 w 4000744"/>
              <a:gd name="connsiteY113" fmla="*/ 3799676 h 7599351"/>
              <a:gd name="connsiteX114" fmla="*/ 201069 w 4000744"/>
              <a:gd name="connsiteY114" fmla="*/ 497473 h 7599351"/>
              <a:gd name="connsiteX115" fmla="*/ 0 w 4000744"/>
              <a:gd name="connsiteY115" fmla="*/ 507659 h 7599351"/>
              <a:gd name="connsiteX116" fmla="*/ 0 w 4000744"/>
              <a:gd name="connsiteY116" fmla="*/ 336347 h 7599351"/>
              <a:gd name="connsiteX117" fmla="*/ 22786 w 4000744"/>
              <a:gd name="connsiteY117" fmla="*/ 334609 h 7599351"/>
              <a:gd name="connsiteX118" fmla="*/ 201069 w 4000744"/>
              <a:gd name="connsiteY118" fmla="*/ 330085 h 7599351"/>
              <a:gd name="connsiteX119" fmla="*/ 3670658 w 4000744"/>
              <a:gd name="connsiteY119" fmla="*/ 3799676 h 7599351"/>
              <a:gd name="connsiteX120" fmla="*/ 201069 w 4000744"/>
              <a:gd name="connsiteY120" fmla="*/ 7269265 h 7599351"/>
              <a:gd name="connsiteX121" fmla="*/ 22800 w 4000744"/>
              <a:gd name="connsiteY121" fmla="*/ 7264742 h 7599351"/>
              <a:gd name="connsiteX122" fmla="*/ 0 w 4000744"/>
              <a:gd name="connsiteY122" fmla="*/ 7593891 h 7599351"/>
              <a:gd name="connsiteX123" fmla="*/ 0 w 4000744"/>
              <a:gd name="connsiteY123" fmla="*/ 7426126 h 7599351"/>
              <a:gd name="connsiteX124" fmla="*/ 14441 w 4000744"/>
              <a:gd name="connsiteY124" fmla="*/ 7427229 h 7599351"/>
              <a:gd name="connsiteX125" fmla="*/ 201070 w 4000744"/>
              <a:gd name="connsiteY125" fmla="*/ 7431963 h 7599351"/>
              <a:gd name="connsiteX126" fmla="*/ 3833358 w 4000744"/>
              <a:gd name="connsiteY126" fmla="*/ 3799677 h 7599351"/>
              <a:gd name="connsiteX127" fmla="*/ 201070 w 4000744"/>
              <a:gd name="connsiteY127" fmla="*/ 167387 h 7599351"/>
              <a:gd name="connsiteX128" fmla="*/ 14441 w 4000744"/>
              <a:gd name="connsiteY128" fmla="*/ 172123 h 7599351"/>
              <a:gd name="connsiteX129" fmla="*/ 0 w 4000744"/>
              <a:gd name="connsiteY129" fmla="*/ 173224 h 7599351"/>
              <a:gd name="connsiteX130" fmla="*/ 0 w 4000744"/>
              <a:gd name="connsiteY130" fmla="*/ 5461 h 7599351"/>
              <a:gd name="connsiteX131" fmla="*/ 11538 w 4000744"/>
              <a:gd name="connsiteY131" fmla="*/ 4615 h 7599351"/>
              <a:gd name="connsiteX132" fmla="*/ 201070 w 4000744"/>
              <a:gd name="connsiteY132" fmla="*/ 0 h 7599351"/>
              <a:gd name="connsiteX133" fmla="*/ 2887792 w 4000744"/>
              <a:gd name="connsiteY133" fmla="*/ 1112953 h 7599351"/>
              <a:gd name="connsiteX134" fmla="*/ 4000744 w 4000744"/>
              <a:gd name="connsiteY134" fmla="*/ 3799677 h 7599351"/>
              <a:gd name="connsiteX135" fmla="*/ 2887791 w 4000744"/>
              <a:gd name="connsiteY135" fmla="*/ 6486398 h 7599351"/>
              <a:gd name="connsiteX136" fmla="*/ 201070 w 4000744"/>
              <a:gd name="connsiteY136" fmla="*/ 7599351 h 7599351"/>
              <a:gd name="connsiteX137" fmla="*/ 11536 w 4000744"/>
              <a:gd name="connsiteY137" fmla="*/ 7594738 h 75993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</a:cxnLst>
            <a:rect l="l" t="t" r="r" b="b"/>
            <a:pathLst>
              <a:path w="4000744" h="7599351">
                <a:moveTo>
                  <a:pt x="1" y="4626871"/>
                </a:moveTo>
                <a:lnTo>
                  <a:pt x="1" y="4452423"/>
                </a:lnTo>
                <a:lnTo>
                  <a:pt x="62925" y="4471994"/>
                </a:lnTo>
                <a:cubicBezTo>
                  <a:pt x="107562" y="4481151"/>
                  <a:pt x="153766" y="4485961"/>
                  <a:pt x="201073" y="4485961"/>
                </a:cubicBezTo>
                <a:cubicBezTo>
                  <a:pt x="579533" y="4485961"/>
                  <a:pt x="887356" y="4178136"/>
                  <a:pt x="887356" y="3799677"/>
                </a:cubicBezTo>
                <a:cubicBezTo>
                  <a:pt x="887356" y="3421215"/>
                  <a:pt x="579533" y="3113391"/>
                  <a:pt x="201073" y="3113391"/>
                </a:cubicBezTo>
                <a:cubicBezTo>
                  <a:pt x="153766" y="3113391"/>
                  <a:pt x="107562" y="3118201"/>
                  <a:pt x="62925" y="3127357"/>
                </a:cubicBezTo>
                <a:lnTo>
                  <a:pt x="1" y="3146929"/>
                </a:lnTo>
                <a:lnTo>
                  <a:pt x="1" y="2972480"/>
                </a:lnTo>
                <a:lnTo>
                  <a:pt x="29252" y="2963380"/>
                </a:lnTo>
                <a:cubicBezTo>
                  <a:pt x="84771" y="2951988"/>
                  <a:pt x="142237" y="2946004"/>
                  <a:pt x="201073" y="2946004"/>
                </a:cubicBezTo>
                <a:cubicBezTo>
                  <a:pt x="671762" y="2946004"/>
                  <a:pt x="1054742" y="3328985"/>
                  <a:pt x="1054742" y="3799677"/>
                </a:cubicBezTo>
                <a:cubicBezTo>
                  <a:pt x="1054742" y="4270366"/>
                  <a:pt x="671762" y="4653347"/>
                  <a:pt x="201073" y="4653347"/>
                </a:cubicBezTo>
                <a:cubicBezTo>
                  <a:pt x="142237" y="4653347"/>
                  <a:pt x="84771" y="4647363"/>
                  <a:pt x="29252" y="4635972"/>
                </a:cubicBezTo>
                <a:close/>
                <a:moveTo>
                  <a:pt x="1" y="5748133"/>
                </a:moveTo>
                <a:lnTo>
                  <a:pt x="1" y="5579165"/>
                </a:lnTo>
                <a:lnTo>
                  <a:pt x="18177" y="5581947"/>
                </a:lnTo>
                <a:cubicBezTo>
                  <a:pt x="78322" y="5588074"/>
                  <a:pt x="139337" y="5591214"/>
                  <a:pt x="201071" y="5591214"/>
                </a:cubicBezTo>
                <a:cubicBezTo>
                  <a:pt x="1188818" y="5591214"/>
                  <a:pt x="1992443" y="4787590"/>
                  <a:pt x="1992443" y="3799842"/>
                </a:cubicBezTo>
                <a:cubicBezTo>
                  <a:pt x="1992443" y="2812093"/>
                  <a:pt x="1188818" y="2008470"/>
                  <a:pt x="201071" y="2008470"/>
                </a:cubicBezTo>
                <a:cubicBezTo>
                  <a:pt x="139337" y="2008470"/>
                  <a:pt x="78322" y="2011609"/>
                  <a:pt x="18177" y="2017736"/>
                </a:cubicBezTo>
                <a:lnTo>
                  <a:pt x="1" y="2020518"/>
                </a:lnTo>
                <a:lnTo>
                  <a:pt x="1" y="1851210"/>
                </a:lnTo>
                <a:lnTo>
                  <a:pt x="1070" y="1851046"/>
                </a:lnTo>
                <a:cubicBezTo>
                  <a:pt x="66840" y="1844347"/>
                  <a:pt x="133562" y="1840915"/>
                  <a:pt x="201071" y="1840915"/>
                </a:cubicBezTo>
                <a:cubicBezTo>
                  <a:pt x="1281215" y="1840915"/>
                  <a:pt x="2159830" y="2719528"/>
                  <a:pt x="2159830" y="3799675"/>
                </a:cubicBezTo>
                <a:cubicBezTo>
                  <a:pt x="2159830" y="4879819"/>
                  <a:pt x="1281215" y="5758432"/>
                  <a:pt x="201071" y="5758432"/>
                </a:cubicBezTo>
                <a:cubicBezTo>
                  <a:pt x="133572" y="5758432"/>
                  <a:pt x="66859" y="5755000"/>
                  <a:pt x="1098" y="5748302"/>
                </a:cubicBezTo>
                <a:close/>
                <a:moveTo>
                  <a:pt x="1" y="6928825"/>
                </a:moveTo>
                <a:lnTo>
                  <a:pt x="1" y="6761269"/>
                </a:lnTo>
                <a:lnTo>
                  <a:pt x="201071" y="6771456"/>
                </a:lnTo>
                <a:cubicBezTo>
                  <a:pt x="1839618" y="6771456"/>
                  <a:pt x="3172851" y="5438225"/>
                  <a:pt x="3172851" y="3799679"/>
                </a:cubicBezTo>
                <a:cubicBezTo>
                  <a:pt x="3172851" y="2161131"/>
                  <a:pt x="1839618" y="827896"/>
                  <a:pt x="201071" y="827896"/>
                </a:cubicBezTo>
                <a:lnTo>
                  <a:pt x="1" y="838083"/>
                </a:lnTo>
                <a:lnTo>
                  <a:pt x="1" y="670865"/>
                </a:lnTo>
                <a:lnTo>
                  <a:pt x="201071" y="660678"/>
                </a:lnTo>
                <a:cubicBezTo>
                  <a:pt x="1932015" y="660678"/>
                  <a:pt x="3340238" y="2068900"/>
                  <a:pt x="3340238" y="3799847"/>
                </a:cubicBezTo>
                <a:cubicBezTo>
                  <a:pt x="3340238" y="5530790"/>
                  <a:pt x="1932015" y="6939011"/>
                  <a:pt x="201071" y="6939011"/>
                </a:cubicBezTo>
                <a:close/>
                <a:moveTo>
                  <a:pt x="0" y="4928501"/>
                </a:moveTo>
                <a:lnTo>
                  <a:pt x="0" y="4758936"/>
                </a:lnTo>
                <a:lnTo>
                  <a:pt x="3771" y="4760109"/>
                </a:lnTo>
                <a:cubicBezTo>
                  <a:pt x="67521" y="4773188"/>
                  <a:pt x="133508" y="4780059"/>
                  <a:pt x="201070" y="4780059"/>
                </a:cubicBezTo>
                <a:cubicBezTo>
                  <a:pt x="741561" y="4780059"/>
                  <a:pt x="1181285" y="4340336"/>
                  <a:pt x="1181285" y="3799844"/>
                </a:cubicBezTo>
                <a:cubicBezTo>
                  <a:pt x="1181285" y="3259353"/>
                  <a:pt x="741561" y="2819630"/>
                  <a:pt x="201070" y="2819630"/>
                </a:cubicBezTo>
                <a:cubicBezTo>
                  <a:pt x="133508" y="2819630"/>
                  <a:pt x="67521" y="2826500"/>
                  <a:pt x="3771" y="2839580"/>
                </a:cubicBezTo>
                <a:lnTo>
                  <a:pt x="0" y="2840753"/>
                </a:lnTo>
                <a:lnTo>
                  <a:pt x="0" y="2670845"/>
                </a:lnTo>
                <a:lnTo>
                  <a:pt x="83885" y="2658010"/>
                </a:lnTo>
                <a:cubicBezTo>
                  <a:pt x="122420" y="2654086"/>
                  <a:pt x="161514" y="2652075"/>
                  <a:pt x="201070" y="2652075"/>
                </a:cubicBezTo>
                <a:cubicBezTo>
                  <a:pt x="833958" y="2652075"/>
                  <a:pt x="1348672" y="3166788"/>
                  <a:pt x="1348672" y="3799677"/>
                </a:cubicBezTo>
                <a:cubicBezTo>
                  <a:pt x="1348672" y="4432565"/>
                  <a:pt x="833958" y="4947278"/>
                  <a:pt x="201070" y="4947278"/>
                </a:cubicBezTo>
                <a:cubicBezTo>
                  <a:pt x="161525" y="4947278"/>
                  <a:pt x="122440" y="4945267"/>
                  <a:pt x="83912" y="4941343"/>
                </a:cubicBezTo>
                <a:close/>
                <a:moveTo>
                  <a:pt x="0" y="5215188"/>
                </a:moveTo>
                <a:lnTo>
                  <a:pt x="0" y="5046223"/>
                </a:lnTo>
                <a:lnTo>
                  <a:pt x="72015" y="5057243"/>
                </a:lnTo>
                <a:cubicBezTo>
                  <a:pt x="114455" y="5061566"/>
                  <a:pt x="157509" y="5063781"/>
                  <a:pt x="201071" y="5063781"/>
                </a:cubicBezTo>
                <a:cubicBezTo>
                  <a:pt x="898069" y="5063781"/>
                  <a:pt x="1465008" y="4496839"/>
                  <a:pt x="1465008" y="3799844"/>
                </a:cubicBezTo>
                <a:cubicBezTo>
                  <a:pt x="1465008" y="3102845"/>
                  <a:pt x="898069" y="2535907"/>
                  <a:pt x="201071" y="2535907"/>
                </a:cubicBezTo>
                <a:cubicBezTo>
                  <a:pt x="157519" y="2535907"/>
                  <a:pt x="114474" y="2538121"/>
                  <a:pt x="72043" y="2542444"/>
                </a:cubicBezTo>
                <a:lnTo>
                  <a:pt x="0" y="2553470"/>
                </a:lnTo>
                <a:lnTo>
                  <a:pt x="0" y="2384164"/>
                </a:lnTo>
                <a:lnTo>
                  <a:pt x="54936" y="2375756"/>
                </a:lnTo>
                <a:cubicBezTo>
                  <a:pt x="102993" y="2370860"/>
                  <a:pt x="151745" y="2368352"/>
                  <a:pt x="201071" y="2368352"/>
                </a:cubicBezTo>
                <a:cubicBezTo>
                  <a:pt x="990299" y="2368352"/>
                  <a:pt x="1632395" y="3010448"/>
                  <a:pt x="1632395" y="3799676"/>
                </a:cubicBezTo>
                <a:cubicBezTo>
                  <a:pt x="1632395" y="4588904"/>
                  <a:pt x="990299" y="5231000"/>
                  <a:pt x="201071" y="5231000"/>
                </a:cubicBezTo>
                <a:cubicBezTo>
                  <a:pt x="151745" y="5231000"/>
                  <a:pt x="102993" y="5228491"/>
                  <a:pt x="54936" y="5223596"/>
                </a:cubicBezTo>
                <a:close/>
                <a:moveTo>
                  <a:pt x="0" y="5478871"/>
                </a:moveTo>
                <a:lnTo>
                  <a:pt x="0" y="5309567"/>
                </a:lnTo>
                <a:lnTo>
                  <a:pt x="45388" y="5316515"/>
                </a:lnTo>
                <a:cubicBezTo>
                  <a:pt x="96585" y="5321731"/>
                  <a:pt x="148521" y="5324403"/>
                  <a:pt x="201070" y="5324403"/>
                </a:cubicBezTo>
                <a:cubicBezTo>
                  <a:pt x="1041853" y="5324403"/>
                  <a:pt x="1725962" y="4640294"/>
                  <a:pt x="1725962" y="3799511"/>
                </a:cubicBezTo>
                <a:cubicBezTo>
                  <a:pt x="1725962" y="2958728"/>
                  <a:pt x="1041853" y="2274619"/>
                  <a:pt x="201070" y="2274619"/>
                </a:cubicBezTo>
                <a:cubicBezTo>
                  <a:pt x="148511" y="2274619"/>
                  <a:pt x="96565" y="2277292"/>
                  <a:pt x="45361" y="2282507"/>
                </a:cubicBezTo>
                <a:lnTo>
                  <a:pt x="0" y="2289450"/>
                </a:lnTo>
                <a:lnTo>
                  <a:pt x="0" y="2120489"/>
                </a:lnTo>
                <a:lnTo>
                  <a:pt x="28310" y="2116155"/>
                </a:lnTo>
                <a:cubicBezTo>
                  <a:pt x="85123" y="2110366"/>
                  <a:pt x="142757" y="2107400"/>
                  <a:pt x="201070" y="2107400"/>
                </a:cubicBezTo>
                <a:cubicBezTo>
                  <a:pt x="1134082" y="2107400"/>
                  <a:pt x="1893346" y="2866667"/>
                  <a:pt x="1893346" y="3799679"/>
                </a:cubicBezTo>
                <a:cubicBezTo>
                  <a:pt x="1893346" y="4732691"/>
                  <a:pt x="1134082" y="5491955"/>
                  <a:pt x="201070" y="5491955"/>
                </a:cubicBezTo>
                <a:cubicBezTo>
                  <a:pt x="142747" y="5491955"/>
                  <a:pt x="85103" y="5488989"/>
                  <a:pt x="28282" y="5483200"/>
                </a:cubicBezTo>
                <a:close/>
                <a:moveTo>
                  <a:pt x="0" y="6021257"/>
                </a:moveTo>
                <a:lnTo>
                  <a:pt x="0" y="5853700"/>
                </a:lnTo>
                <a:lnTo>
                  <a:pt x="201070" y="5863889"/>
                </a:lnTo>
                <a:cubicBezTo>
                  <a:pt x="1339299" y="5863889"/>
                  <a:pt x="2265449" y="4937738"/>
                  <a:pt x="2265449" y="3799511"/>
                </a:cubicBezTo>
                <a:cubicBezTo>
                  <a:pt x="2265449" y="2661280"/>
                  <a:pt x="1339299" y="1735130"/>
                  <a:pt x="201070" y="1735130"/>
                </a:cubicBezTo>
                <a:lnTo>
                  <a:pt x="0" y="1745317"/>
                </a:lnTo>
                <a:lnTo>
                  <a:pt x="0" y="1578097"/>
                </a:lnTo>
                <a:lnTo>
                  <a:pt x="201070" y="1567911"/>
                </a:lnTo>
                <a:cubicBezTo>
                  <a:pt x="1431696" y="1567911"/>
                  <a:pt x="2432835" y="2569051"/>
                  <a:pt x="2432835" y="3799676"/>
                </a:cubicBezTo>
                <a:cubicBezTo>
                  <a:pt x="2432835" y="5030303"/>
                  <a:pt x="1431696" y="6031443"/>
                  <a:pt x="201070" y="6031443"/>
                </a:cubicBezTo>
                <a:close/>
                <a:moveTo>
                  <a:pt x="0" y="6308321"/>
                </a:moveTo>
                <a:lnTo>
                  <a:pt x="0" y="6140766"/>
                </a:lnTo>
                <a:lnTo>
                  <a:pt x="201070" y="6150953"/>
                </a:lnTo>
                <a:cubicBezTo>
                  <a:pt x="1497647" y="6150953"/>
                  <a:pt x="2552517" y="5096084"/>
                  <a:pt x="2552517" y="3799507"/>
                </a:cubicBezTo>
                <a:cubicBezTo>
                  <a:pt x="2552517" y="2502930"/>
                  <a:pt x="1497647" y="1448061"/>
                  <a:pt x="201070" y="1448061"/>
                </a:cubicBezTo>
                <a:lnTo>
                  <a:pt x="0" y="1458247"/>
                </a:lnTo>
                <a:lnTo>
                  <a:pt x="0" y="1291029"/>
                </a:lnTo>
                <a:lnTo>
                  <a:pt x="201070" y="1280841"/>
                </a:lnTo>
                <a:cubicBezTo>
                  <a:pt x="1589877" y="1280841"/>
                  <a:pt x="2719904" y="2410869"/>
                  <a:pt x="2719904" y="3799675"/>
                </a:cubicBezTo>
                <a:cubicBezTo>
                  <a:pt x="2719904" y="5188481"/>
                  <a:pt x="1589877" y="6318507"/>
                  <a:pt x="201070" y="6318507"/>
                </a:cubicBezTo>
                <a:close/>
                <a:moveTo>
                  <a:pt x="0" y="6612795"/>
                </a:moveTo>
                <a:lnTo>
                  <a:pt x="0" y="6445576"/>
                </a:lnTo>
                <a:lnTo>
                  <a:pt x="201070" y="6455762"/>
                </a:lnTo>
                <a:cubicBezTo>
                  <a:pt x="1665535" y="6455762"/>
                  <a:pt x="2856992" y="5264306"/>
                  <a:pt x="2856992" y="3799839"/>
                </a:cubicBezTo>
                <a:cubicBezTo>
                  <a:pt x="2856992" y="2335374"/>
                  <a:pt x="1665535" y="1143917"/>
                  <a:pt x="201070" y="1143917"/>
                </a:cubicBezTo>
                <a:lnTo>
                  <a:pt x="0" y="1154105"/>
                </a:lnTo>
                <a:lnTo>
                  <a:pt x="0" y="986547"/>
                </a:lnTo>
                <a:lnTo>
                  <a:pt x="201070" y="976363"/>
                </a:lnTo>
                <a:cubicBezTo>
                  <a:pt x="1757932" y="976363"/>
                  <a:pt x="3024379" y="2242809"/>
                  <a:pt x="3024379" y="3799674"/>
                </a:cubicBezTo>
                <a:cubicBezTo>
                  <a:pt x="3024379" y="5356536"/>
                  <a:pt x="1757932" y="6622981"/>
                  <a:pt x="201070" y="6622981"/>
                </a:cubicBezTo>
                <a:close/>
                <a:moveTo>
                  <a:pt x="0" y="7263003"/>
                </a:moveTo>
                <a:lnTo>
                  <a:pt x="0" y="7091692"/>
                </a:lnTo>
                <a:lnTo>
                  <a:pt x="201069" y="7101878"/>
                </a:lnTo>
                <a:cubicBezTo>
                  <a:pt x="2021900" y="7101878"/>
                  <a:pt x="3503272" y="5620507"/>
                  <a:pt x="3503272" y="3799676"/>
                </a:cubicBezTo>
                <a:cubicBezTo>
                  <a:pt x="3503272" y="1978844"/>
                  <a:pt x="2021900" y="497473"/>
                  <a:pt x="201069" y="497473"/>
                </a:cubicBezTo>
                <a:lnTo>
                  <a:pt x="0" y="507659"/>
                </a:lnTo>
                <a:lnTo>
                  <a:pt x="0" y="336347"/>
                </a:lnTo>
                <a:lnTo>
                  <a:pt x="22786" y="334609"/>
                </a:lnTo>
                <a:cubicBezTo>
                  <a:pt x="81840" y="331605"/>
                  <a:pt x="141280" y="330085"/>
                  <a:pt x="201069" y="330085"/>
                </a:cubicBezTo>
                <a:cubicBezTo>
                  <a:pt x="2114297" y="330085"/>
                  <a:pt x="3670658" y="1886447"/>
                  <a:pt x="3670658" y="3799676"/>
                </a:cubicBezTo>
                <a:cubicBezTo>
                  <a:pt x="3670658" y="5712904"/>
                  <a:pt x="2114297" y="7269265"/>
                  <a:pt x="201069" y="7269265"/>
                </a:cubicBezTo>
                <a:cubicBezTo>
                  <a:pt x="141285" y="7269265"/>
                  <a:pt x="81851" y="7267745"/>
                  <a:pt x="22800" y="7264742"/>
                </a:cubicBezTo>
                <a:close/>
                <a:moveTo>
                  <a:pt x="0" y="7593891"/>
                </a:moveTo>
                <a:lnTo>
                  <a:pt x="0" y="7426126"/>
                </a:lnTo>
                <a:lnTo>
                  <a:pt x="14441" y="7427229"/>
                </a:lnTo>
                <a:cubicBezTo>
                  <a:pt x="76261" y="7430372"/>
                  <a:pt x="138483" y="7431963"/>
                  <a:pt x="201070" y="7431963"/>
                </a:cubicBezTo>
                <a:cubicBezTo>
                  <a:pt x="2203849" y="7431963"/>
                  <a:pt x="3833358" y="5802456"/>
                  <a:pt x="3833358" y="3799677"/>
                </a:cubicBezTo>
                <a:cubicBezTo>
                  <a:pt x="3833358" y="1796894"/>
                  <a:pt x="2203850" y="167387"/>
                  <a:pt x="201070" y="167387"/>
                </a:cubicBezTo>
                <a:cubicBezTo>
                  <a:pt x="138483" y="167387"/>
                  <a:pt x="76261" y="168978"/>
                  <a:pt x="14441" y="172123"/>
                </a:cubicBezTo>
                <a:lnTo>
                  <a:pt x="0" y="173224"/>
                </a:lnTo>
                <a:lnTo>
                  <a:pt x="0" y="5461"/>
                </a:lnTo>
                <a:lnTo>
                  <a:pt x="11538" y="4615"/>
                </a:lnTo>
                <a:cubicBezTo>
                  <a:pt x="74450" y="1544"/>
                  <a:pt x="137641" y="0"/>
                  <a:pt x="201070" y="0"/>
                </a:cubicBezTo>
                <a:cubicBezTo>
                  <a:pt x="1215935" y="0"/>
                  <a:pt x="2170205" y="395199"/>
                  <a:pt x="2887792" y="1112953"/>
                </a:cubicBezTo>
                <a:cubicBezTo>
                  <a:pt x="3605378" y="1830539"/>
                  <a:pt x="4000744" y="2784812"/>
                  <a:pt x="4000744" y="3799677"/>
                </a:cubicBezTo>
                <a:cubicBezTo>
                  <a:pt x="4000744" y="4814542"/>
                  <a:pt x="3605546" y="5768812"/>
                  <a:pt x="2887791" y="6486398"/>
                </a:cubicBezTo>
                <a:cubicBezTo>
                  <a:pt x="2170036" y="7203984"/>
                  <a:pt x="1215935" y="7599351"/>
                  <a:pt x="201070" y="7599351"/>
                </a:cubicBezTo>
                <a:cubicBezTo>
                  <a:pt x="137641" y="7599351"/>
                  <a:pt x="74449" y="7597807"/>
                  <a:pt x="11536" y="7594738"/>
                </a:cubicBezTo>
                <a:close/>
              </a:path>
            </a:pathLst>
          </a:custGeom>
          <a:solidFill>
            <a:schemeClr val="accent5">
              <a:alpha val="22000"/>
            </a:schemeClr>
          </a:solidFill>
          <a:ln w="6883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US" sz="2000"/>
          </a:p>
        </p:txBody>
      </p:sp>
      <p:sp>
        <p:nvSpPr>
          <p:cNvPr id="93" name="Text Placeholder 3">
            <a:extLst>
              <a:ext uri="{FF2B5EF4-FFF2-40B4-BE49-F238E27FC236}">
                <a16:creationId xmlns:a16="http://schemas.microsoft.com/office/drawing/2014/main" id="{09E01744-4CF5-8307-468D-A2A7D90F91B0}"/>
              </a:ext>
            </a:extLst>
          </p:cNvPr>
          <p:cNvSpPr txBox="1">
            <a:spLocks/>
          </p:cNvSpPr>
          <p:nvPr/>
        </p:nvSpPr>
        <p:spPr>
          <a:xfrm>
            <a:off x="867276" y="6221650"/>
            <a:ext cx="10553700" cy="610423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>
            <a:lvl1pPr marL="171450" indent="-1714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/>
              <a:defRPr sz="2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1pPr>
            <a:lvl2pPr marL="344488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Courier New" panose="02070309020205020404" pitchFamily="49" charset="0"/>
              <a:buChar char="o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2pPr>
            <a:lvl3pPr marL="517525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itchFamily="2" charset="2"/>
              <a:buChar char="§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3pPr>
            <a:lvl4pPr marL="690563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70000"/>
              <a:buFont typeface="Wingdings" pitchFamily="2" charset="2"/>
              <a:buChar char="q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4pPr>
            <a:lvl5pPr marL="863600" indent="-17303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SzPct val="80000"/>
              <a:buFont typeface="Wingdings" pitchFamily="2" charset="2"/>
              <a:buChar char="v"/>
              <a:tabLst/>
              <a:defRPr sz="1800" kern="1200">
                <a:solidFill>
                  <a:srgbClr val="133CC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n-US" sz="3100" b="1">
                <a:solidFill>
                  <a:schemeClr val="accent5"/>
                </a:solidFill>
                <a:ea typeface="+mj-ea"/>
                <a:cs typeface="+mj-cs"/>
              </a:rPr>
              <a:t>Solutions that span key sustainability categories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1C0EC5BC-FFA8-03C7-2AA6-663F7720C2BF}"/>
              </a:ext>
            </a:extLst>
          </p:cNvPr>
          <p:cNvSpPr/>
          <p:nvPr/>
        </p:nvSpPr>
        <p:spPr>
          <a:xfrm>
            <a:off x="5205412" y="4765445"/>
            <a:ext cx="1781176" cy="492443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ENERGY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FOR TOMORROW</a:t>
            </a: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71D7943F-60B1-A8AD-ECCC-04807EB51B86}"/>
              </a:ext>
            </a:extLst>
          </p:cNvPr>
          <p:cNvSpPr>
            <a:spLocks/>
          </p:cNvSpPr>
          <p:nvPr/>
        </p:nvSpPr>
        <p:spPr>
          <a:xfrm>
            <a:off x="982305" y="3662985"/>
            <a:ext cx="2259196" cy="492443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LEARNING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FOR TOMORROW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91BB182A-6D62-6334-B6C1-26B3E7208513}"/>
              </a:ext>
            </a:extLst>
          </p:cNvPr>
          <p:cNvSpPr>
            <a:spLocks/>
          </p:cNvSpPr>
          <p:nvPr/>
        </p:nvSpPr>
        <p:spPr>
          <a:xfrm>
            <a:off x="8886331" y="3797597"/>
            <a:ext cx="2259196" cy="492443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PACKAGING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FOR TOMORROW</a:t>
            </a: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66C80BE7-66C9-77CD-A096-88E478C783E6}"/>
              </a:ext>
            </a:extLst>
          </p:cNvPr>
          <p:cNvSpPr/>
          <p:nvPr/>
        </p:nvSpPr>
        <p:spPr>
          <a:xfrm>
            <a:off x="10174600" y="1553856"/>
            <a:ext cx="1781176" cy="492443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RECYCLING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FOR TOMORROW</a:t>
            </a: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F0E48CC6-1404-B4FB-BAAE-CC1A3FE405D3}"/>
              </a:ext>
            </a:extLst>
          </p:cNvPr>
          <p:cNvSpPr/>
          <p:nvPr/>
        </p:nvSpPr>
        <p:spPr>
          <a:xfrm>
            <a:off x="236224" y="1553856"/>
            <a:ext cx="1781176" cy="492443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30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AGRICULTURE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j-ea"/>
                <a:cs typeface="+mj-cs"/>
              </a:rPr>
              <a:t>FOR TOMORROW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4772B4B3-DEAC-7A8E-279D-3C66EDC7B33D}"/>
              </a:ext>
            </a:extLst>
          </p:cNvPr>
          <p:cNvSpPr/>
          <p:nvPr/>
        </p:nvSpPr>
        <p:spPr>
          <a:xfrm>
            <a:off x="1309467" y="4276956"/>
            <a:ext cx="1899950" cy="760874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Sustainability Summit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Sustainability</a:t>
            </a:r>
            <a:b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</a:b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Action Center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8EDB43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1C8EF56-1E4D-083B-D418-CDEB406D4763}"/>
              </a:ext>
            </a:extLst>
          </p:cNvPr>
          <p:cNvSpPr>
            <a:spLocks/>
          </p:cNvSpPr>
          <p:nvPr/>
        </p:nvSpPr>
        <p:spPr>
          <a:xfrm>
            <a:off x="10174600" y="2116950"/>
            <a:ext cx="2017400" cy="646331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CIRQU </a:t>
            </a:r>
            <a:b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</a:b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Oscar Sort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Recycling Bins</a:t>
            </a:r>
            <a:b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</a:br>
            <a:r>
              <a:rPr kumimoji="0" lang="en-IN" sz="1600" b="1" i="0" u="none" strike="noStrike" kern="1200" cap="none" spc="0" normalizeH="0" baseline="0" noProof="0" dirty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Recycle Rally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IN" sz="1600" b="1" dirty="0" err="1">
                <a:solidFill>
                  <a:srgbClr val="8EDB43"/>
                </a:solidFill>
                <a:ea typeface="+mj-ea"/>
                <a:cs typeface="+mj-cs"/>
              </a:rPr>
              <a:t>Olyns</a:t>
            </a:r>
            <a:r>
              <a:rPr lang="en-IN" sz="1600" b="1" dirty="0">
                <a:solidFill>
                  <a:srgbClr val="8EDB43"/>
                </a:solidFill>
                <a:ea typeface="+mj-ea"/>
                <a:cs typeface="+mj-cs"/>
              </a:rPr>
              <a:t> Reverse Vending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8EDB43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EEE92EF4-47A2-C697-60D0-9A33B3AE4281}"/>
              </a:ext>
            </a:extLst>
          </p:cNvPr>
          <p:cNvSpPr/>
          <p:nvPr/>
        </p:nvSpPr>
        <p:spPr>
          <a:xfrm>
            <a:off x="8886330" y="4423728"/>
            <a:ext cx="2528825" cy="1243265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>
              <a:spcBef>
                <a:spcPts val="600"/>
              </a:spcBef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Sustainable Cups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IN" sz="1600" b="1">
              <a:solidFill>
                <a:srgbClr val="8EDB43"/>
              </a:solidFill>
              <a:ea typeface="+mj-ea"/>
              <a:cs typeface="+mj-cs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8EDB43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EB72DBED-A601-4221-B465-325473C3726F}"/>
              </a:ext>
            </a:extLst>
          </p:cNvPr>
          <p:cNvSpPr>
            <a:spLocks/>
          </p:cNvSpPr>
          <p:nvPr/>
        </p:nvSpPr>
        <p:spPr>
          <a:xfrm>
            <a:off x="279197" y="2116950"/>
            <a:ext cx="1738203" cy="402367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1600" b="1" i="0" u="none" strike="noStrike" kern="1200" cap="none" spc="0" normalizeH="0" baseline="0" noProof="0">
                <a:ln>
                  <a:noFill/>
                </a:ln>
                <a:solidFill>
                  <a:srgbClr val="8EDB43"/>
                </a:solidFill>
                <a:effectLst/>
                <a:uLnTx/>
                <a:uFillTx/>
                <a:ea typeface="+mj-ea"/>
                <a:cs typeface="+mj-cs"/>
              </a:rPr>
              <a:t>Sow Positive (Sow+)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rgbClr val="8EDB43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pic>
        <p:nvPicPr>
          <p:cNvPr id="110" name="Picture 109">
            <a:extLst>
              <a:ext uri="{FF2B5EF4-FFF2-40B4-BE49-F238E27FC236}">
                <a16:creationId xmlns:a16="http://schemas.microsoft.com/office/drawing/2014/main" id="{CED3B19C-AD5F-D90D-1910-5B573208820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0973958" y="-1389"/>
            <a:ext cx="1218041" cy="1054204"/>
          </a:xfrm>
          <a:prstGeom prst="rect">
            <a:avLst/>
          </a:prstGeom>
        </p:spPr>
      </p:pic>
      <p:pic>
        <p:nvPicPr>
          <p:cNvPr id="80" name="Picture 79" descr="Diagram&#10;&#10;Description automatically generated">
            <a:extLst>
              <a:ext uri="{FF2B5EF4-FFF2-40B4-BE49-F238E27FC236}">
                <a16:creationId xmlns:a16="http://schemas.microsoft.com/office/drawing/2014/main" id="{F189CCCE-2726-4FE9-9791-AC0E25CB951E}"/>
              </a:ext>
            </a:extLst>
          </p:cNvPr>
          <p:cNvPicPr>
            <a:picLocks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471" t="4690" r="15972" b="78413"/>
          <a:stretch/>
        </p:blipFill>
        <p:spPr>
          <a:xfrm>
            <a:off x="5513387" y="3438531"/>
            <a:ext cx="1165226" cy="1158876"/>
          </a:xfrm>
          <a:custGeom>
            <a:avLst/>
            <a:gdLst>
              <a:gd name="connsiteX0" fmla="*/ 582613 w 1165226"/>
              <a:gd name="connsiteY0" fmla="*/ 0 h 1158876"/>
              <a:gd name="connsiteX1" fmla="*/ 1165226 w 1165226"/>
              <a:gd name="connsiteY1" fmla="*/ 579438 h 1158876"/>
              <a:gd name="connsiteX2" fmla="*/ 582613 w 1165226"/>
              <a:gd name="connsiteY2" fmla="*/ 1158876 h 1158876"/>
              <a:gd name="connsiteX3" fmla="*/ 0 w 1165226"/>
              <a:gd name="connsiteY3" fmla="*/ 579438 h 1158876"/>
              <a:gd name="connsiteX4" fmla="*/ 582613 w 1165226"/>
              <a:gd name="connsiteY4" fmla="*/ 0 h 1158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5226" h="1158876">
                <a:moveTo>
                  <a:pt x="582613" y="0"/>
                </a:moveTo>
                <a:cubicBezTo>
                  <a:pt x="904381" y="0"/>
                  <a:pt x="1165226" y="259423"/>
                  <a:pt x="1165226" y="579438"/>
                </a:cubicBezTo>
                <a:cubicBezTo>
                  <a:pt x="1165226" y="899453"/>
                  <a:pt x="904381" y="1158876"/>
                  <a:pt x="582613" y="1158876"/>
                </a:cubicBezTo>
                <a:cubicBezTo>
                  <a:pt x="260845" y="1158876"/>
                  <a:pt x="0" y="899453"/>
                  <a:pt x="0" y="579438"/>
                </a:cubicBezTo>
                <a:cubicBezTo>
                  <a:pt x="0" y="259423"/>
                  <a:pt x="260845" y="0"/>
                  <a:pt x="582613" y="0"/>
                </a:cubicBezTo>
                <a:close/>
              </a:path>
            </a:pathLst>
          </a:custGeom>
          <a:ln w="6350">
            <a:solidFill>
              <a:srgbClr val="0052DB"/>
            </a:solidFill>
          </a:ln>
        </p:spPr>
      </p:pic>
      <p:grpSp>
        <p:nvGrpSpPr>
          <p:cNvPr id="393" name="Group 392">
            <a:extLst>
              <a:ext uri="{FF2B5EF4-FFF2-40B4-BE49-F238E27FC236}">
                <a16:creationId xmlns:a16="http://schemas.microsoft.com/office/drawing/2014/main" id="{1DC2A775-7F8A-C7BD-C6C1-0D7EF550CD21}"/>
              </a:ext>
            </a:extLst>
          </p:cNvPr>
          <p:cNvGrpSpPr/>
          <p:nvPr/>
        </p:nvGrpSpPr>
        <p:grpSpPr>
          <a:xfrm>
            <a:off x="248694" y="5330037"/>
            <a:ext cx="768663" cy="912391"/>
            <a:chOff x="352476" y="5607096"/>
            <a:chExt cx="619761" cy="735647"/>
          </a:xfrm>
        </p:grpSpPr>
        <p:sp>
          <p:nvSpPr>
            <p:cNvPr id="319" name="object 54">
              <a:extLst>
                <a:ext uri="{FF2B5EF4-FFF2-40B4-BE49-F238E27FC236}">
                  <a16:creationId xmlns:a16="http://schemas.microsoft.com/office/drawing/2014/main" id="{E514F0E0-B278-C065-6BB3-FD8357B8C793}"/>
                </a:ext>
              </a:extLst>
            </p:cNvPr>
            <p:cNvSpPr/>
            <p:nvPr/>
          </p:nvSpPr>
          <p:spPr>
            <a:xfrm>
              <a:off x="497892" y="5868398"/>
              <a:ext cx="474345" cy="474345"/>
            </a:xfrm>
            <a:custGeom>
              <a:avLst/>
              <a:gdLst/>
              <a:ahLst/>
              <a:cxnLst/>
              <a:rect l="l" t="t" r="r" b="b"/>
              <a:pathLst>
                <a:path w="474345" h="474345">
                  <a:moveTo>
                    <a:pt x="267887" y="0"/>
                  </a:moveTo>
                  <a:lnTo>
                    <a:pt x="206224" y="0"/>
                  </a:lnTo>
                  <a:lnTo>
                    <a:pt x="194722" y="2338"/>
                  </a:lnTo>
                  <a:lnTo>
                    <a:pt x="185303" y="8706"/>
                  </a:lnTo>
                  <a:lnTo>
                    <a:pt x="178939" y="18129"/>
                  </a:lnTo>
                  <a:lnTo>
                    <a:pt x="176601" y="29632"/>
                  </a:lnTo>
                  <a:lnTo>
                    <a:pt x="176601" y="176601"/>
                  </a:lnTo>
                  <a:lnTo>
                    <a:pt x="29622" y="176601"/>
                  </a:lnTo>
                  <a:lnTo>
                    <a:pt x="18120" y="178940"/>
                  </a:lnTo>
                  <a:lnTo>
                    <a:pt x="8701" y="185308"/>
                  </a:lnTo>
                  <a:lnTo>
                    <a:pt x="2337" y="194730"/>
                  </a:lnTo>
                  <a:lnTo>
                    <a:pt x="0" y="206234"/>
                  </a:lnTo>
                  <a:lnTo>
                    <a:pt x="0" y="267887"/>
                  </a:lnTo>
                  <a:lnTo>
                    <a:pt x="2337" y="279389"/>
                  </a:lnTo>
                  <a:lnTo>
                    <a:pt x="8701" y="288807"/>
                  </a:lnTo>
                  <a:lnTo>
                    <a:pt x="18120" y="295171"/>
                  </a:lnTo>
                  <a:lnTo>
                    <a:pt x="29622" y="297509"/>
                  </a:lnTo>
                  <a:lnTo>
                    <a:pt x="176601" y="297509"/>
                  </a:lnTo>
                  <a:lnTo>
                    <a:pt x="176601" y="444489"/>
                  </a:lnTo>
                  <a:lnTo>
                    <a:pt x="178939" y="455991"/>
                  </a:lnTo>
                  <a:lnTo>
                    <a:pt x="185303" y="465409"/>
                  </a:lnTo>
                  <a:lnTo>
                    <a:pt x="194722" y="471773"/>
                  </a:lnTo>
                  <a:lnTo>
                    <a:pt x="206224" y="474111"/>
                  </a:lnTo>
                  <a:lnTo>
                    <a:pt x="267887" y="474111"/>
                  </a:lnTo>
                  <a:lnTo>
                    <a:pt x="279389" y="471773"/>
                  </a:lnTo>
                  <a:lnTo>
                    <a:pt x="288807" y="465409"/>
                  </a:lnTo>
                  <a:lnTo>
                    <a:pt x="295171" y="455991"/>
                  </a:lnTo>
                  <a:lnTo>
                    <a:pt x="297509" y="444489"/>
                  </a:lnTo>
                  <a:lnTo>
                    <a:pt x="297509" y="297509"/>
                  </a:lnTo>
                  <a:lnTo>
                    <a:pt x="444489" y="297509"/>
                  </a:lnTo>
                  <a:lnTo>
                    <a:pt x="455991" y="295171"/>
                  </a:lnTo>
                  <a:lnTo>
                    <a:pt x="465409" y="288807"/>
                  </a:lnTo>
                  <a:lnTo>
                    <a:pt x="471773" y="279389"/>
                  </a:lnTo>
                  <a:lnTo>
                    <a:pt x="474111" y="267887"/>
                  </a:lnTo>
                  <a:lnTo>
                    <a:pt x="474111" y="206234"/>
                  </a:lnTo>
                  <a:lnTo>
                    <a:pt x="471773" y="194730"/>
                  </a:lnTo>
                  <a:lnTo>
                    <a:pt x="465409" y="185308"/>
                  </a:lnTo>
                  <a:lnTo>
                    <a:pt x="455991" y="178940"/>
                  </a:lnTo>
                  <a:lnTo>
                    <a:pt x="444489" y="176601"/>
                  </a:lnTo>
                  <a:lnTo>
                    <a:pt x="297509" y="176601"/>
                  </a:lnTo>
                  <a:lnTo>
                    <a:pt x="297509" y="29632"/>
                  </a:lnTo>
                  <a:lnTo>
                    <a:pt x="295171" y="18129"/>
                  </a:lnTo>
                  <a:lnTo>
                    <a:pt x="288807" y="8706"/>
                  </a:lnTo>
                  <a:lnTo>
                    <a:pt x="279389" y="2338"/>
                  </a:lnTo>
                  <a:lnTo>
                    <a:pt x="267887" y="0"/>
                  </a:lnTo>
                  <a:close/>
                </a:path>
              </a:pathLst>
            </a:custGeom>
            <a:solidFill>
              <a:srgbClr val="FFC62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0" name="object 56">
              <a:extLst>
                <a:ext uri="{FF2B5EF4-FFF2-40B4-BE49-F238E27FC236}">
                  <a16:creationId xmlns:a16="http://schemas.microsoft.com/office/drawing/2014/main" id="{FC675250-291F-D311-791C-AD7B2C468C6B}"/>
                </a:ext>
              </a:extLst>
            </p:cNvPr>
            <p:cNvSpPr/>
            <p:nvPr/>
          </p:nvSpPr>
          <p:spPr>
            <a:xfrm>
              <a:off x="352476" y="5607096"/>
              <a:ext cx="290830" cy="290830"/>
            </a:xfrm>
            <a:custGeom>
              <a:avLst/>
              <a:gdLst/>
              <a:ahLst/>
              <a:cxnLst/>
              <a:rect l="l" t="t" r="r" b="b"/>
              <a:pathLst>
                <a:path w="290830" h="290829">
                  <a:moveTo>
                    <a:pt x="164152" y="0"/>
                  </a:moveTo>
                  <a:lnTo>
                    <a:pt x="126373" y="0"/>
                  </a:lnTo>
                  <a:lnTo>
                    <a:pt x="119321" y="1433"/>
                  </a:lnTo>
                  <a:lnTo>
                    <a:pt x="113548" y="5336"/>
                  </a:lnTo>
                  <a:lnTo>
                    <a:pt x="109648" y="11109"/>
                  </a:lnTo>
                  <a:lnTo>
                    <a:pt x="108216" y="18156"/>
                  </a:lnTo>
                  <a:lnTo>
                    <a:pt x="108216" y="108216"/>
                  </a:lnTo>
                  <a:lnTo>
                    <a:pt x="18156" y="108216"/>
                  </a:lnTo>
                  <a:lnTo>
                    <a:pt x="11105" y="109650"/>
                  </a:lnTo>
                  <a:lnTo>
                    <a:pt x="5332" y="113552"/>
                  </a:lnTo>
                  <a:lnTo>
                    <a:pt x="1432" y="119326"/>
                  </a:lnTo>
                  <a:lnTo>
                    <a:pt x="0" y="126373"/>
                  </a:lnTo>
                  <a:lnTo>
                    <a:pt x="0" y="164152"/>
                  </a:lnTo>
                  <a:lnTo>
                    <a:pt x="1432" y="171198"/>
                  </a:lnTo>
                  <a:lnTo>
                    <a:pt x="5332" y="176972"/>
                  </a:lnTo>
                  <a:lnTo>
                    <a:pt x="11105" y="180874"/>
                  </a:lnTo>
                  <a:lnTo>
                    <a:pt x="18156" y="182308"/>
                  </a:lnTo>
                  <a:lnTo>
                    <a:pt x="108216" y="182308"/>
                  </a:lnTo>
                  <a:lnTo>
                    <a:pt x="108216" y="272368"/>
                  </a:lnTo>
                  <a:lnTo>
                    <a:pt x="109648" y="279419"/>
                  </a:lnTo>
                  <a:lnTo>
                    <a:pt x="113548" y="285192"/>
                  </a:lnTo>
                  <a:lnTo>
                    <a:pt x="119321" y="289092"/>
                  </a:lnTo>
                  <a:lnTo>
                    <a:pt x="126373" y="290525"/>
                  </a:lnTo>
                  <a:lnTo>
                    <a:pt x="164152" y="290525"/>
                  </a:lnTo>
                  <a:lnTo>
                    <a:pt x="171203" y="289092"/>
                  </a:lnTo>
                  <a:lnTo>
                    <a:pt x="176976" y="285192"/>
                  </a:lnTo>
                  <a:lnTo>
                    <a:pt x="180876" y="279419"/>
                  </a:lnTo>
                  <a:lnTo>
                    <a:pt x="182308" y="272368"/>
                  </a:lnTo>
                  <a:lnTo>
                    <a:pt x="182308" y="182308"/>
                  </a:lnTo>
                  <a:lnTo>
                    <a:pt x="272368" y="182308"/>
                  </a:lnTo>
                  <a:lnTo>
                    <a:pt x="279419" y="180874"/>
                  </a:lnTo>
                  <a:lnTo>
                    <a:pt x="285192" y="176972"/>
                  </a:lnTo>
                  <a:lnTo>
                    <a:pt x="289092" y="171198"/>
                  </a:lnTo>
                  <a:lnTo>
                    <a:pt x="290525" y="164152"/>
                  </a:lnTo>
                  <a:lnTo>
                    <a:pt x="290525" y="126373"/>
                  </a:lnTo>
                  <a:lnTo>
                    <a:pt x="289092" y="119326"/>
                  </a:lnTo>
                  <a:lnTo>
                    <a:pt x="285192" y="113552"/>
                  </a:lnTo>
                  <a:lnTo>
                    <a:pt x="279419" y="109650"/>
                  </a:lnTo>
                  <a:lnTo>
                    <a:pt x="272368" y="108216"/>
                  </a:lnTo>
                  <a:lnTo>
                    <a:pt x="182308" y="108216"/>
                  </a:lnTo>
                  <a:lnTo>
                    <a:pt x="182308" y="18156"/>
                  </a:lnTo>
                  <a:lnTo>
                    <a:pt x="180876" y="11109"/>
                  </a:lnTo>
                  <a:lnTo>
                    <a:pt x="176976" y="5336"/>
                  </a:lnTo>
                  <a:lnTo>
                    <a:pt x="171203" y="1433"/>
                  </a:lnTo>
                  <a:lnTo>
                    <a:pt x="164152" y="0"/>
                  </a:lnTo>
                  <a:close/>
                </a:path>
              </a:pathLst>
            </a:custGeom>
            <a:solidFill>
              <a:srgbClr val="4FD9E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38" name="Freeform: Shape 337">
            <a:extLst>
              <a:ext uri="{FF2B5EF4-FFF2-40B4-BE49-F238E27FC236}">
                <a16:creationId xmlns:a16="http://schemas.microsoft.com/office/drawing/2014/main" id="{04C8DF6A-B0EF-9BF1-4CBE-EF7CB273DC91}"/>
              </a:ext>
            </a:extLst>
          </p:cNvPr>
          <p:cNvSpPr/>
          <p:nvPr/>
        </p:nvSpPr>
        <p:spPr>
          <a:xfrm>
            <a:off x="775282" y="549635"/>
            <a:ext cx="302631" cy="302596"/>
          </a:xfrm>
          <a:custGeom>
            <a:avLst/>
            <a:gdLst>
              <a:gd name="connsiteX0" fmla="*/ 0 w 292642"/>
              <a:gd name="connsiteY0" fmla="*/ 165316 h 292608"/>
              <a:gd name="connsiteX1" fmla="*/ 0 w 292642"/>
              <a:gd name="connsiteY1" fmla="*/ 127257 h 292608"/>
              <a:gd name="connsiteX2" fmla="*/ 18279 w 292642"/>
              <a:gd name="connsiteY2" fmla="*/ 108978 h 292608"/>
              <a:gd name="connsiteX3" fmla="*/ 109013 w 292642"/>
              <a:gd name="connsiteY3" fmla="*/ 108978 h 292608"/>
              <a:gd name="connsiteX4" fmla="*/ 109013 w 292642"/>
              <a:gd name="connsiteY4" fmla="*/ 18279 h 292608"/>
              <a:gd name="connsiteX5" fmla="*/ 127292 w 292642"/>
              <a:gd name="connsiteY5" fmla="*/ 0 h 292608"/>
              <a:gd name="connsiteX6" fmla="*/ 165351 w 292642"/>
              <a:gd name="connsiteY6" fmla="*/ 0 h 292608"/>
              <a:gd name="connsiteX7" fmla="*/ 183630 w 292642"/>
              <a:gd name="connsiteY7" fmla="*/ 18279 h 292608"/>
              <a:gd name="connsiteX8" fmla="*/ 183630 w 292642"/>
              <a:gd name="connsiteY8" fmla="*/ 108978 h 292608"/>
              <a:gd name="connsiteX9" fmla="*/ 274364 w 292642"/>
              <a:gd name="connsiteY9" fmla="*/ 108978 h 292608"/>
              <a:gd name="connsiteX10" fmla="*/ 292643 w 292642"/>
              <a:gd name="connsiteY10" fmla="*/ 127257 h 292608"/>
              <a:gd name="connsiteX11" fmla="*/ 292643 w 292642"/>
              <a:gd name="connsiteY11" fmla="*/ 165316 h 292608"/>
              <a:gd name="connsiteX12" fmla="*/ 274364 w 292642"/>
              <a:gd name="connsiteY12" fmla="*/ 183595 h 292608"/>
              <a:gd name="connsiteX13" fmla="*/ 183630 w 292642"/>
              <a:gd name="connsiteY13" fmla="*/ 183595 h 292608"/>
              <a:gd name="connsiteX14" fmla="*/ 183630 w 292642"/>
              <a:gd name="connsiteY14" fmla="*/ 274329 h 292608"/>
              <a:gd name="connsiteX15" fmla="*/ 165351 w 292642"/>
              <a:gd name="connsiteY15" fmla="*/ 292608 h 292608"/>
              <a:gd name="connsiteX16" fmla="*/ 127292 w 292642"/>
              <a:gd name="connsiteY16" fmla="*/ 292608 h 292608"/>
              <a:gd name="connsiteX17" fmla="*/ 109013 w 292642"/>
              <a:gd name="connsiteY17" fmla="*/ 274329 h 292608"/>
              <a:gd name="connsiteX18" fmla="*/ 109013 w 292642"/>
              <a:gd name="connsiteY18" fmla="*/ 183595 h 292608"/>
              <a:gd name="connsiteX19" fmla="*/ 18279 w 292642"/>
              <a:gd name="connsiteY19" fmla="*/ 183595 h 292608"/>
              <a:gd name="connsiteX20" fmla="*/ 0 w 292642"/>
              <a:gd name="connsiteY20" fmla="*/ 165316 h 292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2642" h="292608">
                <a:moveTo>
                  <a:pt x="0" y="165316"/>
                </a:moveTo>
                <a:lnTo>
                  <a:pt x="0" y="127257"/>
                </a:lnTo>
                <a:cubicBezTo>
                  <a:pt x="0" y="117211"/>
                  <a:pt x="8233" y="108978"/>
                  <a:pt x="18279" y="108978"/>
                </a:cubicBezTo>
                <a:lnTo>
                  <a:pt x="109013" y="108978"/>
                </a:lnTo>
                <a:lnTo>
                  <a:pt x="109013" y="18279"/>
                </a:lnTo>
                <a:cubicBezTo>
                  <a:pt x="109013" y="8233"/>
                  <a:pt x="117245" y="0"/>
                  <a:pt x="127292" y="0"/>
                </a:cubicBezTo>
                <a:lnTo>
                  <a:pt x="165351" y="0"/>
                </a:lnTo>
                <a:cubicBezTo>
                  <a:pt x="175397" y="0"/>
                  <a:pt x="183630" y="8233"/>
                  <a:pt x="183630" y="18279"/>
                </a:cubicBezTo>
                <a:lnTo>
                  <a:pt x="183630" y="108978"/>
                </a:lnTo>
                <a:lnTo>
                  <a:pt x="274364" y="108978"/>
                </a:lnTo>
                <a:cubicBezTo>
                  <a:pt x="284410" y="108978"/>
                  <a:pt x="292643" y="117211"/>
                  <a:pt x="292643" y="127257"/>
                </a:cubicBezTo>
                <a:lnTo>
                  <a:pt x="292643" y="165316"/>
                </a:lnTo>
                <a:cubicBezTo>
                  <a:pt x="292643" y="175363"/>
                  <a:pt x="284410" y="183595"/>
                  <a:pt x="274364" y="183595"/>
                </a:cubicBezTo>
                <a:lnTo>
                  <a:pt x="183630" y="183595"/>
                </a:lnTo>
                <a:lnTo>
                  <a:pt x="183630" y="274329"/>
                </a:lnTo>
                <a:cubicBezTo>
                  <a:pt x="183630" y="284375"/>
                  <a:pt x="175397" y="292608"/>
                  <a:pt x="165351" y="292608"/>
                </a:cubicBezTo>
                <a:lnTo>
                  <a:pt x="127292" y="292608"/>
                </a:lnTo>
                <a:cubicBezTo>
                  <a:pt x="117245" y="292608"/>
                  <a:pt x="109013" y="284375"/>
                  <a:pt x="109013" y="274329"/>
                </a:cubicBezTo>
                <a:lnTo>
                  <a:pt x="109013" y="183595"/>
                </a:lnTo>
                <a:lnTo>
                  <a:pt x="18279" y="183595"/>
                </a:lnTo>
                <a:cubicBezTo>
                  <a:pt x="8233" y="183595"/>
                  <a:pt x="0" y="175363"/>
                  <a:pt x="0" y="165316"/>
                </a:cubicBezTo>
              </a:path>
            </a:pathLst>
          </a:custGeom>
          <a:solidFill>
            <a:srgbClr val="8EDC43"/>
          </a:solidFill>
          <a:ln w="34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000"/>
          </a:p>
        </p:txBody>
      </p:sp>
      <p:grpSp>
        <p:nvGrpSpPr>
          <p:cNvPr id="339" name="Group 338">
            <a:extLst>
              <a:ext uri="{FF2B5EF4-FFF2-40B4-BE49-F238E27FC236}">
                <a16:creationId xmlns:a16="http://schemas.microsoft.com/office/drawing/2014/main" id="{F6EB2F06-BBEC-35A4-EAAF-A52AA0639D0C}"/>
              </a:ext>
            </a:extLst>
          </p:cNvPr>
          <p:cNvGrpSpPr/>
          <p:nvPr/>
        </p:nvGrpSpPr>
        <p:grpSpPr>
          <a:xfrm flipV="1">
            <a:off x="0" y="-1"/>
            <a:ext cx="1204686" cy="1164225"/>
            <a:chOff x="749" y="9888376"/>
            <a:chExt cx="3226768" cy="3118392"/>
          </a:xfrm>
        </p:grpSpPr>
        <p:sp>
          <p:nvSpPr>
            <p:cNvPr id="340" name="Freeform: Shape 339">
              <a:extLst>
                <a:ext uri="{FF2B5EF4-FFF2-40B4-BE49-F238E27FC236}">
                  <a16:creationId xmlns:a16="http://schemas.microsoft.com/office/drawing/2014/main" id="{0EA2BC1C-2F87-F00B-7306-A0C39C416016}"/>
                </a:ext>
              </a:extLst>
            </p:cNvPr>
            <p:cNvSpPr/>
            <p:nvPr/>
          </p:nvSpPr>
          <p:spPr>
            <a:xfrm flipH="1">
              <a:off x="749" y="9888376"/>
              <a:ext cx="1561511" cy="1561511"/>
            </a:xfrm>
            <a:custGeom>
              <a:avLst/>
              <a:gdLst>
                <a:gd name="connsiteX0" fmla="*/ 1561511 w 1561511"/>
                <a:gd name="connsiteY0" fmla="*/ 0 h 1561511"/>
                <a:gd name="connsiteX1" fmla="*/ 0 w 1561511"/>
                <a:gd name="connsiteY1" fmla="*/ 1561511 h 1561511"/>
                <a:gd name="connsiteX2" fmla="*/ 1561511 w 1561511"/>
                <a:gd name="connsiteY2" fmla="*/ 1561511 h 1561511"/>
                <a:gd name="connsiteX3" fmla="*/ 1561511 w 1561511"/>
                <a:gd name="connsiteY3" fmla="*/ 0 h 1561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1511" h="1561511">
                  <a:moveTo>
                    <a:pt x="1561511" y="0"/>
                  </a:moveTo>
                  <a:cubicBezTo>
                    <a:pt x="699117" y="0"/>
                    <a:pt x="0" y="699117"/>
                    <a:pt x="0" y="1561511"/>
                  </a:cubicBezTo>
                  <a:lnTo>
                    <a:pt x="1561511" y="1561511"/>
                  </a:lnTo>
                  <a:lnTo>
                    <a:pt x="1561511" y="0"/>
                  </a:lnTo>
                  <a:close/>
                </a:path>
              </a:pathLst>
            </a:custGeom>
            <a:solidFill>
              <a:srgbClr val="8EDC43"/>
            </a:solidFill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1" name="Freeform: Shape 340">
              <a:extLst>
                <a:ext uri="{FF2B5EF4-FFF2-40B4-BE49-F238E27FC236}">
                  <a16:creationId xmlns:a16="http://schemas.microsoft.com/office/drawing/2014/main" id="{E769BA11-B1B9-BC95-9DE0-D375B219D962}"/>
                </a:ext>
              </a:extLst>
            </p:cNvPr>
            <p:cNvSpPr/>
            <p:nvPr/>
          </p:nvSpPr>
          <p:spPr>
            <a:xfrm flipH="1">
              <a:off x="1547710" y="11449887"/>
              <a:ext cx="1679807" cy="1556227"/>
            </a:xfrm>
            <a:custGeom>
              <a:avLst/>
              <a:gdLst>
                <a:gd name="connsiteX0" fmla="*/ 0 w 1679807"/>
                <a:gd name="connsiteY0" fmla="*/ 1556228 h 1556227"/>
                <a:gd name="connsiteX1" fmla="*/ 1679808 w 1679807"/>
                <a:gd name="connsiteY1" fmla="*/ 1556228 h 1556227"/>
                <a:gd name="connsiteX2" fmla="*/ 1679808 w 1679807"/>
                <a:gd name="connsiteY2" fmla="*/ 0 h 1556227"/>
                <a:gd name="connsiteX3" fmla="*/ 0 w 1679807"/>
                <a:gd name="connsiteY3" fmla="*/ 1556228 h 1556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79807" h="1556227">
                  <a:moveTo>
                    <a:pt x="0" y="1556228"/>
                  </a:moveTo>
                  <a:lnTo>
                    <a:pt x="1679808" y="1556228"/>
                  </a:lnTo>
                  <a:lnTo>
                    <a:pt x="1679808" y="0"/>
                  </a:lnTo>
                  <a:cubicBezTo>
                    <a:pt x="1613225" y="869922"/>
                    <a:pt x="886755" y="1555199"/>
                    <a:pt x="0" y="1556228"/>
                  </a:cubicBezTo>
                </a:path>
              </a:pathLst>
            </a:custGeom>
            <a:solidFill>
              <a:srgbClr val="4FE2F3"/>
            </a:solidFill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42" name="Freeform: Shape 341">
              <a:extLst>
                <a:ext uri="{FF2B5EF4-FFF2-40B4-BE49-F238E27FC236}">
                  <a16:creationId xmlns:a16="http://schemas.microsoft.com/office/drawing/2014/main" id="{3BB99F76-66AB-20E5-BA47-384FDD93A991}"/>
                </a:ext>
              </a:extLst>
            </p:cNvPr>
            <p:cNvSpPr/>
            <p:nvPr/>
          </p:nvSpPr>
          <p:spPr>
            <a:xfrm flipH="1">
              <a:off x="749" y="11449886"/>
              <a:ext cx="1561511" cy="1556882"/>
            </a:xfrm>
            <a:custGeom>
              <a:avLst/>
              <a:gdLst>
                <a:gd name="connsiteX0" fmla="*/ 0 w 1561511"/>
                <a:gd name="connsiteY0" fmla="*/ 0 h 1556882"/>
                <a:gd name="connsiteX1" fmla="*/ 1561511 w 1561511"/>
                <a:gd name="connsiteY1" fmla="*/ 0 h 1556882"/>
                <a:gd name="connsiteX2" fmla="*/ 1561511 w 1561511"/>
                <a:gd name="connsiteY2" fmla="*/ 1556882 h 1556882"/>
                <a:gd name="connsiteX3" fmla="*/ 0 w 1561511"/>
                <a:gd name="connsiteY3" fmla="*/ 1556882 h 15568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61511" h="1556882">
                  <a:moveTo>
                    <a:pt x="0" y="0"/>
                  </a:moveTo>
                  <a:lnTo>
                    <a:pt x="1561511" y="0"/>
                  </a:lnTo>
                  <a:lnTo>
                    <a:pt x="1561511" y="1556882"/>
                  </a:lnTo>
                  <a:lnTo>
                    <a:pt x="0" y="1556882"/>
                  </a:lnTo>
                  <a:close/>
                </a:path>
              </a:pathLst>
            </a:custGeom>
            <a:solidFill>
              <a:srgbClr val="08A755"/>
            </a:solidFill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79" name="Picture 78" descr="Diagram&#10;&#10;Description automatically generated">
            <a:extLst>
              <a:ext uri="{FF2B5EF4-FFF2-40B4-BE49-F238E27FC236}">
                <a16:creationId xmlns:a16="http://schemas.microsoft.com/office/drawing/2014/main" id="{8D59BF6E-06CE-64B8-A30A-AC565EED67EE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935" t="44553" r="6507" b="38549"/>
          <a:stretch/>
        </p:blipFill>
        <p:spPr>
          <a:xfrm>
            <a:off x="8878944" y="1118928"/>
            <a:ext cx="1165226" cy="1158876"/>
          </a:xfrm>
          <a:custGeom>
            <a:avLst/>
            <a:gdLst>
              <a:gd name="connsiteX0" fmla="*/ 582613 w 1165226"/>
              <a:gd name="connsiteY0" fmla="*/ 0 h 1158876"/>
              <a:gd name="connsiteX1" fmla="*/ 1165226 w 1165226"/>
              <a:gd name="connsiteY1" fmla="*/ 579438 h 1158876"/>
              <a:gd name="connsiteX2" fmla="*/ 582613 w 1165226"/>
              <a:gd name="connsiteY2" fmla="*/ 1158876 h 1158876"/>
              <a:gd name="connsiteX3" fmla="*/ 0 w 1165226"/>
              <a:gd name="connsiteY3" fmla="*/ 579438 h 1158876"/>
              <a:gd name="connsiteX4" fmla="*/ 582613 w 1165226"/>
              <a:gd name="connsiteY4" fmla="*/ 0 h 1158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5226" h="1158876">
                <a:moveTo>
                  <a:pt x="582613" y="0"/>
                </a:moveTo>
                <a:cubicBezTo>
                  <a:pt x="904381" y="0"/>
                  <a:pt x="1165226" y="259423"/>
                  <a:pt x="1165226" y="579438"/>
                </a:cubicBezTo>
                <a:cubicBezTo>
                  <a:pt x="1165226" y="899453"/>
                  <a:pt x="904381" y="1158876"/>
                  <a:pt x="582613" y="1158876"/>
                </a:cubicBezTo>
                <a:cubicBezTo>
                  <a:pt x="260845" y="1158876"/>
                  <a:pt x="0" y="899453"/>
                  <a:pt x="0" y="579438"/>
                </a:cubicBezTo>
                <a:cubicBezTo>
                  <a:pt x="0" y="259423"/>
                  <a:pt x="260845" y="0"/>
                  <a:pt x="582613" y="0"/>
                </a:cubicBezTo>
                <a:close/>
              </a:path>
            </a:pathLst>
          </a:custGeom>
          <a:ln w="6350">
            <a:solidFill>
              <a:srgbClr val="0052DB"/>
            </a:solidFill>
          </a:ln>
        </p:spPr>
      </p:pic>
      <p:pic>
        <p:nvPicPr>
          <p:cNvPr id="81" name="Picture 80" descr="Diagram&#10;&#10;Description automatically generated">
            <a:extLst>
              <a:ext uri="{FF2B5EF4-FFF2-40B4-BE49-F238E27FC236}">
                <a16:creationId xmlns:a16="http://schemas.microsoft.com/office/drawing/2014/main" id="{ACE9DADC-68B2-7C80-A77D-A205538CB6A7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3640" t="66450" r="36803" b="16652"/>
          <a:stretch/>
        </p:blipFill>
        <p:spPr>
          <a:xfrm>
            <a:off x="2147830" y="1118928"/>
            <a:ext cx="1165225" cy="1158875"/>
          </a:xfrm>
          <a:prstGeom prst="ellipse">
            <a:avLst/>
          </a:prstGeom>
          <a:ln w="6350">
            <a:solidFill>
              <a:srgbClr val="0052DB"/>
            </a:solidFill>
          </a:ln>
        </p:spPr>
      </p:pic>
      <p:pic>
        <p:nvPicPr>
          <p:cNvPr id="78" name="Picture 77" descr="Diagram&#10;&#10;Description automatically generated">
            <a:extLst>
              <a:ext uri="{FF2B5EF4-FFF2-40B4-BE49-F238E27FC236}">
                <a16:creationId xmlns:a16="http://schemas.microsoft.com/office/drawing/2014/main" id="{FC6C63D8-3A34-E597-6F43-244559DBBA4D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052" t="6856" r="46568" b="76695"/>
          <a:stretch/>
        </p:blipFill>
        <p:spPr>
          <a:xfrm>
            <a:off x="3386108" y="2852345"/>
            <a:ext cx="1165226" cy="1158876"/>
          </a:xfrm>
          <a:custGeom>
            <a:avLst/>
            <a:gdLst>
              <a:gd name="connsiteX0" fmla="*/ 582613 w 1165226"/>
              <a:gd name="connsiteY0" fmla="*/ 0 h 1158876"/>
              <a:gd name="connsiteX1" fmla="*/ 1165226 w 1165226"/>
              <a:gd name="connsiteY1" fmla="*/ 579438 h 1158876"/>
              <a:gd name="connsiteX2" fmla="*/ 582613 w 1165226"/>
              <a:gd name="connsiteY2" fmla="*/ 1158876 h 1158876"/>
              <a:gd name="connsiteX3" fmla="*/ 0 w 1165226"/>
              <a:gd name="connsiteY3" fmla="*/ 579438 h 1158876"/>
              <a:gd name="connsiteX4" fmla="*/ 582613 w 1165226"/>
              <a:gd name="connsiteY4" fmla="*/ 0 h 1158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5226" h="1158876">
                <a:moveTo>
                  <a:pt x="582613" y="0"/>
                </a:moveTo>
                <a:cubicBezTo>
                  <a:pt x="904381" y="0"/>
                  <a:pt x="1165226" y="259423"/>
                  <a:pt x="1165226" y="579438"/>
                </a:cubicBezTo>
                <a:cubicBezTo>
                  <a:pt x="1165226" y="899453"/>
                  <a:pt x="904381" y="1158876"/>
                  <a:pt x="582613" y="1158876"/>
                </a:cubicBezTo>
                <a:cubicBezTo>
                  <a:pt x="260845" y="1158876"/>
                  <a:pt x="0" y="899453"/>
                  <a:pt x="0" y="579438"/>
                </a:cubicBezTo>
                <a:cubicBezTo>
                  <a:pt x="0" y="259423"/>
                  <a:pt x="260845" y="0"/>
                  <a:pt x="582613" y="0"/>
                </a:cubicBezTo>
                <a:close/>
              </a:path>
            </a:pathLst>
          </a:custGeom>
          <a:ln w="6350">
            <a:solidFill>
              <a:srgbClr val="0052DB"/>
            </a:solidFill>
          </a:ln>
        </p:spPr>
      </p:pic>
      <p:pic>
        <p:nvPicPr>
          <p:cNvPr id="82" name="Picture 81" descr="Diagram&#10;&#10;Description automatically generated">
            <a:extLst>
              <a:ext uri="{FF2B5EF4-FFF2-40B4-BE49-F238E27FC236}">
                <a16:creationId xmlns:a16="http://schemas.microsoft.com/office/drawing/2014/main" id="{285283DA-4C4F-5E76-FEDB-E7FBE5C82183}"/>
              </a:ext>
            </a:extLst>
          </p:cNvPr>
          <p:cNvPicPr>
            <a:picLocks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835" t="47039" r="60810" b="36449"/>
          <a:stretch/>
        </p:blipFill>
        <p:spPr>
          <a:xfrm>
            <a:off x="7695970" y="2871016"/>
            <a:ext cx="1165226" cy="1158876"/>
          </a:xfrm>
          <a:custGeom>
            <a:avLst/>
            <a:gdLst>
              <a:gd name="connsiteX0" fmla="*/ 582613 w 1165226"/>
              <a:gd name="connsiteY0" fmla="*/ 0 h 1158876"/>
              <a:gd name="connsiteX1" fmla="*/ 1165226 w 1165226"/>
              <a:gd name="connsiteY1" fmla="*/ 579438 h 1158876"/>
              <a:gd name="connsiteX2" fmla="*/ 582613 w 1165226"/>
              <a:gd name="connsiteY2" fmla="*/ 1158876 h 1158876"/>
              <a:gd name="connsiteX3" fmla="*/ 0 w 1165226"/>
              <a:gd name="connsiteY3" fmla="*/ 579438 h 1158876"/>
              <a:gd name="connsiteX4" fmla="*/ 582613 w 1165226"/>
              <a:gd name="connsiteY4" fmla="*/ 0 h 11588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65226" h="1158876">
                <a:moveTo>
                  <a:pt x="582613" y="0"/>
                </a:moveTo>
                <a:cubicBezTo>
                  <a:pt x="904381" y="0"/>
                  <a:pt x="1165226" y="259423"/>
                  <a:pt x="1165226" y="579438"/>
                </a:cubicBezTo>
                <a:cubicBezTo>
                  <a:pt x="1165226" y="899453"/>
                  <a:pt x="904381" y="1158876"/>
                  <a:pt x="582613" y="1158876"/>
                </a:cubicBezTo>
                <a:cubicBezTo>
                  <a:pt x="260845" y="1158876"/>
                  <a:pt x="0" y="899453"/>
                  <a:pt x="0" y="579438"/>
                </a:cubicBezTo>
                <a:cubicBezTo>
                  <a:pt x="0" y="259423"/>
                  <a:pt x="260845" y="0"/>
                  <a:pt x="582613" y="0"/>
                </a:cubicBezTo>
                <a:close/>
              </a:path>
            </a:pathLst>
          </a:custGeom>
          <a:ln w="6350">
            <a:solidFill>
              <a:srgbClr val="0052DB"/>
            </a:solidFill>
          </a:ln>
        </p:spPr>
      </p:pic>
      <p:pic>
        <p:nvPicPr>
          <p:cNvPr id="56" name="Picture 55" descr="Diagram&#10;&#10;Description automatically generated">
            <a:extLst>
              <a:ext uri="{FF2B5EF4-FFF2-40B4-BE49-F238E27FC236}">
                <a16:creationId xmlns:a16="http://schemas.microsoft.com/office/drawing/2014/main" id="{644B56C6-3BCC-8E9E-BD06-5DD477A1F57A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4810" y="408439"/>
            <a:ext cx="2433433" cy="243343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EEE7F25-186A-9868-526F-8B9D7C91F9EE}"/>
              </a:ext>
            </a:extLst>
          </p:cNvPr>
          <p:cNvSpPr txBox="1"/>
          <p:nvPr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ea typeface="+mj-ea"/>
                <a:cs typeface="+mj-cs"/>
              </a:rPr>
              <a:pPr algn="r"/>
              <a:t>2</a:t>
            </a:fld>
            <a:endParaRPr lang="en-US" sz="700" spc="300">
              <a:solidFill>
                <a:schemeClr val="accent5"/>
              </a:solidFill>
              <a:ea typeface="+mj-ea"/>
              <a:cs typeface="+mj-cs"/>
            </a:endParaRP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46772CE7-DDBC-2727-324E-CCB0481B6387}"/>
              </a:ext>
            </a:extLst>
          </p:cNvPr>
          <p:cNvSpPr/>
          <p:nvPr/>
        </p:nvSpPr>
        <p:spPr>
          <a:xfrm>
            <a:off x="11579640" y="5530709"/>
            <a:ext cx="302631" cy="302596"/>
          </a:xfrm>
          <a:custGeom>
            <a:avLst/>
            <a:gdLst>
              <a:gd name="connsiteX0" fmla="*/ 0 w 292642"/>
              <a:gd name="connsiteY0" fmla="*/ 165316 h 292608"/>
              <a:gd name="connsiteX1" fmla="*/ 0 w 292642"/>
              <a:gd name="connsiteY1" fmla="*/ 127257 h 292608"/>
              <a:gd name="connsiteX2" fmla="*/ 18279 w 292642"/>
              <a:gd name="connsiteY2" fmla="*/ 108978 h 292608"/>
              <a:gd name="connsiteX3" fmla="*/ 109013 w 292642"/>
              <a:gd name="connsiteY3" fmla="*/ 108978 h 292608"/>
              <a:gd name="connsiteX4" fmla="*/ 109013 w 292642"/>
              <a:gd name="connsiteY4" fmla="*/ 18279 h 292608"/>
              <a:gd name="connsiteX5" fmla="*/ 127292 w 292642"/>
              <a:gd name="connsiteY5" fmla="*/ 0 h 292608"/>
              <a:gd name="connsiteX6" fmla="*/ 165351 w 292642"/>
              <a:gd name="connsiteY6" fmla="*/ 0 h 292608"/>
              <a:gd name="connsiteX7" fmla="*/ 183630 w 292642"/>
              <a:gd name="connsiteY7" fmla="*/ 18279 h 292608"/>
              <a:gd name="connsiteX8" fmla="*/ 183630 w 292642"/>
              <a:gd name="connsiteY8" fmla="*/ 108978 h 292608"/>
              <a:gd name="connsiteX9" fmla="*/ 274364 w 292642"/>
              <a:gd name="connsiteY9" fmla="*/ 108978 h 292608"/>
              <a:gd name="connsiteX10" fmla="*/ 292643 w 292642"/>
              <a:gd name="connsiteY10" fmla="*/ 127257 h 292608"/>
              <a:gd name="connsiteX11" fmla="*/ 292643 w 292642"/>
              <a:gd name="connsiteY11" fmla="*/ 165316 h 292608"/>
              <a:gd name="connsiteX12" fmla="*/ 274364 w 292642"/>
              <a:gd name="connsiteY12" fmla="*/ 183595 h 292608"/>
              <a:gd name="connsiteX13" fmla="*/ 183630 w 292642"/>
              <a:gd name="connsiteY13" fmla="*/ 183595 h 292608"/>
              <a:gd name="connsiteX14" fmla="*/ 183630 w 292642"/>
              <a:gd name="connsiteY14" fmla="*/ 274329 h 292608"/>
              <a:gd name="connsiteX15" fmla="*/ 165351 w 292642"/>
              <a:gd name="connsiteY15" fmla="*/ 292608 h 292608"/>
              <a:gd name="connsiteX16" fmla="*/ 127292 w 292642"/>
              <a:gd name="connsiteY16" fmla="*/ 292608 h 292608"/>
              <a:gd name="connsiteX17" fmla="*/ 109013 w 292642"/>
              <a:gd name="connsiteY17" fmla="*/ 274329 h 292608"/>
              <a:gd name="connsiteX18" fmla="*/ 109013 w 292642"/>
              <a:gd name="connsiteY18" fmla="*/ 183595 h 292608"/>
              <a:gd name="connsiteX19" fmla="*/ 18279 w 292642"/>
              <a:gd name="connsiteY19" fmla="*/ 183595 h 292608"/>
              <a:gd name="connsiteX20" fmla="*/ 0 w 292642"/>
              <a:gd name="connsiteY20" fmla="*/ 165316 h 292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92642" h="292608">
                <a:moveTo>
                  <a:pt x="0" y="165316"/>
                </a:moveTo>
                <a:lnTo>
                  <a:pt x="0" y="127257"/>
                </a:lnTo>
                <a:cubicBezTo>
                  <a:pt x="0" y="117211"/>
                  <a:pt x="8233" y="108978"/>
                  <a:pt x="18279" y="108978"/>
                </a:cubicBezTo>
                <a:lnTo>
                  <a:pt x="109013" y="108978"/>
                </a:lnTo>
                <a:lnTo>
                  <a:pt x="109013" y="18279"/>
                </a:lnTo>
                <a:cubicBezTo>
                  <a:pt x="109013" y="8233"/>
                  <a:pt x="117245" y="0"/>
                  <a:pt x="127292" y="0"/>
                </a:cubicBezTo>
                <a:lnTo>
                  <a:pt x="165351" y="0"/>
                </a:lnTo>
                <a:cubicBezTo>
                  <a:pt x="175397" y="0"/>
                  <a:pt x="183630" y="8233"/>
                  <a:pt x="183630" y="18279"/>
                </a:cubicBezTo>
                <a:lnTo>
                  <a:pt x="183630" y="108978"/>
                </a:lnTo>
                <a:lnTo>
                  <a:pt x="274364" y="108978"/>
                </a:lnTo>
                <a:cubicBezTo>
                  <a:pt x="284410" y="108978"/>
                  <a:pt x="292643" y="117211"/>
                  <a:pt x="292643" y="127257"/>
                </a:cubicBezTo>
                <a:lnTo>
                  <a:pt x="292643" y="165316"/>
                </a:lnTo>
                <a:cubicBezTo>
                  <a:pt x="292643" y="175363"/>
                  <a:pt x="284410" y="183595"/>
                  <a:pt x="274364" y="183595"/>
                </a:cubicBezTo>
                <a:lnTo>
                  <a:pt x="183630" y="183595"/>
                </a:lnTo>
                <a:lnTo>
                  <a:pt x="183630" y="274329"/>
                </a:lnTo>
                <a:cubicBezTo>
                  <a:pt x="183630" y="284375"/>
                  <a:pt x="175397" y="292608"/>
                  <a:pt x="165351" y="292608"/>
                </a:cubicBezTo>
                <a:lnTo>
                  <a:pt x="127292" y="292608"/>
                </a:lnTo>
                <a:cubicBezTo>
                  <a:pt x="117245" y="292608"/>
                  <a:pt x="109013" y="284375"/>
                  <a:pt x="109013" y="274329"/>
                </a:cubicBezTo>
                <a:lnTo>
                  <a:pt x="109013" y="183595"/>
                </a:lnTo>
                <a:lnTo>
                  <a:pt x="18279" y="183595"/>
                </a:lnTo>
                <a:cubicBezTo>
                  <a:pt x="8233" y="183595"/>
                  <a:pt x="0" y="175363"/>
                  <a:pt x="0" y="165316"/>
                </a:cubicBezTo>
              </a:path>
            </a:pathLst>
          </a:custGeom>
          <a:solidFill>
            <a:srgbClr val="8EDC43"/>
          </a:solidFill>
          <a:ln w="3488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20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5998365-1EF9-29F5-AE0F-53E4C867F86A}"/>
              </a:ext>
            </a:extLst>
          </p:cNvPr>
          <p:cNvSpPr/>
          <p:nvPr/>
        </p:nvSpPr>
        <p:spPr>
          <a:xfrm>
            <a:off x="10021433" y="1371597"/>
            <a:ext cx="2117557" cy="2142288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81007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02AA930-445C-4DCA-8F4A-04F20C34B9D8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092188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45" name="Graphic 144">
            <a:extLst>
              <a:ext uri="{FF2B5EF4-FFF2-40B4-BE49-F238E27FC236}">
                <a16:creationId xmlns:a16="http://schemas.microsoft.com/office/drawing/2014/main" id="{0CC80A27-B290-E796-658D-8DA915287B7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alphaModFix amt="18000"/>
            <a:duotone>
              <a:prstClr val="black"/>
              <a:schemeClr val="accent6">
                <a:tint val="45000"/>
                <a:satMod val="400000"/>
              </a:schemeClr>
            </a:duotone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15575" t="46096" r="46613" b="5991"/>
          <a:stretch/>
        </p:blipFill>
        <p:spPr>
          <a:xfrm rot="16200000" flipH="1">
            <a:off x="503087" y="2588575"/>
            <a:ext cx="3766339" cy="4772512"/>
          </a:xfrm>
          <a:custGeom>
            <a:avLst/>
            <a:gdLst>
              <a:gd name="connsiteX0" fmla="*/ 0 w 3766339"/>
              <a:gd name="connsiteY0" fmla="*/ 4772512 h 4772512"/>
              <a:gd name="connsiteX1" fmla="*/ 0 w 3766339"/>
              <a:gd name="connsiteY1" fmla="*/ 0 h 4772512"/>
              <a:gd name="connsiteX2" fmla="*/ 3766339 w 3766339"/>
              <a:gd name="connsiteY2" fmla="*/ 0 h 4772512"/>
              <a:gd name="connsiteX3" fmla="*/ 3766338 w 3766339"/>
              <a:gd name="connsiteY3" fmla="*/ 4772512 h 4772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66339" h="4772512">
                <a:moveTo>
                  <a:pt x="0" y="4772512"/>
                </a:moveTo>
                <a:lnTo>
                  <a:pt x="0" y="0"/>
                </a:lnTo>
                <a:lnTo>
                  <a:pt x="3766339" y="0"/>
                </a:lnTo>
                <a:lnTo>
                  <a:pt x="3766338" y="4772512"/>
                </a:lnTo>
                <a:close/>
              </a:path>
            </a:pathLst>
          </a:custGeom>
        </p:spPr>
      </p:pic>
      <p:sp>
        <p:nvSpPr>
          <p:cNvPr id="2" name="Freeform: Shape 1">
            <a:extLst>
              <a:ext uri="{FF2B5EF4-FFF2-40B4-BE49-F238E27FC236}">
                <a16:creationId xmlns:a16="http://schemas.microsoft.com/office/drawing/2014/main" id="{F21856D7-CA0E-5B01-55B3-9861AB93F39A}"/>
              </a:ext>
            </a:extLst>
          </p:cNvPr>
          <p:cNvSpPr>
            <a:spLocks/>
          </p:cNvSpPr>
          <p:nvPr/>
        </p:nvSpPr>
        <p:spPr>
          <a:xfrm>
            <a:off x="393701" y="1648075"/>
            <a:ext cx="6942545" cy="4931319"/>
          </a:xfrm>
          <a:custGeom>
            <a:avLst/>
            <a:gdLst>
              <a:gd name="connsiteX0" fmla="*/ 163749 w 6942545"/>
              <a:gd name="connsiteY0" fmla="*/ 0 h 4931319"/>
              <a:gd name="connsiteX1" fmla="*/ 163749 w 6942545"/>
              <a:gd name="connsiteY1" fmla="*/ 2295550 h 4931319"/>
              <a:gd name="connsiteX2" fmla="*/ 430868 w 6942545"/>
              <a:gd name="connsiteY2" fmla="*/ 2561974 h 4931319"/>
              <a:gd name="connsiteX3" fmla="*/ 6571235 w 6942545"/>
              <a:gd name="connsiteY3" fmla="*/ 2551713 h 4931319"/>
              <a:gd name="connsiteX4" fmla="*/ 6824238 w 6942545"/>
              <a:gd name="connsiteY4" fmla="*/ 2794532 h 4931319"/>
              <a:gd name="connsiteX5" fmla="*/ 6819463 w 6942545"/>
              <a:gd name="connsiteY5" fmla="*/ 4722672 h 4931319"/>
              <a:gd name="connsiteX6" fmla="*/ 6809579 w 6942545"/>
              <a:gd name="connsiteY6" fmla="*/ 4722672 h 4931319"/>
              <a:gd name="connsiteX7" fmla="*/ 6809579 w 6942545"/>
              <a:gd name="connsiteY7" fmla="*/ 4775818 h 4931319"/>
              <a:gd name="connsiteX8" fmla="*/ 6942545 w 6942545"/>
              <a:gd name="connsiteY8" fmla="*/ 4775818 h 4931319"/>
              <a:gd name="connsiteX9" fmla="*/ 6942545 w 6942545"/>
              <a:gd name="connsiteY9" fmla="*/ 4931319 h 4931319"/>
              <a:gd name="connsiteX10" fmla="*/ 6816544 w 6942545"/>
              <a:gd name="connsiteY10" fmla="*/ 4931319 h 4931319"/>
              <a:gd name="connsiteX11" fmla="*/ 6807850 w 6942545"/>
              <a:gd name="connsiteY11" fmla="*/ 4903313 h 4931319"/>
              <a:gd name="connsiteX12" fmla="*/ 6536271 w 6942545"/>
              <a:gd name="connsiteY12" fmla="*/ 4723298 h 4931319"/>
              <a:gd name="connsiteX13" fmla="*/ 6432548 w 6942545"/>
              <a:gd name="connsiteY13" fmla="*/ 4723298 h 4931319"/>
              <a:gd name="connsiteX14" fmla="*/ 6432548 w 6942545"/>
              <a:gd name="connsiteY14" fmla="*/ 4722879 h 4931319"/>
              <a:gd name="connsiteX15" fmla="*/ 6234150 w 6942545"/>
              <a:gd name="connsiteY15" fmla="*/ 4723210 h 4931319"/>
              <a:gd name="connsiteX16" fmla="*/ 6234150 w 6942545"/>
              <a:gd name="connsiteY16" fmla="*/ 4722672 h 4931319"/>
              <a:gd name="connsiteX17" fmla="*/ 5095974 w 6942545"/>
              <a:gd name="connsiteY17" fmla="*/ 4722672 h 4931319"/>
              <a:gd name="connsiteX18" fmla="*/ 5065346 w 6942545"/>
              <a:gd name="connsiteY18" fmla="*/ 4722672 h 4931319"/>
              <a:gd name="connsiteX19" fmla="*/ 4763334 w 6942545"/>
              <a:gd name="connsiteY19" fmla="*/ 4534110 h 4931319"/>
              <a:gd name="connsiteX20" fmla="*/ 4732355 w 6942545"/>
              <a:gd name="connsiteY20" fmla="*/ 4497304 h 4931319"/>
              <a:gd name="connsiteX21" fmla="*/ 4466411 w 6942545"/>
              <a:gd name="connsiteY21" fmla="*/ 4371725 h 4931319"/>
              <a:gd name="connsiteX22" fmla="*/ 1131645 w 6942545"/>
              <a:gd name="connsiteY22" fmla="*/ 4371725 h 4931319"/>
              <a:gd name="connsiteX23" fmla="*/ 665956 w 6942545"/>
              <a:gd name="connsiteY23" fmla="*/ 4371725 h 4931319"/>
              <a:gd name="connsiteX24" fmla="*/ 561905 w 6942545"/>
              <a:gd name="connsiteY24" fmla="*/ 4371725 h 4931319"/>
              <a:gd name="connsiteX25" fmla="*/ 373094 w 6942545"/>
              <a:gd name="connsiteY25" fmla="*/ 4183405 h 4931319"/>
              <a:gd name="connsiteX26" fmla="*/ 373094 w 6942545"/>
              <a:gd name="connsiteY26" fmla="*/ 4121365 h 4931319"/>
              <a:gd name="connsiteX27" fmla="*/ 373094 w 6942545"/>
              <a:gd name="connsiteY27" fmla="*/ 3750170 h 4931319"/>
              <a:gd name="connsiteX28" fmla="*/ 373094 w 6942545"/>
              <a:gd name="connsiteY28" fmla="*/ 3102518 h 4931319"/>
              <a:gd name="connsiteX29" fmla="*/ 219967 w 6942545"/>
              <a:gd name="connsiteY29" fmla="*/ 2768334 h 4931319"/>
              <a:gd name="connsiteX30" fmla="*/ 181016 w 6942545"/>
              <a:gd name="connsiteY30" fmla="*/ 2740009 h 4931319"/>
              <a:gd name="connsiteX31" fmla="*/ 181016 w 6942545"/>
              <a:gd name="connsiteY31" fmla="*/ 2735531 h 4931319"/>
              <a:gd name="connsiteX32" fmla="*/ 177538 w 6942545"/>
              <a:gd name="connsiteY32" fmla="*/ 2734454 h 4931319"/>
              <a:gd name="connsiteX33" fmla="*/ 0 w 6942545"/>
              <a:gd name="connsiteY33" fmla="*/ 2467308 h 4931319"/>
              <a:gd name="connsiteX34" fmla="*/ 0 w 6942545"/>
              <a:gd name="connsiteY34" fmla="*/ 259681 h 4931319"/>
              <a:gd name="connsiteX35" fmla="*/ 128161 w 6942545"/>
              <a:gd name="connsiteY35" fmla="*/ 19267 h 49313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6942545" h="4931319">
                <a:moveTo>
                  <a:pt x="163749" y="0"/>
                </a:moveTo>
                <a:lnTo>
                  <a:pt x="163749" y="2295550"/>
                </a:lnTo>
                <a:cubicBezTo>
                  <a:pt x="163749" y="2442692"/>
                  <a:pt x="283342" y="2561974"/>
                  <a:pt x="430868" y="2561974"/>
                </a:cubicBezTo>
                <a:lnTo>
                  <a:pt x="6571235" y="2551713"/>
                </a:lnTo>
                <a:cubicBezTo>
                  <a:pt x="6710965" y="2551713"/>
                  <a:pt x="6824238" y="2655166"/>
                  <a:pt x="6824238" y="2794532"/>
                </a:cubicBezTo>
                <a:cubicBezTo>
                  <a:pt x="6822646" y="3437245"/>
                  <a:pt x="6821055" y="4079959"/>
                  <a:pt x="6819463" y="4722672"/>
                </a:cubicBezTo>
                <a:lnTo>
                  <a:pt x="6809579" y="4722672"/>
                </a:lnTo>
                <a:lnTo>
                  <a:pt x="6809579" y="4775818"/>
                </a:lnTo>
                <a:lnTo>
                  <a:pt x="6942545" y="4775818"/>
                </a:lnTo>
                <a:lnTo>
                  <a:pt x="6942545" y="4931319"/>
                </a:lnTo>
                <a:lnTo>
                  <a:pt x="6816544" y="4931319"/>
                </a:lnTo>
                <a:lnTo>
                  <a:pt x="6807850" y="4903313"/>
                </a:lnTo>
                <a:cubicBezTo>
                  <a:pt x="6763106" y="4797526"/>
                  <a:pt x="6658357" y="4723298"/>
                  <a:pt x="6536271" y="4723298"/>
                </a:cubicBezTo>
                <a:lnTo>
                  <a:pt x="6432548" y="4723298"/>
                </a:lnTo>
                <a:lnTo>
                  <a:pt x="6432548" y="4722879"/>
                </a:lnTo>
                <a:lnTo>
                  <a:pt x="6234150" y="4723210"/>
                </a:lnTo>
                <a:lnTo>
                  <a:pt x="6234150" y="4722672"/>
                </a:lnTo>
                <a:lnTo>
                  <a:pt x="5095974" y="4722672"/>
                </a:lnTo>
                <a:lnTo>
                  <a:pt x="5065346" y="4722672"/>
                </a:lnTo>
                <a:cubicBezTo>
                  <a:pt x="4930652" y="4722672"/>
                  <a:pt x="4848511" y="4643374"/>
                  <a:pt x="4763334" y="4534110"/>
                </a:cubicBezTo>
                <a:lnTo>
                  <a:pt x="4732355" y="4497304"/>
                </a:lnTo>
                <a:cubicBezTo>
                  <a:pt x="4665550" y="4420383"/>
                  <a:pt x="4576453" y="4371725"/>
                  <a:pt x="4466411" y="4371725"/>
                </a:cubicBezTo>
                <a:lnTo>
                  <a:pt x="1131645" y="4371725"/>
                </a:lnTo>
                <a:lnTo>
                  <a:pt x="665956" y="4371725"/>
                </a:lnTo>
                <a:lnTo>
                  <a:pt x="561905" y="4371725"/>
                </a:lnTo>
                <a:cubicBezTo>
                  <a:pt x="457628" y="4371725"/>
                  <a:pt x="373094" y="4287411"/>
                  <a:pt x="373094" y="4183405"/>
                </a:cubicBezTo>
                <a:lnTo>
                  <a:pt x="373094" y="4121365"/>
                </a:lnTo>
                <a:lnTo>
                  <a:pt x="373094" y="3750170"/>
                </a:lnTo>
                <a:lnTo>
                  <a:pt x="373094" y="3102518"/>
                </a:lnTo>
                <a:cubicBezTo>
                  <a:pt x="373094" y="2969034"/>
                  <a:pt x="313762" y="2849371"/>
                  <a:pt x="219967" y="2768334"/>
                </a:cubicBezTo>
                <a:lnTo>
                  <a:pt x="181016" y="2740009"/>
                </a:lnTo>
                <a:lnTo>
                  <a:pt x="181016" y="2735531"/>
                </a:lnTo>
                <a:lnTo>
                  <a:pt x="177538" y="2734454"/>
                </a:lnTo>
                <a:cubicBezTo>
                  <a:pt x="73207" y="2690440"/>
                  <a:pt x="0" y="2587401"/>
                  <a:pt x="0" y="2467308"/>
                </a:cubicBezTo>
                <a:lnTo>
                  <a:pt x="0" y="259681"/>
                </a:lnTo>
                <a:cubicBezTo>
                  <a:pt x="0" y="159604"/>
                  <a:pt x="50838" y="71369"/>
                  <a:pt x="128161" y="19267"/>
                </a:cubicBezTo>
                <a:close/>
              </a:path>
            </a:pathLst>
          </a:cu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A689F94-C592-AF23-1A6E-38F918D34C0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689F94-C592-AF23-1A6E-38F918D34C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9">
            <a:extLst>
              <a:ext uri="{FF2B5EF4-FFF2-40B4-BE49-F238E27FC236}">
                <a16:creationId xmlns:a16="http://schemas.microsoft.com/office/drawing/2014/main" id="{35D45FB3-657E-994C-4ECA-979C4F67C766}"/>
              </a:ext>
            </a:extLst>
          </p:cNvPr>
          <p:cNvSpPr txBox="1">
            <a:spLocks/>
          </p:cNvSpPr>
          <p:nvPr/>
        </p:nvSpPr>
        <p:spPr>
          <a:xfrm>
            <a:off x="1474369" y="280761"/>
            <a:ext cx="10985500" cy="622300"/>
          </a:xfrm>
          <a:prstGeom prst="rect">
            <a:avLst/>
          </a:prstGeom>
        </p:spPr>
        <p:txBody>
          <a:bodyPr vert="horz" lIns="0" tIns="0" rIns="0" bIns="0" anchor="ctr"/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200" b="1" spc="-2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-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RECYCLING BINS</a:t>
            </a:r>
            <a:endParaRPr kumimoji="0" lang="en-GB" sz="3200" b="1" i="0" u="none" strike="noStrike" kern="1200" cap="none" spc="-2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sp>
        <p:nvSpPr>
          <p:cNvPr id="39" name="Freeform: Shape 38">
            <a:extLst>
              <a:ext uri="{FF2B5EF4-FFF2-40B4-BE49-F238E27FC236}">
                <a16:creationId xmlns:a16="http://schemas.microsoft.com/office/drawing/2014/main" id="{BF929238-A39D-7C6C-48AA-287CF06ECCBE}"/>
              </a:ext>
            </a:extLst>
          </p:cNvPr>
          <p:cNvSpPr/>
          <p:nvPr/>
        </p:nvSpPr>
        <p:spPr>
          <a:xfrm>
            <a:off x="565900" y="1125726"/>
            <a:ext cx="11626101" cy="5554474"/>
          </a:xfrm>
          <a:custGeom>
            <a:avLst/>
            <a:gdLst>
              <a:gd name="connsiteX0" fmla="*/ 266424 w 11626101"/>
              <a:gd name="connsiteY0" fmla="*/ 0 h 5554474"/>
              <a:gd name="connsiteX1" fmla="*/ 6273052 w 11626101"/>
              <a:gd name="connsiteY1" fmla="*/ 0 h 5554474"/>
              <a:gd name="connsiteX2" fmla="*/ 10654942 w 11626101"/>
              <a:gd name="connsiteY2" fmla="*/ 0 h 5554474"/>
              <a:gd name="connsiteX3" fmla="*/ 11626101 w 11626101"/>
              <a:gd name="connsiteY3" fmla="*/ 0 h 5554474"/>
              <a:gd name="connsiteX4" fmla="*/ 11626101 w 11626101"/>
              <a:gd name="connsiteY4" fmla="*/ 5097275 h 5554474"/>
              <a:gd name="connsiteX5" fmla="*/ 11626101 w 11626101"/>
              <a:gd name="connsiteY5" fmla="*/ 5275075 h 5554474"/>
              <a:gd name="connsiteX6" fmla="*/ 11626101 w 11626101"/>
              <a:gd name="connsiteY6" fmla="*/ 5554474 h 5554474"/>
              <a:gd name="connsiteX7" fmla="*/ 6857106 w 11626101"/>
              <a:gd name="connsiteY7" fmla="*/ 5554474 h 5554474"/>
              <a:gd name="connsiteX8" fmla="*/ 6646471 w 11626101"/>
              <a:gd name="connsiteY8" fmla="*/ 5414856 h 5554474"/>
              <a:gd name="connsiteX9" fmla="*/ 6638399 w 11626101"/>
              <a:gd name="connsiteY9" fmla="*/ 5374876 h 5554474"/>
              <a:gd name="connsiteX10" fmla="*/ 6638399 w 11626101"/>
              <a:gd name="connsiteY10" fmla="*/ 5097275 h 5554474"/>
              <a:gd name="connsiteX11" fmla="*/ 6638399 w 11626101"/>
              <a:gd name="connsiteY11" fmla="*/ 3917610 h 5554474"/>
              <a:gd name="connsiteX12" fmla="*/ 6642144 w 11626101"/>
              <a:gd name="connsiteY12" fmla="*/ 3917610 h 5554474"/>
              <a:gd name="connsiteX13" fmla="*/ 6642144 w 11626101"/>
              <a:gd name="connsiteY13" fmla="*/ 3669478 h 5554474"/>
              <a:gd name="connsiteX14" fmla="*/ 6642144 w 11626101"/>
              <a:gd name="connsiteY14" fmla="*/ 3587676 h 5554474"/>
              <a:gd name="connsiteX15" fmla="*/ 6642144 w 11626101"/>
              <a:gd name="connsiteY15" fmla="*/ 3324617 h 5554474"/>
              <a:gd name="connsiteX16" fmla="*/ 6394012 w 11626101"/>
              <a:gd name="connsiteY16" fmla="*/ 3076485 h 5554474"/>
              <a:gd name="connsiteX17" fmla="*/ 5061902 w 11626101"/>
              <a:gd name="connsiteY17" fmla="*/ 3076485 h 5554474"/>
              <a:gd name="connsiteX18" fmla="*/ 1058545 w 11626101"/>
              <a:gd name="connsiteY18" fmla="*/ 3076485 h 5554474"/>
              <a:gd name="connsiteX19" fmla="*/ 810413 w 11626101"/>
              <a:gd name="connsiteY19" fmla="*/ 3076485 h 5554474"/>
              <a:gd name="connsiteX20" fmla="*/ 810413 w 11626101"/>
              <a:gd name="connsiteY20" fmla="*/ 3084323 h 5554474"/>
              <a:gd name="connsiteX21" fmla="*/ 275825 w 11626101"/>
              <a:gd name="connsiteY21" fmla="*/ 3084323 h 5554474"/>
              <a:gd name="connsiteX22" fmla="*/ 266424 w 11626101"/>
              <a:gd name="connsiteY22" fmla="*/ 3084323 h 5554474"/>
              <a:gd name="connsiteX23" fmla="*/ 0 w 11626101"/>
              <a:gd name="connsiteY23" fmla="*/ 2817899 h 5554474"/>
              <a:gd name="connsiteX24" fmla="*/ 0 w 11626101"/>
              <a:gd name="connsiteY24" fmla="*/ 957777 h 5554474"/>
              <a:gd name="connsiteX25" fmla="*/ 0 w 11626101"/>
              <a:gd name="connsiteY25" fmla="*/ 266424 h 5554474"/>
              <a:gd name="connsiteX26" fmla="*/ 266424 w 11626101"/>
              <a:gd name="connsiteY26" fmla="*/ 0 h 5554474"/>
              <a:gd name="connsiteX0" fmla="*/ 266424 w 11626101"/>
              <a:gd name="connsiteY0" fmla="*/ 0 h 5554474"/>
              <a:gd name="connsiteX1" fmla="*/ 6273052 w 11626101"/>
              <a:gd name="connsiteY1" fmla="*/ 0 h 5554474"/>
              <a:gd name="connsiteX2" fmla="*/ 10654942 w 11626101"/>
              <a:gd name="connsiteY2" fmla="*/ 0 h 5554474"/>
              <a:gd name="connsiteX3" fmla="*/ 11626101 w 11626101"/>
              <a:gd name="connsiteY3" fmla="*/ 0 h 5554474"/>
              <a:gd name="connsiteX4" fmla="*/ 11626101 w 11626101"/>
              <a:gd name="connsiteY4" fmla="*/ 5097275 h 5554474"/>
              <a:gd name="connsiteX5" fmla="*/ 11626101 w 11626101"/>
              <a:gd name="connsiteY5" fmla="*/ 5275075 h 5554474"/>
              <a:gd name="connsiteX6" fmla="*/ 11626101 w 11626101"/>
              <a:gd name="connsiteY6" fmla="*/ 5554474 h 5554474"/>
              <a:gd name="connsiteX7" fmla="*/ 6857106 w 11626101"/>
              <a:gd name="connsiteY7" fmla="*/ 5554474 h 5554474"/>
              <a:gd name="connsiteX8" fmla="*/ 6646471 w 11626101"/>
              <a:gd name="connsiteY8" fmla="*/ 5414856 h 5554474"/>
              <a:gd name="connsiteX9" fmla="*/ 6638399 w 11626101"/>
              <a:gd name="connsiteY9" fmla="*/ 5374876 h 5554474"/>
              <a:gd name="connsiteX10" fmla="*/ 6638399 w 11626101"/>
              <a:gd name="connsiteY10" fmla="*/ 5097275 h 5554474"/>
              <a:gd name="connsiteX11" fmla="*/ 6638399 w 11626101"/>
              <a:gd name="connsiteY11" fmla="*/ 3917610 h 5554474"/>
              <a:gd name="connsiteX12" fmla="*/ 6642144 w 11626101"/>
              <a:gd name="connsiteY12" fmla="*/ 3917610 h 5554474"/>
              <a:gd name="connsiteX13" fmla="*/ 6642144 w 11626101"/>
              <a:gd name="connsiteY13" fmla="*/ 3669478 h 5554474"/>
              <a:gd name="connsiteX14" fmla="*/ 6642144 w 11626101"/>
              <a:gd name="connsiteY14" fmla="*/ 3587676 h 5554474"/>
              <a:gd name="connsiteX15" fmla="*/ 6642144 w 11626101"/>
              <a:gd name="connsiteY15" fmla="*/ 3324617 h 5554474"/>
              <a:gd name="connsiteX16" fmla="*/ 6394012 w 11626101"/>
              <a:gd name="connsiteY16" fmla="*/ 3076485 h 5554474"/>
              <a:gd name="connsiteX17" fmla="*/ 5061902 w 11626101"/>
              <a:gd name="connsiteY17" fmla="*/ 3076485 h 5554474"/>
              <a:gd name="connsiteX18" fmla="*/ 1058545 w 11626101"/>
              <a:gd name="connsiteY18" fmla="*/ 3076485 h 5554474"/>
              <a:gd name="connsiteX19" fmla="*/ 810413 w 11626101"/>
              <a:gd name="connsiteY19" fmla="*/ 3076485 h 5554474"/>
              <a:gd name="connsiteX20" fmla="*/ 275825 w 11626101"/>
              <a:gd name="connsiteY20" fmla="*/ 3084323 h 5554474"/>
              <a:gd name="connsiteX21" fmla="*/ 266424 w 11626101"/>
              <a:gd name="connsiteY21" fmla="*/ 3084323 h 5554474"/>
              <a:gd name="connsiteX22" fmla="*/ 0 w 11626101"/>
              <a:gd name="connsiteY22" fmla="*/ 2817899 h 5554474"/>
              <a:gd name="connsiteX23" fmla="*/ 0 w 11626101"/>
              <a:gd name="connsiteY23" fmla="*/ 957777 h 5554474"/>
              <a:gd name="connsiteX24" fmla="*/ 0 w 11626101"/>
              <a:gd name="connsiteY24" fmla="*/ 266424 h 5554474"/>
              <a:gd name="connsiteX25" fmla="*/ 266424 w 11626101"/>
              <a:gd name="connsiteY25" fmla="*/ 0 h 5554474"/>
              <a:gd name="connsiteX0" fmla="*/ 266424 w 11626101"/>
              <a:gd name="connsiteY0" fmla="*/ 0 h 5554474"/>
              <a:gd name="connsiteX1" fmla="*/ 6273052 w 11626101"/>
              <a:gd name="connsiteY1" fmla="*/ 0 h 5554474"/>
              <a:gd name="connsiteX2" fmla="*/ 10654942 w 11626101"/>
              <a:gd name="connsiteY2" fmla="*/ 0 h 5554474"/>
              <a:gd name="connsiteX3" fmla="*/ 11626101 w 11626101"/>
              <a:gd name="connsiteY3" fmla="*/ 0 h 5554474"/>
              <a:gd name="connsiteX4" fmla="*/ 11626101 w 11626101"/>
              <a:gd name="connsiteY4" fmla="*/ 5097275 h 5554474"/>
              <a:gd name="connsiteX5" fmla="*/ 11626101 w 11626101"/>
              <a:gd name="connsiteY5" fmla="*/ 5275075 h 5554474"/>
              <a:gd name="connsiteX6" fmla="*/ 11626101 w 11626101"/>
              <a:gd name="connsiteY6" fmla="*/ 5554474 h 5554474"/>
              <a:gd name="connsiteX7" fmla="*/ 6857106 w 11626101"/>
              <a:gd name="connsiteY7" fmla="*/ 5554474 h 5554474"/>
              <a:gd name="connsiteX8" fmla="*/ 6646471 w 11626101"/>
              <a:gd name="connsiteY8" fmla="*/ 5414856 h 5554474"/>
              <a:gd name="connsiteX9" fmla="*/ 6638399 w 11626101"/>
              <a:gd name="connsiteY9" fmla="*/ 5374876 h 5554474"/>
              <a:gd name="connsiteX10" fmla="*/ 6638399 w 11626101"/>
              <a:gd name="connsiteY10" fmla="*/ 5097275 h 5554474"/>
              <a:gd name="connsiteX11" fmla="*/ 6638399 w 11626101"/>
              <a:gd name="connsiteY11" fmla="*/ 3917610 h 5554474"/>
              <a:gd name="connsiteX12" fmla="*/ 6642144 w 11626101"/>
              <a:gd name="connsiteY12" fmla="*/ 3917610 h 5554474"/>
              <a:gd name="connsiteX13" fmla="*/ 6642144 w 11626101"/>
              <a:gd name="connsiteY13" fmla="*/ 3669478 h 5554474"/>
              <a:gd name="connsiteX14" fmla="*/ 6642144 w 11626101"/>
              <a:gd name="connsiteY14" fmla="*/ 3587676 h 5554474"/>
              <a:gd name="connsiteX15" fmla="*/ 6642144 w 11626101"/>
              <a:gd name="connsiteY15" fmla="*/ 3324617 h 5554474"/>
              <a:gd name="connsiteX16" fmla="*/ 6394012 w 11626101"/>
              <a:gd name="connsiteY16" fmla="*/ 3076485 h 5554474"/>
              <a:gd name="connsiteX17" fmla="*/ 5061902 w 11626101"/>
              <a:gd name="connsiteY17" fmla="*/ 3076485 h 5554474"/>
              <a:gd name="connsiteX18" fmla="*/ 1058545 w 11626101"/>
              <a:gd name="connsiteY18" fmla="*/ 3076485 h 5554474"/>
              <a:gd name="connsiteX19" fmla="*/ 275825 w 11626101"/>
              <a:gd name="connsiteY19" fmla="*/ 3084323 h 5554474"/>
              <a:gd name="connsiteX20" fmla="*/ 266424 w 11626101"/>
              <a:gd name="connsiteY20" fmla="*/ 3084323 h 5554474"/>
              <a:gd name="connsiteX21" fmla="*/ 0 w 11626101"/>
              <a:gd name="connsiteY21" fmla="*/ 2817899 h 5554474"/>
              <a:gd name="connsiteX22" fmla="*/ 0 w 11626101"/>
              <a:gd name="connsiteY22" fmla="*/ 957777 h 5554474"/>
              <a:gd name="connsiteX23" fmla="*/ 0 w 11626101"/>
              <a:gd name="connsiteY23" fmla="*/ 266424 h 5554474"/>
              <a:gd name="connsiteX24" fmla="*/ 266424 w 11626101"/>
              <a:gd name="connsiteY24" fmla="*/ 0 h 5554474"/>
              <a:gd name="connsiteX0" fmla="*/ 266424 w 11626101"/>
              <a:gd name="connsiteY0" fmla="*/ 0 h 5554474"/>
              <a:gd name="connsiteX1" fmla="*/ 6273052 w 11626101"/>
              <a:gd name="connsiteY1" fmla="*/ 0 h 5554474"/>
              <a:gd name="connsiteX2" fmla="*/ 10654942 w 11626101"/>
              <a:gd name="connsiteY2" fmla="*/ 0 h 5554474"/>
              <a:gd name="connsiteX3" fmla="*/ 11626101 w 11626101"/>
              <a:gd name="connsiteY3" fmla="*/ 0 h 5554474"/>
              <a:gd name="connsiteX4" fmla="*/ 11626101 w 11626101"/>
              <a:gd name="connsiteY4" fmla="*/ 5097275 h 5554474"/>
              <a:gd name="connsiteX5" fmla="*/ 11626101 w 11626101"/>
              <a:gd name="connsiteY5" fmla="*/ 5275075 h 5554474"/>
              <a:gd name="connsiteX6" fmla="*/ 11626101 w 11626101"/>
              <a:gd name="connsiteY6" fmla="*/ 5554474 h 5554474"/>
              <a:gd name="connsiteX7" fmla="*/ 6857106 w 11626101"/>
              <a:gd name="connsiteY7" fmla="*/ 5554474 h 5554474"/>
              <a:gd name="connsiteX8" fmla="*/ 6646471 w 11626101"/>
              <a:gd name="connsiteY8" fmla="*/ 5414856 h 5554474"/>
              <a:gd name="connsiteX9" fmla="*/ 6638399 w 11626101"/>
              <a:gd name="connsiteY9" fmla="*/ 5374876 h 5554474"/>
              <a:gd name="connsiteX10" fmla="*/ 6638399 w 11626101"/>
              <a:gd name="connsiteY10" fmla="*/ 5097275 h 5554474"/>
              <a:gd name="connsiteX11" fmla="*/ 6638399 w 11626101"/>
              <a:gd name="connsiteY11" fmla="*/ 3917610 h 5554474"/>
              <a:gd name="connsiteX12" fmla="*/ 6642144 w 11626101"/>
              <a:gd name="connsiteY12" fmla="*/ 3917610 h 5554474"/>
              <a:gd name="connsiteX13" fmla="*/ 6642144 w 11626101"/>
              <a:gd name="connsiteY13" fmla="*/ 3669478 h 5554474"/>
              <a:gd name="connsiteX14" fmla="*/ 6642144 w 11626101"/>
              <a:gd name="connsiteY14" fmla="*/ 3587676 h 5554474"/>
              <a:gd name="connsiteX15" fmla="*/ 6642144 w 11626101"/>
              <a:gd name="connsiteY15" fmla="*/ 3324617 h 5554474"/>
              <a:gd name="connsiteX16" fmla="*/ 6394012 w 11626101"/>
              <a:gd name="connsiteY16" fmla="*/ 3076485 h 5554474"/>
              <a:gd name="connsiteX17" fmla="*/ 5061902 w 11626101"/>
              <a:gd name="connsiteY17" fmla="*/ 3076485 h 5554474"/>
              <a:gd name="connsiteX18" fmla="*/ 275825 w 11626101"/>
              <a:gd name="connsiteY18" fmla="*/ 3084323 h 5554474"/>
              <a:gd name="connsiteX19" fmla="*/ 266424 w 11626101"/>
              <a:gd name="connsiteY19" fmla="*/ 3084323 h 5554474"/>
              <a:gd name="connsiteX20" fmla="*/ 0 w 11626101"/>
              <a:gd name="connsiteY20" fmla="*/ 2817899 h 5554474"/>
              <a:gd name="connsiteX21" fmla="*/ 0 w 11626101"/>
              <a:gd name="connsiteY21" fmla="*/ 957777 h 5554474"/>
              <a:gd name="connsiteX22" fmla="*/ 0 w 11626101"/>
              <a:gd name="connsiteY22" fmla="*/ 266424 h 5554474"/>
              <a:gd name="connsiteX23" fmla="*/ 266424 w 11626101"/>
              <a:gd name="connsiteY23" fmla="*/ 0 h 5554474"/>
              <a:gd name="connsiteX0" fmla="*/ 266424 w 11626101"/>
              <a:gd name="connsiteY0" fmla="*/ 0 h 5554474"/>
              <a:gd name="connsiteX1" fmla="*/ 6273052 w 11626101"/>
              <a:gd name="connsiteY1" fmla="*/ 0 h 5554474"/>
              <a:gd name="connsiteX2" fmla="*/ 10654942 w 11626101"/>
              <a:gd name="connsiteY2" fmla="*/ 0 h 5554474"/>
              <a:gd name="connsiteX3" fmla="*/ 11626101 w 11626101"/>
              <a:gd name="connsiteY3" fmla="*/ 0 h 5554474"/>
              <a:gd name="connsiteX4" fmla="*/ 11626101 w 11626101"/>
              <a:gd name="connsiteY4" fmla="*/ 5097275 h 5554474"/>
              <a:gd name="connsiteX5" fmla="*/ 11626101 w 11626101"/>
              <a:gd name="connsiteY5" fmla="*/ 5275075 h 5554474"/>
              <a:gd name="connsiteX6" fmla="*/ 11626101 w 11626101"/>
              <a:gd name="connsiteY6" fmla="*/ 5554474 h 5554474"/>
              <a:gd name="connsiteX7" fmla="*/ 6857106 w 11626101"/>
              <a:gd name="connsiteY7" fmla="*/ 5554474 h 5554474"/>
              <a:gd name="connsiteX8" fmla="*/ 6646471 w 11626101"/>
              <a:gd name="connsiteY8" fmla="*/ 5414856 h 5554474"/>
              <a:gd name="connsiteX9" fmla="*/ 6638399 w 11626101"/>
              <a:gd name="connsiteY9" fmla="*/ 5374876 h 5554474"/>
              <a:gd name="connsiteX10" fmla="*/ 6638399 w 11626101"/>
              <a:gd name="connsiteY10" fmla="*/ 5097275 h 5554474"/>
              <a:gd name="connsiteX11" fmla="*/ 6638399 w 11626101"/>
              <a:gd name="connsiteY11" fmla="*/ 3917610 h 5554474"/>
              <a:gd name="connsiteX12" fmla="*/ 6642144 w 11626101"/>
              <a:gd name="connsiteY12" fmla="*/ 3917610 h 5554474"/>
              <a:gd name="connsiteX13" fmla="*/ 6642144 w 11626101"/>
              <a:gd name="connsiteY13" fmla="*/ 3587676 h 5554474"/>
              <a:gd name="connsiteX14" fmla="*/ 6642144 w 11626101"/>
              <a:gd name="connsiteY14" fmla="*/ 3324617 h 5554474"/>
              <a:gd name="connsiteX15" fmla="*/ 6394012 w 11626101"/>
              <a:gd name="connsiteY15" fmla="*/ 3076485 h 5554474"/>
              <a:gd name="connsiteX16" fmla="*/ 5061902 w 11626101"/>
              <a:gd name="connsiteY16" fmla="*/ 3076485 h 5554474"/>
              <a:gd name="connsiteX17" fmla="*/ 275825 w 11626101"/>
              <a:gd name="connsiteY17" fmla="*/ 3084323 h 5554474"/>
              <a:gd name="connsiteX18" fmla="*/ 266424 w 11626101"/>
              <a:gd name="connsiteY18" fmla="*/ 3084323 h 5554474"/>
              <a:gd name="connsiteX19" fmla="*/ 0 w 11626101"/>
              <a:gd name="connsiteY19" fmla="*/ 2817899 h 5554474"/>
              <a:gd name="connsiteX20" fmla="*/ 0 w 11626101"/>
              <a:gd name="connsiteY20" fmla="*/ 957777 h 5554474"/>
              <a:gd name="connsiteX21" fmla="*/ 0 w 11626101"/>
              <a:gd name="connsiteY21" fmla="*/ 266424 h 5554474"/>
              <a:gd name="connsiteX22" fmla="*/ 266424 w 11626101"/>
              <a:gd name="connsiteY22" fmla="*/ 0 h 5554474"/>
              <a:gd name="connsiteX0" fmla="*/ 266424 w 11626101"/>
              <a:gd name="connsiteY0" fmla="*/ 0 h 5554474"/>
              <a:gd name="connsiteX1" fmla="*/ 6273052 w 11626101"/>
              <a:gd name="connsiteY1" fmla="*/ 0 h 5554474"/>
              <a:gd name="connsiteX2" fmla="*/ 10654942 w 11626101"/>
              <a:gd name="connsiteY2" fmla="*/ 0 h 5554474"/>
              <a:gd name="connsiteX3" fmla="*/ 11626101 w 11626101"/>
              <a:gd name="connsiteY3" fmla="*/ 0 h 5554474"/>
              <a:gd name="connsiteX4" fmla="*/ 11626101 w 11626101"/>
              <a:gd name="connsiteY4" fmla="*/ 5097275 h 5554474"/>
              <a:gd name="connsiteX5" fmla="*/ 11626101 w 11626101"/>
              <a:gd name="connsiteY5" fmla="*/ 5275075 h 5554474"/>
              <a:gd name="connsiteX6" fmla="*/ 11626101 w 11626101"/>
              <a:gd name="connsiteY6" fmla="*/ 5554474 h 5554474"/>
              <a:gd name="connsiteX7" fmla="*/ 6857106 w 11626101"/>
              <a:gd name="connsiteY7" fmla="*/ 5554474 h 5554474"/>
              <a:gd name="connsiteX8" fmla="*/ 6646471 w 11626101"/>
              <a:gd name="connsiteY8" fmla="*/ 5414856 h 5554474"/>
              <a:gd name="connsiteX9" fmla="*/ 6638399 w 11626101"/>
              <a:gd name="connsiteY9" fmla="*/ 5374876 h 5554474"/>
              <a:gd name="connsiteX10" fmla="*/ 6638399 w 11626101"/>
              <a:gd name="connsiteY10" fmla="*/ 5097275 h 5554474"/>
              <a:gd name="connsiteX11" fmla="*/ 6638399 w 11626101"/>
              <a:gd name="connsiteY11" fmla="*/ 3917610 h 5554474"/>
              <a:gd name="connsiteX12" fmla="*/ 6642144 w 11626101"/>
              <a:gd name="connsiteY12" fmla="*/ 3917610 h 5554474"/>
              <a:gd name="connsiteX13" fmla="*/ 6642144 w 11626101"/>
              <a:gd name="connsiteY13" fmla="*/ 3324617 h 5554474"/>
              <a:gd name="connsiteX14" fmla="*/ 6394012 w 11626101"/>
              <a:gd name="connsiteY14" fmla="*/ 3076485 h 5554474"/>
              <a:gd name="connsiteX15" fmla="*/ 5061902 w 11626101"/>
              <a:gd name="connsiteY15" fmla="*/ 3076485 h 5554474"/>
              <a:gd name="connsiteX16" fmla="*/ 275825 w 11626101"/>
              <a:gd name="connsiteY16" fmla="*/ 3084323 h 5554474"/>
              <a:gd name="connsiteX17" fmla="*/ 266424 w 11626101"/>
              <a:gd name="connsiteY17" fmla="*/ 3084323 h 5554474"/>
              <a:gd name="connsiteX18" fmla="*/ 0 w 11626101"/>
              <a:gd name="connsiteY18" fmla="*/ 2817899 h 5554474"/>
              <a:gd name="connsiteX19" fmla="*/ 0 w 11626101"/>
              <a:gd name="connsiteY19" fmla="*/ 957777 h 5554474"/>
              <a:gd name="connsiteX20" fmla="*/ 0 w 11626101"/>
              <a:gd name="connsiteY20" fmla="*/ 266424 h 5554474"/>
              <a:gd name="connsiteX21" fmla="*/ 266424 w 11626101"/>
              <a:gd name="connsiteY21" fmla="*/ 0 h 5554474"/>
              <a:gd name="connsiteX0" fmla="*/ 266424 w 11626101"/>
              <a:gd name="connsiteY0" fmla="*/ 0 h 5554474"/>
              <a:gd name="connsiteX1" fmla="*/ 6273052 w 11626101"/>
              <a:gd name="connsiteY1" fmla="*/ 0 h 5554474"/>
              <a:gd name="connsiteX2" fmla="*/ 10654942 w 11626101"/>
              <a:gd name="connsiteY2" fmla="*/ 0 h 5554474"/>
              <a:gd name="connsiteX3" fmla="*/ 11626101 w 11626101"/>
              <a:gd name="connsiteY3" fmla="*/ 0 h 5554474"/>
              <a:gd name="connsiteX4" fmla="*/ 11626101 w 11626101"/>
              <a:gd name="connsiteY4" fmla="*/ 5097275 h 5554474"/>
              <a:gd name="connsiteX5" fmla="*/ 11626101 w 11626101"/>
              <a:gd name="connsiteY5" fmla="*/ 5275075 h 5554474"/>
              <a:gd name="connsiteX6" fmla="*/ 11626101 w 11626101"/>
              <a:gd name="connsiteY6" fmla="*/ 5554474 h 5554474"/>
              <a:gd name="connsiteX7" fmla="*/ 6857106 w 11626101"/>
              <a:gd name="connsiteY7" fmla="*/ 5554474 h 5554474"/>
              <a:gd name="connsiteX8" fmla="*/ 6646471 w 11626101"/>
              <a:gd name="connsiteY8" fmla="*/ 5414856 h 5554474"/>
              <a:gd name="connsiteX9" fmla="*/ 6638399 w 11626101"/>
              <a:gd name="connsiteY9" fmla="*/ 5374876 h 5554474"/>
              <a:gd name="connsiteX10" fmla="*/ 6638399 w 11626101"/>
              <a:gd name="connsiteY10" fmla="*/ 5097275 h 5554474"/>
              <a:gd name="connsiteX11" fmla="*/ 6638399 w 11626101"/>
              <a:gd name="connsiteY11" fmla="*/ 3917610 h 5554474"/>
              <a:gd name="connsiteX12" fmla="*/ 6642144 w 11626101"/>
              <a:gd name="connsiteY12" fmla="*/ 3324617 h 5554474"/>
              <a:gd name="connsiteX13" fmla="*/ 6394012 w 11626101"/>
              <a:gd name="connsiteY13" fmla="*/ 3076485 h 5554474"/>
              <a:gd name="connsiteX14" fmla="*/ 5061902 w 11626101"/>
              <a:gd name="connsiteY14" fmla="*/ 3076485 h 5554474"/>
              <a:gd name="connsiteX15" fmla="*/ 275825 w 11626101"/>
              <a:gd name="connsiteY15" fmla="*/ 3084323 h 5554474"/>
              <a:gd name="connsiteX16" fmla="*/ 266424 w 11626101"/>
              <a:gd name="connsiteY16" fmla="*/ 3084323 h 5554474"/>
              <a:gd name="connsiteX17" fmla="*/ 0 w 11626101"/>
              <a:gd name="connsiteY17" fmla="*/ 2817899 h 5554474"/>
              <a:gd name="connsiteX18" fmla="*/ 0 w 11626101"/>
              <a:gd name="connsiteY18" fmla="*/ 957777 h 5554474"/>
              <a:gd name="connsiteX19" fmla="*/ 0 w 11626101"/>
              <a:gd name="connsiteY19" fmla="*/ 266424 h 5554474"/>
              <a:gd name="connsiteX20" fmla="*/ 266424 w 11626101"/>
              <a:gd name="connsiteY20" fmla="*/ 0 h 5554474"/>
              <a:gd name="connsiteX0" fmla="*/ 266424 w 11626101"/>
              <a:gd name="connsiteY0" fmla="*/ 0 h 5554474"/>
              <a:gd name="connsiteX1" fmla="*/ 6273052 w 11626101"/>
              <a:gd name="connsiteY1" fmla="*/ 0 h 5554474"/>
              <a:gd name="connsiteX2" fmla="*/ 10654942 w 11626101"/>
              <a:gd name="connsiteY2" fmla="*/ 0 h 5554474"/>
              <a:gd name="connsiteX3" fmla="*/ 11626101 w 11626101"/>
              <a:gd name="connsiteY3" fmla="*/ 0 h 5554474"/>
              <a:gd name="connsiteX4" fmla="*/ 11626101 w 11626101"/>
              <a:gd name="connsiteY4" fmla="*/ 5097275 h 5554474"/>
              <a:gd name="connsiteX5" fmla="*/ 11626101 w 11626101"/>
              <a:gd name="connsiteY5" fmla="*/ 5275075 h 5554474"/>
              <a:gd name="connsiteX6" fmla="*/ 11626101 w 11626101"/>
              <a:gd name="connsiteY6" fmla="*/ 5554474 h 5554474"/>
              <a:gd name="connsiteX7" fmla="*/ 6857106 w 11626101"/>
              <a:gd name="connsiteY7" fmla="*/ 5554474 h 5554474"/>
              <a:gd name="connsiteX8" fmla="*/ 6646471 w 11626101"/>
              <a:gd name="connsiteY8" fmla="*/ 5414856 h 5554474"/>
              <a:gd name="connsiteX9" fmla="*/ 6638399 w 11626101"/>
              <a:gd name="connsiteY9" fmla="*/ 5374876 h 5554474"/>
              <a:gd name="connsiteX10" fmla="*/ 6638399 w 11626101"/>
              <a:gd name="connsiteY10" fmla="*/ 5097275 h 5554474"/>
              <a:gd name="connsiteX11" fmla="*/ 6642144 w 11626101"/>
              <a:gd name="connsiteY11" fmla="*/ 3324617 h 5554474"/>
              <a:gd name="connsiteX12" fmla="*/ 6394012 w 11626101"/>
              <a:gd name="connsiteY12" fmla="*/ 3076485 h 5554474"/>
              <a:gd name="connsiteX13" fmla="*/ 5061902 w 11626101"/>
              <a:gd name="connsiteY13" fmla="*/ 3076485 h 5554474"/>
              <a:gd name="connsiteX14" fmla="*/ 275825 w 11626101"/>
              <a:gd name="connsiteY14" fmla="*/ 3084323 h 5554474"/>
              <a:gd name="connsiteX15" fmla="*/ 266424 w 11626101"/>
              <a:gd name="connsiteY15" fmla="*/ 3084323 h 5554474"/>
              <a:gd name="connsiteX16" fmla="*/ 0 w 11626101"/>
              <a:gd name="connsiteY16" fmla="*/ 2817899 h 5554474"/>
              <a:gd name="connsiteX17" fmla="*/ 0 w 11626101"/>
              <a:gd name="connsiteY17" fmla="*/ 957777 h 5554474"/>
              <a:gd name="connsiteX18" fmla="*/ 0 w 11626101"/>
              <a:gd name="connsiteY18" fmla="*/ 266424 h 5554474"/>
              <a:gd name="connsiteX19" fmla="*/ 266424 w 11626101"/>
              <a:gd name="connsiteY19" fmla="*/ 0 h 5554474"/>
              <a:gd name="connsiteX0" fmla="*/ 266424 w 11626101"/>
              <a:gd name="connsiteY0" fmla="*/ 0 h 5554474"/>
              <a:gd name="connsiteX1" fmla="*/ 6273052 w 11626101"/>
              <a:gd name="connsiteY1" fmla="*/ 0 h 5554474"/>
              <a:gd name="connsiteX2" fmla="*/ 10654942 w 11626101"/>
              <a:gd name="connsiteY2" fmla="*/ 0 h 5554474"/>
              <a:gd name="connsiteX3" fmla="*/ 11626101 w 11626101"/>
              <a:gd name="connsiteY3" fmla="*/ 0 h 5554474"/>
              <a:gd name="connsiteX4" fmla="*/ 11626101 w 11626101"/>
              <a:gd name="connsiteY4" fmla="*/ 5097275 h 5554474"/>
              <a:gd name="connsiteX5" fmla="*/ 11626101 w 11626101"/>
              <a:gd name="connsiteY5" fmla="*/ 5275075 h 5554474"/>
              <a:gd name="connsiteX6" fmla="*/ 11626101 w 11626101"/>
              <a:gd name="connsiteY6" fmla="*/ 5554474 h 5554474"/>
              <a:gd name="connsiteX7" fmla="*/ 6857106 w 11626101"/>
              <a:gd name="connsiteY7" fmla="*/ 5554474 h 5554474"/>
              <a:gd name="connsiteX8" fmla="*/ 6646471 w 11626101"/>
              <a:gd name="connsiteY8" fmla="*/ 5414856 h 5554474"/>
              <a:gd name="connsiteX9" fmla="*/ 6638399 w 11626101"/>
              <a:gd name="connsiteY9" fmla="*/ 5374876 h 5554474"/>
              <a:gd name="connsiteX10" fmla="*/ 6642144 w 11626101"/>
              <a:gd name="connsiteY10" fmla="*/ 3324617 h 5554474"/>
              <a:gd name="connsiteX11" fmla="*/ 6394012 w 11626101"/>
              <a:gd name="connsiteY11" fmla="*/ 3076485 h 5554474"/>
              <a:gd name="connsiteX12" fmla="*/ 5061902 w 11626101"/>
              <a:gd name="connsiteY12" fmla="*/ 3076485 h 5554474"/>
              <a:gd name="connsiteX13" fmla="*/ 275825 w 11626101"/>
              <a:gd name="connsiteY13" fmla="*/ 3084323 h 5554474"/>
              <a:gd name="connsiteX14" fmla="*/ 266424 w 11626101"/>
              <a:gd name="connsiteY14" fmla="*/ 3084323 h 5554474"/>
              <a:gd name="connsiteX15" fmla="*/ 0 w 11626101"/>
              <a:gd name="connsiteY15" fmla="*/ 2817899 h 5554474"/>
              <a:gd name="connsiteX16" fmla="*/ 0 w 11626101"/>
              <a:gd name="connsiteY16" fmla="*/ 957777 h 5554474"/>
              <a:gd name="connsiteX17" fmla="*/ 0 w 11626101"/>
              <a:gd name="connsiteY17" fmla="*/ 266424 h 5554474"/>
              <a:gd name="connsiteX18" fmla="*/ 266424 w 11626101"/>
              <a:gd name="connsiteY18" fmla="*/ 0 h 5554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1626101" h="5554474">
                <a:moveTo>
                  <a:pt x="266424" y="0"/>
                </a:moveTo>
                <a:lnTo>
                  <a:pt x="6273052" y="0"/>
                </a:lnTo>
                <a:lnTo>
                  <a:pt x="10654942" y="0"/>
                </a:lnTo>
                <a:lnTo>
                  <a:pt x="11626101" y="0"/>
                </a:lnTo>
                <a:lnTo>
                  <a:pt x="11626101" y="5097275"/>
                </a:lnTo>
                <a:lnTo>
                  <a:pt x="11626101" y="5275075"/>
                </a:lnTo>
                <a:lnTo>
                  <a:pt x="11626101" y="5554474"/>
                </a:lnTo>
                <a:lnTo>
                  <a:pt x="6857106" y="5554474"/>
                </a:lnTo>
                <a:cubicBezTo>
                  <a:pt x="6762417" y="5554474"/>
                  <a:pt x="6681174" y="5496903"/>
                  <a:pt x="6646471" y="5414856"/>
                </a:cubicBezTo>
                <a:lnTo>
                  <a:pt x="6638399" y="5374876"/>
                </a:lnTo>
                <a:cubicBezTo>
                  <a:pt x="6639647" y="4691456"/>
                  <a:pt x="6640896" y="4008037"/>
                  <a:pt x="6642144" y="3324617"/>
                </a:cubicBezTo>
                <a:cubicBezTo>
                  <a:pt x="6642144" y="3187577"/>
                  <a:pt x="6531052" y="3076485"/>
                  <a:pt x="6394012" y="3076485"/>
                </a:cubicBezTo>
                <a:lnTo>
                  <a:pt x="5061902" y="3076485"/>
                </a:lnTo>
                <a:lnTo>
                  <a:pt x="275825" y="3084323"/>
                </a:lnTo>
                <a:lnTo>
                  <a:pt x="266424" y="3084323"/>
                </a:lnTo>
                <a:cubicBezTo>
                  <a:pt x="119282" y="3084323"/>
                  <a:pt x="0" y="2965041"/>
                  <a:pt x="0" y="2817899"/>
                </a:cubicBezTo>
                <a:lnTo>
                  <a:pt x="0" y="957777"/>
                </a:lnTo>
                <a:lnTo>
                  <a:pt x="0" y="266424"/>
                </a:lnTo>
                <a:cubicBezTo>
                  <a:pt x="0" y="119282"/>
                  <a:pt x="119282" y="0"/>
                  <a:pt x="266424" y="0"/>
                </a:cubicBezTo>
                <a:close/>
              </a:path>
            </a:pathLst>
          </a:custGeom>
          <a:solidFill>
            <a:srgbClr val="133CCF"/>
          </a:solidFill>
          <a:ln>
            <a:noFill/>
          </a:ln>
          <a:effectLst>
            <a:innerShdw blurRad="177800" dist="50800" dir="27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8FCD42C4-7FD1-D384-4AC2-8FAB708AEFA5}"/>
              </a:ext>
            </a:extLst>
          </p:cNvPr>
          <p:cNvGrpSpPr/>
          <p:nvPr/>
        </p:nvGrpSpPr>
        <p:grpSpPr>
          <a:xfrm>
            <a:off x="812800" y="1045028"/>
            <a:ext cx="11379200" cy="3077511"/>
            <a:chOff x="746760" y="1045028"/>
            <a:chExt cx="11445240" cy="3077511"/>
          </a:xfrm>
        </p:grpSpPr>
        <p:sp>
          <p:nvSpPr>
            <p:cNvPr id="27" name="Arrow: Bent 26">
              <a:extLst>
                <a:ext uri="{FF2B5EF4-FFF2-40B4-BE49-F238E27FC236}">
                  <a16:creationId xmlns:a16="http://schemas.microsoft.com/office/drawing/2014/main" id="{E642CA5A-318C-FDC6-C66B-10EE3F33059E}"/>
                </a:ext>
              </a:extLst>
            </p:cNvPr>
            <p:cNvSpPr/>
            <p:nvPr/>
          </p:nvSpPr>
          <p:spPr>
            <a:xfrm>
              <a:off x="769257" y="1045028"/>
              <a:ext cx="11422743" cy="3004457"/>
            </a:xfrm>
            <a:prstGeom prst="bentArrow">
              <a:avLst>
                <a:gd name="adj1" fmla="val 25000"/>
                <a:gd name="adj2" fmla="val 0"/>
                <a:gd name="adj3" fmla="val 0"/>
                <a:gd name="adj4" fmla="val 12752"/>
              </a:avLst>
            </a:prstGeom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Rectangle: Rounded Corners 28">
              <a:extLst>
                <a:ext uri="{FF2B5EF4-FFF2-40B4-BE49-F238E27FC236}">
                  <a16:creationId xmlns:a16="http://schemas.microsoft.com/office/drawing/2014/main" id="{FCDDFAF8-D436-1845-327E-9EE460E98553}"/>
                </a:ext>
              </a:extLst>
            </p:cNvPr>
            <p:cNvSpPr/>
            <p:nvPr/>
          </p:nvSpPr>
          <p:spPr>
            <a:xfrm>
              <a:off x="746760" y="4031099"/>
              <a:ext cx="45719" cy="91440"/>
            </a:xfrm>
            <a:prstGeom prst="roundRect">
              <a:avLst>
                <a:gd name="adj" fmla="val 50000"/>
              </a:avLst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4" name="Rectangle: Top Corners Rounded 43">
            <a:extLst>
              <a:ext uri="{FF2B5EF4-FFF2-40B4-BE49-F238E27FC236}">
                <a16:creationId xmlns:a16="http://schemas.microsoft.com/office/drawing/2014/main" id="{20EEBD81-3AB5-51A2-58EA-58B89802E0EA}"/>
              </a:ext>
            </a:extLst>
          </p:cNvPr>
          <p:cNvSpPr>
            <a:spLocks/>
          </p:cNvSpPr>
          <p:nvPr/>
        </p:nvSpPr>
        <p:spPr>
          <a:xfrm>
            <a:off x="7305775" y="1234911"/>
            <a:ext cx="4788816" cy="5369089"/>
          </a:xfrm>
          <a:prstGeom prst="round2SameRect">
            <a:avLst>
              <a:gd name="adj1" fmla="val 4733"/>
              <a:gd name="adj2" fmla="val 0"/>
            </a:avLst>
          </a:prstGeom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3" name="Google Shape;348;p28">
            <a:extLst>
              <a:ext uri="{FF2B5EF4-FFF2-40B4-BE49-F238E27FC236}">
                <a16:creationId xmlns:a16="http://schemas.microsoft.com/office/drawing/2014/main" id="{72C37F77-55D4-6567-4E55-C93158151B24}"/>
              </a:ext>
            </a:extLst>
          </p:cNvPr>
          <p:cNvPicPr preferRelativeResize="0">
            <a:picLocks/>
          </p:cNvPicPr>
          <p:nvPr/>
        </p:nvPicPr>
        <p:blipFill>
          <a:blip r:embed="rId8" cstate="screen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harpenSoften amount="25000"/>
                    </a14:imgEffect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20361" r="20361"/>
          <a:stretch/>
        </p:blipFill>
        <p:spPr>
          <a:xfrm>
            <a:off x="7372758" y="1297978"/>
            <a:ext cx="4672484" cy="5257634"/>
          </a:xfrm>
          <a:prstGeom prst="round2SameRect">
            <a:avLst>
              <a:gd name="adj1" fmla="val 4345"/>
              <a:gd name="adj2" fmla="val 0"/>
            </a:avLst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9F3C191A-F963-51B5-4184-BEE2D75C0500}"/>
              </a:ext>
            </a:extLst>
          </p:cNvPr>
          <p:cNvSpPr txBox="1"/>
          <p:nvPr/>
        </p:nvSpPr>
        <p:spPr>
          <a:xfrm>
            <a:off x="1021578" y="1444433"/>
            <a:ext cx="6121155" cy="25083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Tx/>
              <a:buNone/>
              <a:tabLst/>
              <a:defRPr/>
            </a:pPr>
            <a:r>
              <a:rPr kumimoji="0" lang="en" sz="2800" b="1" i="0" u="none" strike="noStrike" kern="1200" cap="none" spc="0" normalizeH="0" baseline="0" noProof="0">
                <a:ln>
                  <a:noFill/>
                </a:ln>
                <a:solidFill>
                  <a:srgbClr val="FFC6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Recycling is no longer optional —</a:t>
            </a:r>
            <a:br>
              <a:rPr kumimoji="0" lang="en" sz="2800" b="1" i="0" u="none" strike="noStrike" kern="1200" cap="none" spc="0" normalizeH="0" baseline="0" noProof="0">
                <a:ln>
                  <a:noFill/>
                </a:ln>
                <a:solidFill>
                  <a:srgbClr val="FFC6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</a:br>
            <a:r>
              <a:rPr kumimoji="0" lang="en" sz="2800" b="1" i="0" u="none" strike="noStrike" kern="1200" cap="none" spc="0" normalizeH="0" baseline="0" noProof="0">
                <a:ln>
                  <a:noFill/>
                </a:ln>
                <a:solidFill>
                  <a:srgbClr val="FFC62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it’s a mus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prstClr val="black"/>
              </a:buClr>
              <a:buSzPts val="800"/>
              <a:buFont typeface="Arial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Consumers want to make the responsible decision to recycle after consuming our products, and we’re happy to provide recycling bins for plastic bottles and aluminum can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D8AEA75C-DDE2-71BE-F07F-4AB92B07C530}"/>
              </a:ext>
            </a:extLst>
          </p:cNvPr>
          <p:cNvSpPr txBox="1"/>
          <p:nvPr/>
        </p:nvSpPr>
        <p:spPr>
          <a:xfrm>
            <a:off x="1021579" y="4615610"/>
            <a:ext cx="608191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prstClr val="black"/>
              </a:buClr>
              <a:buSzPts val="800"/>
              <a:buFont typeface="Arial"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Together, let’s increase consumer access to recycling </a:t>
            </a:r>
          </a:p>
        </p:txBody>
      </p:sp>
      <p:grpSp>
        <p:nvGrpSpPr>
          <p:cNvPr id="151" name="Group 150">
            <a:extLst>
              <a:ext uri="{FF2B5EF4-FFF2-40B4-BE49-F238E27FC236}">
                <a16:creationId xmlns:a16="http://schemas.microsoft.com/office/drawing/2014/main" id="{A82BB6B7-7C5A-4389-17D9-5C29E1215D6B}"/>
              </a:ext>
            </a:extLst>
          </p:cNvPr>
          <p:cNvGrpSpPr/>
          <p:nvPr/>
        </p:nvGrpSpPr>
        <p:grpSpPr>
          <a:xfrm>
            <a:off x="107156" y="6232868"/>
            <a:ext cx="548473" cy="548923"/>
            <a:chOff x="787399" y="5423749"/>
            <a:chExt cx="766749" cy="767378"/>
          </a:xfrm>
        </p:grpSpPr>
        <p:sp>
          <p:nvSpPr>
            <p:cNvPr id="152" name="object 54">
              <a:extLst>
                <a:ext uri="{FF2B5EF4-FFF2-40B4-BE49-F238E27FC236}">
                  <a16:creationId xmlns:a16="http://schemas.microsoft.com/office/drawing/2014/main" id="{5E689088-787A-F265-A6F3-0AA47BB649C9}"/>
                </a:ext>
              </a:extLst>
            </p:cNvPr>
            <p:cNvSpPr/>
            <p:nvPr/>
          </p:nvSpPr>
          <p:spPr>
            <a:xfrm>
              <a:off x="787399" y="5716782"/>
              <a:ext cx="474345" cy="474345"/>
            </a:xfrm>
            <a:custGeom>
              <a:avLst/>
              <a:gdLst/>
              <a:ahLst/>
              <a:cxnLst/>
              <a:rect l="l" t="t" r="r" b="b"/>
              <a:pathLst>
                <a:path w="474345" h="474345">
                  <a:moveTo>
                    <a:pt x="267887" y="0"/>
                  </a:moveTo>
                  <a:lnTo>
                    <a:pt x="206224" y="0"/>
                  </a:lnTo>
                  <a:lnTo>
                    <a:pt x="194722" y="2338"/>
                  </a:lnTo>
                  <a:lnTo>
                    <a:pt x="185303" y="8706"/>
                  </a:lnTo>
                  <a:lnTo>
                    <a:pt x="178939" y="18129"/>
                  </a:lnTo>
                  <a:lnTo>
                    <a:pt x="176601" y="29632"/>
                  </a:lnTo>
                  <a:lnTo>
                    <a:pt x="176601" y="176601"/>
                  </a:lnTo>
                  <a:lnTo>
                    <a:pt x="29622" y="176601"/>
                  </a:lnTo>
                  <a:lnTo>
                    <a:pt x="18120" y="178940"/>
                  </a:lnTo>
                  <a:lnTo>
                    <a:pt x="8701" y="185308"/>
                  </a:lnTo>
                  <a:lnTo>
                    <a:pt x="2337" y="194730"/>
                  </a:lnTo>
                  <a:lnTo>
                    <a:pt x="0" y="206234"/>
                  </a:lnTo>
                  <a:lnTo>
                    <a:pt x="0" y="267887"/>
                  </a:lnTo>
                  <a:lnTo>
                    <a:pt x="2337" y="279389"/>
                  </a:lnTo>
                  <a:lnTo>
                    <a:pt x="8701" y="288807"/>
                  </a:lnTo>
                  <a:lnTo>
                    <a:pt x="18120" y="295171"/>
                  </a:lnTo>
                  <a:lnTo>
                    <a:pt x="29622" y="297509"/>
                  </a:lnTo>
                  <a:lnTo>
                    <a:pt x="176601" y="297509"/>
                  </a:lnTo>
                  <a:lnTo>
                    <a:pt x="176601" y="444489"/>
                  </a:lnTo>
                  <a:lnTo>
                    <a:pt x="178939" y="455991"/>
                  </a:lnTo>
                  <a:lnTo>
                    <a:pt x="185303" y="465409"/>
                  </a:lnTo>
                  <a:lnTo>
                    <a:pt x="194722" y="471773"/>
                  </a:lnTo>
                  <a:lnTo>
                    <a:pt x="206224" y="474111"/>
                  </a:lnTo>
                  <a:lnTo>
                    <a:pt x="267887" y="474111"/>
                  </a:lnTo>
                  <a:lnTo>
                    <a:pt x="279389" y="471773"/>
                  </a:lnTo>
                  <a:lnTo>
                    <a:pt x="288807" y="465409"/>
                  </a:lnTo>
                  <a:lnTo>
                    <a:pt x="295171" y="455991"/>
                  </a:lnTo>
                  <a:lnTo>
                    <a:pt x="297509" y="444489"/>
                  </a:lnTo>
                  <a:lnTo>
                    <a:pt x="297509" y="297509"/>
                  </a:lnTo>
                  <a:lnTo>
                    <a:pt x="444489" y="297509"/>
                  </a:lnTo>
                  <a:lnTo>
                    <a:pt x="455991" y="295171"/>
                  </a:lnTo>
                  <a:lnTo>
                    <a:pt x="465409" y="288807"/>
                  </a:lnTo>
                  <a:lnTo>
                    <a:pt x="471773" y="279389"/>
                  </a:lnTo>
                  <a:lnTo>
                    <a:pt x="474111" y="267887"/>
                  </a:lnTo>
                  <a:lnTo>
                    <a:pt x="474111" y="206234"/>
                  </a:lnTo>
                  <a:lnTo>
                    <a:pt x="471773" y="194730"/>
                  </a:lnTo>
                  <a:lnTo>
                    <a:pt x="465409" y="185308"/>
                  </a:lnTo>
                  <a:lnTo>
                    <a:pt x="455991" y="178940"/>
                  </a:lnTo>
                  <a:lnTo>
                    <a:pt x="444489" y="176601"/>
                  </a:lnTo>
                  <a:lnTo>
                    <a:pt x="297509" y="176601"/>
                  </a:lnTo>
                  <a:lnTo>
                    <a:pt x="297509" y="29632"/>
                  </a:lnTo>
                  <a:lnTo>
                    <a:pt x="295171" y="18129"/>
                  </a:lnTo>
                  <a:lnTo>
                    <a:pt x="288807" y="8706"/>
                  </a:lnTo>
                  <a:lnTo>
                    <a:pt x="279389" y="2338"/>
                  </a:lnTo>
                  <a:lnTo>
                    <a:pt x="267887" y="0"/>
                  </a:lnTo>
                  <a:close/>
                </a:path>
              </a:pathLst>
            </a:custGeom>
            <a:solidFill>
              <a:srgbClr val="FFC629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object 56">
              <a:extLst>
                <a:ext uri="{FF2B5EF4-FFF2-40B4-BE49-F238E27FC236}">
                  <a16:creationId xmlns:a16="http://schemas.microsoft.com/office/drawing/2014/main" id="{A89465E3-28E0-8610-5897-986C40B4FCC5}"/>
                </a:ext>
              </a:extLst>
            </p:cNvPr>
            <p:cNvSpPr/>
            <p:nvPr/>
          </p:nvSpPr>
          <p:spPr>
            <a:xfrm>
              <a:off x="1263318" y="5423749"/>
              <a:ext cx="290830" cy="290830"/>
            </a:xfrm>
            <a:custGeom>
              <a:avLst/>
              <a:gdLst/>
              <a:ahLst/>
              <a:cxnLst/>
              <a:rect l="l" t="t" r="r" b="b"/>
              <a:pathLst>
                <a:path w="290830" h="290829">
                  <a:moveTo>
                    <a:pt x="164152" y="0"/>
                  </a:moveTo>
                  <a:lnTo>
                    <a:pt x="126373" y="0"/>
                  </a:lnTo>
                  <a:lnTo>
                    <a:pt x="119321" y="1433"/>
                  </a:lnTo>
                  <a:lnTo>
                    <a:pt x="113548" y="5336"/>
                  </a:lnTo>
                  <a:lnTo>
                    <a:pt x="109648" y="11109"/>
                  </a:lnTo>
                  <a:lnTo>
                    <a:pt x="108216" y="18156"/>
                  </a:lnTo>
                  <a:lnTo>
                    <a:pt x="108216" y="108216"/>
                  </a:lnTo>
                  <a:lnTo>
                    <a:pt x="18156" y="108216"/>
                  </a:lnTo>
                  <a:lnTo>
                    <a:pt x="11105" y="109650"/>
                  </a:lnTo>
                  <a:lnTo>
                    <a:pt x="5332" y="113552"/>
                  </a:lnTo>
                  <a:lnTo>
                    <a:pt x="1432" y="119326"/>
                  </a:lnTo>
                  <a:lnTo>
                    <a:pt x="0" y="126373"/>
                  </a:lnTo>
                  <a:lnTo>
                    <a:pt x="0" y="164152"/>
                  </a:lnTo>
                  <a:lnTo>
                    <a:pt x="1432" y="171198"/>
                  </a:lnTo>
                  <a:lnTo>
                    <a:pt x="5332" y="176972"/>
                  </a:lnTo>
                  <a:lnTo>
                    <a:pt x="11105" y="180874"/>
                  </a:lnTo>
                  <a:lnTo>
                    <a:pt x="18156" y="182308"/>
                  </a:lnTo>
                  <a:lnTo>
                    <a:pt x="108216" y="182308"/>
                  </a:lnTo>
                  <a:lnTo>
                    <a:pt x="108216" y="272368"/>
                  </a:lnTo>
                  <a:lnTo>
                    <a:pt x="109648" y="279419"/>
                  </a:lnTo>
                  <a:lnTo>
                    <a:pt x="113548" y="285192"/>
                  </a:lnTo>
                  <a:lnTo>
                    <a:pt x="119321" y="289092"/>
                  </a:lnTo>
                  <a:lnTo>
                    <a:pt x="126373" y="290525"/>
                  </a:lnTo>
                  <a:lnTo>
                    <a:pt x="164152" y="290525"/>
                  </a:lnTo>
                  <a:lnTo>
                    <a:pt x="171203" y="289092"/>
                  </a:lnTo>
                  <a:lnTo>
                    <a:pt x="176976" y="285192"/>
                  </a:lnTo>
                  <a:lnTo>
                    <a:pt x="180876" y="279419"/>
                  </a:lnTo>
                  <a:lnTo>
                    <a:pt x="182308" y="272368"/>
                  </a:lnTo>
                  <a:lnTo>
                    <a:pt x="182308" y="182308"/>
                  </a:lnTo>
                  <a:lnTo>
                    <a:pt x="272368" y="182308"/>
                  </a:lnTo>
                  <a:lnTo>
                    <a:pt x="279419" y="180874"/>
                  </a:lnTo>
                  <a:lnTo>
                    <a:pt x="285192" y="176972"/>
                  </a:lnTo>
                  <a:lnTo>
                    <a:pt x="289092" y="171198"/>
                  </a:lnTo>
                  <a:lnTo>
                    <a:pt x="290525" y="164152"/>
                  </a:lnTo>
                  <a:lnTo>
                    <a:pt x="290525" y="126373"/>
                  </a:lnTo>
                  <a:lnTo>
                    <a:pt x="289092" y="119326"/>
                  </a:lnTo>
                  <a:lnTo>
                    <a:pt x="285192" y="113552"/>
                  </a:lnTo>
                  <a:lnTo>
                    <a:pt x="279419" y="109650"/>
                  </a:lnTo>
                  <a:lnTo>
                    <a:pt x="272368" y="108216"/>
                  </a:lnTo>
                  <a:lnTo>
                    <a:pt x="182308" y="108216"/>
                  </a:lnTo>
                  <a:lnTo>
                    <a:pt x="182308" y="18156"/>
                  </a:lnTo>
                  <a:lnTo>
                    <a:pt x="180876" y="11109"/>
                  </a:lnTo>
                  <a:lnTo>
                    <a:pt x="176976" y="5336"/>
                  </a:lnTo>
                  <a:lnTo>
                    <a:pt x="171203" y="1433"/>
                  </a:lnTo>
                  <a:lnTo>
                    <a:pt x="164152" y="0"/>
                  </a:lnTo>
                  <a:close/>
                </a:path>
              </a:pathLst>
            </a:custGeom>
            <a:solidFill>
              <a:srgbClr val="4FD9EA"/>
            </a:solidFill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59" name="Freeform: Shape 158">
            <a:extLst>
              <a:ext uri="{FF2B5EF4-FFF2-40B4-BE49-F238E27FC236}">
                <a16:creationId xmlns:a16="http://schemas.microsoft.com/office/drawing/2014/main" id="{3A836609-2595-1853-DA5B-7DD0AC235B90}"/>
              </a:ext>
            </a:extLst>
          </p:cNvPr>
          <p:cNvSpPr/>
          <p:nvPr/>
        </p:nvSpPr>
        <p:spPr>
          <a:xfrm flipH="1" flipV="1">
            <a:off x="7202859" y="2789697"/>
            <a:ext cx="4989141" cy="3890503"/>
          </a:xfrm>
          <a:custGeom>
            <a:avLst/>
            <a:gdLst>
              <a:gd name="connsiteX0" fmla="*/ 0 w 4989141"/>
              <a:gd name="connsiteY0" fmla="*/ 3890503 h 3890503"/>
              <a:gd name="connsiteX1" fmla="*/ 0 w 4989141"/>
              <a:gd name="connsiteY1" fmla="*/ 457198 h 3890503"/>
              <a:gd name="connsiteX2" fmla="*/ 0 w 4989141"/>
              <a:gd name="connsiteY2" fmla="*/ 279398 h 3890503"/>
              <a:gd name="connsiteX3" fmla="*/ 0 w 4989141"/>
              <a:gd name="connsiteY3" fmla="*/ 0 h 3890503"/>
              <a:gd name="connsiteX4" fmla="*/ 174659 w 4989141"/>
              <a:gd name="connsiteY4" fmla="*/ 0 h 3890503"/>
              <a:gd name="connsiteX5" fmla="*/ 447499 w 4989141"/>
              <a:gd name="connsiteY5" fmla="*/ 0 h 3890503"/>
              <a:gd name="connsiteX6" fmla="*/ 672084 w 4989141"/>
              <a:gd name="connsiteY6" fmla="*/ 0 h 3890503"/>
              <a:gd name="connsiteX7" fmla="*/ 1901960 w 4989141"/>
              <a:gd name="connsiteY7" fmla="*/ 0 h 3890503"/>
              <a:gd name="connsiteX8" fmla="*/ 3189749 w 4989141"/>
              <a:gd name="connsiteY8" fmla="*/ 0 h 3890503"/>
              <a:gd name="connsiteX9" fmla="*/ 3766208 w 4989141"/>
              <a:gd name="connsiteY9" fmla="*/ 0 h 3890503"/>
              <a:gd name="connsiteX10" fmla="*/ 4076700 w 4989141"/>
              <a:gd name="connsiteY10" fmla="*/ 0 h 3890503"/>
              <a:gd name="connsiteX11" fmla="*/ 4076700 w 4989141"/>
              <a:gd name="connsiteY11" fmla="*/ 3 h 3890503"/>
              <a:gd name="connsiteX12" fmla="*/ 4832743 w 4989141"/>
              <a:gd name="connsiteY12" fmla="*/ 3 h 3890503"/>
              <a:gd name="connsiteX13" fmla="*/ 4989141 w 4989141"/>
              <a:gd name="connsiteY13" fmla="*/ 156401 h 3890503"/>
              <a:gd name="connsiteX14" fmla="*/ 4989140 w 4989141"/>
              <a:gd name="connsiteY14" fmla="*/ 312798 h 3890503"/>
              <a:gd name="connsiteX15" fmla="*/ 4076700 w 4989141"/>
              <a:gd name="connsiteY15" fmla="*/ 312798 h 3890503"/>
              <a:gd name="connsiteX16" fmla="*/ 4076700 w 4989141"/>
              <a:gd name="connsiteY16" fmla="*/ 377085 h 3890503"/>
              <a:gd name="connsiteX17" fmla="*/ 3896109 w 4989141"/>
              <a:gd name="connsiteY17" fmla="*/ 409484 h 3890503"/>
              <a:gd name="connsiteX18" fmla="*/ 66299 w 4989141"/>
              <a:gd name="connsiteY18" fmla="*/ 3694563 h 3890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4989141" h="3890503">
                <a:moveTo>
                  <a:pt x="0" y="3890503"/>
                </a:moveTo>
                <a:lnTo>
                  <a:pt x="0" y="457198"/>
                </a:lnTo>
                <a:lnTo>
                  <a:pt x="0" y="279398"/>
                </a:lnTo>
                <a:lnTo>
                  <a:pt x="0" y="0"/>
                </a:lnTo>
                <a:lnTo>
                  <a:pt x="174659" y="0"/>
                </a:lnTo>
                <a:lnTo>
                  <a:pt x="447499" y="0"/>
                </a:lnTo>
                <a:lnTo>
                  <a:pt x="672084" y="0"/>
                </a:lnTo>
                <a:lnTo>
                  <a:pt x="1901960" y="0"/>
                </a:lnTo>
                <a:lnTo>
                  <a:pt x="3189749" y="0"/>
                </a:lnTo>
                <a:lnTo>
                  <a:pt x="3766208" y="0"/>
                </a:lnTo>
                <a:lnTo>
                  <a:pt x="4076700" y="0"/>
                </a:lnTo>
                <a:lnTo>
                  <a:pt x="4076700" y="3"/>
                </a:lnTo>
                <a:lnTo>
                  <a:pt x="4832743" y="3"/>
                </a:lnTo>
                <a:cubicBezTo>
                  <a:pt x="4919119" y="3"/>
                  <a:pt x="4989141" y="70025"/>
                  <a:pt x="4989141" y="156401"/>
                </a:cubicBezTo>
                <a:cubicBezTo>
                  <a:pt x="4989141" y="208533"/>
                  <a:pt x="4989140" y="260666"/>
                  <a:pt x="4989140" y="312798"/>
                </a:cubicBezTo>
                <a:lnTo>
                  <a:pt x="4076700" y="312798"/>
                </a:lnTo>
                <a:lnTo>
                  <a:pt x="4076700" y="377085"/>
                </a:lnTo>
                <a:lnTo>
                  <a:pt x="3896109" y="409484"/>
                </a:lnTo>
                <a:cubicBezTo>
                  <a:pt x="2122184" y="763806"/>
                  <a:pt x="676565" y="2027848"/>
                  <a:pt x="66299" y="3694563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2186C619-C17D-49B6-32CD-CB021C07CED0}"/>
              </a:ext>
            </a:extLst>
          </p:cNvPr>
          <p:cNvGrpSpPr/>
          <p:nvPr/>
        </p:nvGrpSpPr>
        <p:grpSpPr>
          <a:xfrm rot="20826484" flipH="1">
            <a:off x="10602857" y="4464544"/>
            <a:ext cx="1717391" cy="1834588"/>
            <a:chOff x="693795" y="8596362"/>
            <a:chExt cx="4879580" cy="5211996"/>
          </a:xfrm>
          <a:solidFill>
            <a:schemeClr val="bg1"/>
          </a:solidFill>
        </p:grpSpPr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0816AF65-FC78-23A2-1DBD-FF6FDEB6C353}"/>
                </a:ext>
              </a:extLst>
            </p:cNvPr>
            <p:cNvSpPr/>
            <p:nvPr/>
          </p:nvSpPr>
          <p:spPr>
            <a:xfrm flipH="1">
              <a:off x="3811947" y="12172309"/>
              <a:ext cx="22563" cy="28220"/>
            </a:xfrm>
            <a:custGeom>
              <a:avLst/>
              <a:gdLst>
                <a:gd name="connsiteX0" fmla="*/ 22563 w 22563"/>
                <a:gd name="connsiteY0" fmla="*/ 5029 h 28220"/>
                <a:gd name="connsiteX1" fmla="*/ 1569 w 22563"/>
                <a:gd name="connsiteY1" fmla="*/ 3767 h 28220"/>
                <a:gd name="connsiteX2" fmla="*/ 7835 w 22563"/>
                <a:gd name="connsiteY2" fmla="*/ 22563 h 28220"/>
                <a:gd name="connsiteX3" fmla="*/ 10640 w 22563"/>
                <a:gd name="connsiteY3" fmla="*/ 28221 h 28220"/>
                <a:gd name="connsiteX4" fmla="*/ 22563 w 22563"/>
                <a:gd name="connsiteY4" fmla="*/ 5029 h 282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563" h="28220">
                  <a:moveTo>
                    <a:pt x="22563" y="5029"/>
                  </a:moveTo>
                  <a:cubicBezTo>
                    <a:pt x="15503" y="3439"/>
                    <a:pt x="7648" y="-4650"/>
                    <a:pt x="1569" y="3767"/>
                  </a:cubicBezTo>
                  <a:cubicBezTo>
                    <a:pt x="-3387" y="10593"/>
                    <a:pt x="4702" y="16531"/>
                    <a:pt x="7835" y="22563"/>
                  </a:cubicBezTo>
                  <a:cubicBezTo>
                    <a:pt x="8817" y="24433"/>
                    <a:pt x="9705" y="26304"/>
                    <a:pt x="10640" y="28221"/>
                  </a:cubicBezTo>
                  <a:cubicBezTo>
                    <a:pt x="12323" y="19337"/>
                    <a:pt x="11575" y="9144"/>
                    <a:pt x="22563" y="5029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E878C751-4590-7DEB-F9AE-81EBBAFA9A22}"/>
                </a:ext>
              </a:extLst>
            </p:cNvPr>
            <p:cNvSpPr/>
            <p:nvPr/>
          </p:nvSpPr>
          <p:spPr>
            <a:xfrm flipH="1">
              <a:off x="3811947" y="12177338"/>
              <a:ext cx="11923" cy="23191"/>
            </a:xfrm>
            <a:custGeom>
              <a:avLst/>
              <a:gdLst>
                <a:gd name="connsiteX0" fmla="*/ 0 w 11923"/>
                <a:gd name="connsiteY0" fmla="*/ 23192 h 23191"/>
                <a:gd name="connsiteX1" fmla="*/ 11923 w 11923"/>
                <a:gd name="connsiteY1" fmla="*/ 0 h 23191"/>
                <a:gd name="connsiteX2" fmla="*/ 0 w 11923"/>
                <a:gd name="connsiteY2" fmla="*/ 23192 h 231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923" h="23191">
                  <a:moveTo>
                    <a:pt x="0" y="23192"/>
                  </a:moveTo>
                  <a:cubicBezTo>
                    <a:pt x="3974" y="15477"/>
                    <a:pt x="7949" y="7715"/>
                    <a:pt x="11923" y="0"/>
                  </a:cubicBezTo>
                  <a:cubicBezTo>
                    <a:pt x="935" y="4115"/>
                    <a:pt x="1637" y="14308"/>
                    <a:pt x="0" y="2319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AF5889C0-2F27-A9F7-53E5-E711BE119D0B}"/>
                </a:ext>
              </a:extLst>
            </p:cNvPr>
            <p:cNvSpPr/>
            <p:nvPr/>
          </p:nvSpPr>
          <p:spPr>
            <a:xfrm flipH="1">
              <a:off x="2310130" y="8823594"/>
              <a:ext cx="2306" cy="1657"/>
            </a:xfrm>
            <a:custGeom>
              <a:avLst/>
              <a:gdLst>
                <a:gd name="connsiteX0" fmla="*/ 2291 w 2306"/>
                <a:gd name="connsiteY0" fmla="*/ 21 h 1657"/>
                <a:gd name="connsiteX1" fmla="*/ 0 w 2306"/>
                <a:gd name="connsiteY1" fmla="*/ 21 h 1657"/>
                <a:gd name="connsiteX2" fmla="*/ 2244 w 2306"/>
                <a:gd name="connsiteY2" fmla="*/ 1657 h 1657"/>
                <a:gd name="connsiteX3" fmla="*/ 2244 w 2306"/>
                <a:gd name="connsiteY3" fmla="*/ 21 h 16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06" h="1657">
                  <a:moveTo>
                    <a:pt x="2291" y="21"/>
                  </a:moveTo>
                  <a:cubicBezTo>
                    <a:pt x="1496" y="21"/>
                    <a:pt x="608" y="-26"/>
                    <a:pt x="0" y="21"/>
                  </a:cubicBezTo>
                  <a:cubicBezTo>
                    <a:pt x="748" y="582"/>
                    <a:pt x="1496" y="956"/>
                    <a:pt x="2244" y="1657"/>
                  </a:cubicBezTo>
                  <a:cubicBezTo>
                    <a:pt x="2385" y="1049"/>
                    <a:pt x="2244" y="582"/>
                    <a:pt x="2244" y="21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A310138E-B59A-999D-139B-2A992FFEB914}"/>
                </a:ext>
              </a:extLst>
            </p:cNvPr>
            <p:cNvSpPr/>
            <p:nvPr/>
          </p:nvSpPr>
          <p:spPr>
            <a:xfrm flipH="1">
              <a:off x="693795" y="9083562"/>
              <a:ext cx="4879580" cy="4724796"/>
            </a:xfrm>
            <a:custGeom>
              <a:avLst/>
              <a:gdLst>
                <a:gd name="connsiteX0" fmla="*/ 4095886 w 4879580"/>
                <a:gd name="connsiteY0" fmla="*/ 63427 h 4724796"/>
                <a:gd name="connsiteX1" fmla="*/ 4108932 w 4879580"/>
                <a:gd name="connsiteY1" fmla="*/ 169239 h 4724796"/>
                <a:gd name="connsiteX2" fmla="*/ 4172802 w 4879580"/>
                <a:gd name="connsiteY2" fmla="*/ 507810 h 4724796"/>
                <a:gd name="connsiteX3" fmla="*/ 4207310 w 4879580"/>
                <a:gd name="connsiteY3" fmla="*/ 578787 h 4724796"/>
                <a:gd name="connsiteX4" fmla="*/ 4250887 w 4879580"/>
                <a:gd name="connsiteY4" fmla="*/ 578133 h 4724796"/>
                <a:gd name="connsiteX5" fmla="*/ 4266083 w 4879580"/>
                <a:gd name="connsiteY5" fmla="*/ 501404 h 4724796"/>
                <a:gd name="connsiteX6" fmla="*/ 4313870 w 4879580"/>
                <a:gd name="connsiteY6" fmla="*/ 338407 h 4724796"/>
                <a:gd name="connsiteX7" fmla="*/ 4324203 w 4879580"/>
                <a:gd name="connsiteY7" fmla="*/ 327186 h 4724796"/>
                <a:gd name="connsiteX8" fmla="*/ 4334770 w 4879580"/>
                <a:gd name="connsiteY8" fmla="*/ 340091 h 4724796"/>
                <a:gd name="connsiteX9" fmla="*/ 4336126 w 4879580"/>
                <a:gd name="connsiteY9" fmla="*/ 450999 h 4724796"/>
                <a:gd name="connsiteX10" fmla="*/ 4343280 w 4879580"/>
                <a:gd name="connsiteY10" fmla="*/ 608198 h 4724796"/>
                <a:gd name="connsiteX11" fmla="*/ 4351603 w 4879580"/>
                <a:gd name="connsiteY11" fmla="*/ 632325 h 4724796"/>
                <a:gd name="connsiteX12" fmla="*/ 4472143 w 4879580"/>
                <a:gd name="connsiteY12" fmla="*/ 854703 h 4724796"/>
                <a:gd name="connsiteX13" fmla="*/ 4581229 w 4879580"/>
                <a:gd name="connsiteY13" fmla="*/ 990440 h 4724796"/>
                <a:gd name="connsiteX14" fmla="*/ 4584174 w 4879580"/>
                <a:gd name="connsiteY14" fmla="*/ 1016811 h 4724796"/>
                <a:gd name="connsiteX15" fmla="*/ 4423048 w 4879580"/>
                <a:gd name="connsiteY15" fmla="*/ 1264719 h 4724796"/>
                <a:gd name="connsiteX16" fmla="*/ 4396677 w 4879580"/>
                <a:gd name="connsiteY16" fmla="*/ 1270377 h 4724796"/>
                <a:gd name="connsiteX17" fmla="*/ 4222880 w 4879580"/>
                <a:gd name="connsiteY17" fmla="*/ 1114534 h 4724796"/>
                <a:gd name="connsiteX18" fmla="*/ 4216100 w 4879580"/>
                <a:gd name="connsiteY18" fmla="*/ 1100039 h 4724796"/>
                <a:gd name="connsiteX19" fmla="*/ 4193937 w 4879580"/>
                <a:gd name="connsiteY19" fmla="*/ 979125 h 4724796"/>
                <a:gd name="connsiteX20" fmla="*/ 4154894 w 4879580"/>
                <a:gd name="connsiteY20" fmla="*/ 828706 h 4724796"/>
                <a:gd name="connsiteX21" fmla="*/ 4072648 w 4879580"/>
                <a:gd name="connsiteY21" fmla="*/ 751556 h 4724796"/>
                <a:gd name="connsiteX22" fmla="*/ 4026218 w 4879580"/>
                <a:gd name="connsiteY22" fmla="*/ 774000 h 4724796"/>
                <a:gd name="connsiteX23" fmla="*/ 4018783 w 4879580"/>
                <a:gd name="connsiteY23" fmla="*/ 835813 h 4724796"/>
                <a:gd name="connsiteX24" fmla="*/ 4015651 w 4879580"/>
                <a:gd name="connsiteY24" fmla="*/ 859846 h 4724796"/>
                <a:gd name="connsiteX25" fmla="*/ 3996293 w 4879580"/>
                <a:gd name="connsiteY25" fmla="*/ 828051 h 4724796"/>
                <a:gd name="connsiteX26" fmla="*/ 3857751 w 4879580"/>
                <a:gd name="connsiteY26" fmla="*/ 621945 h 4724796"/>
                <a:gd name="connsiteX27" fmla="*/ 3737397 w 4879580"/>
                <a:gd name="connsiteY27" fmla="*/ 405271 h 4724796"/>
                <a:gd name="connsiteX28" fmla="*/ 3692978 w 4879580"/>
                <a:gd name="connsiteY28" fmla="*/ 246202 h 4724796"/>
                <a:gd name="connsiteX29" fmla="*/ 3692557 w 4879580"/>
                <a:gd name="connsiteY29" fmla="*/ 179105 h 4724796"/>
                <a:gd name="connsiteX30" fmla="*/ 3721266 w 4879580"/>
                <a:gd name="connsiteY30" fmla="*/ 171203 h 4724796"/>
                <a:gd name="connsiteX31" fmla="*/ 3752500 w 4879580"/>
                <a:gd name="connsiteY31" fmla="*/ 220018 h 4724796"/>
                <a:gd name="connsiteX32" fmla="*/ 3812302 w 4879580"/>
                <a:gd name="connsiteY32" fmla="*/ 361319 h 4724796"/>
                <a:gd name="connsiteX33" fmla="*/ 3845313 w 4879580"/>
                <a:gd name="connsiteY33" fmla="*/ 392085 h 4724796"/>
                <a:gd name="connsiteX34" fmla="*/ 3854525 w 4879580"/>
                <a:gd name="connsiteY34" fmla="*/ 349536 h 4724796"/>
                <a:gd name="connsiteX35" fmla="*/ 3827732 w 4879580"/>
                <a:gd name="connsiteY35" fmla="*/ 191309 h 4724796"/>
                <a:gd name="connsiteX36" fmla="*/ 3835261 w 4879580"/>
                <a:gd name="connsiteY36" fmla="*/ 108127 h 4724796"/>
                <a:gd name="connsiteX37" fmla="*/ 3846576 w 4879580"/>
                <a:gd name="connsiteY37" fmla="*/ 89705 h 4724796"/>
                <a:gd name="connsiteX38" fmla="*/ 3861117 w 4879580"/>
                <a:gd name="connsiteY38" fmla="*/ 105602 h 4724796"/>
                <a:gd name="connsiteX39" fmla="*/ 3893941 w 4879580"/>
                <a:gd name="connsiteY39" fmla="*/ 207393 h 4724796"/>
                <a:gd name="connsiteX40" fmla="*/ 3936724 w 4879580"/>
                <a:gd name="connsiteY40" fmla="*/ 398163 h 4724796"/>
                <a:gd name="connsiteX41" fmla="*/ 3961506 w 4879580"/>
                <a:gd name="connsiteY41" fmla="*/ 420046 h 4724796"/>
                <a:gd name="connsiteX42" fmla="*/ 3977730 w 4879580"/>
                <a:gd name="connsiteY42" fmla="*/ 389326 h 4724796"/>
                <a:gd name="connsiteX43" fmla="*/ 3951640 w 4879580"/>
                <a:gd name="connsiteY43" fmla="*/ 228528 h 4724796"/>
                <a:gd name="connsiteX44" fmla="*/ 3950564 w 4879580"/>
                <a:gd name="connsiteY44" fmla="*/ 96672 h 4724796"/>
                <a:gd name="connsiteX45" fmla="*/ 3957484 w 4879580"/>
                <a:gd name="connsiteY45" fmla="*/ 72030 h 4724796"/>
                <a:gd name="connsiteX46" fmla="*/ 3964591 w 4879580"/>
                <a:gd name="connsiteY46" fmla="*/ 63895 h 4724796"/>
                <a:gd name="connsiteX47" fmla="*/ 3973849 w 4879580"/>
                <a:gd name="connsiteY47" fmla="*/ 72077 h 4724796"/>
                <a:gd name="connsiteX48" fmla="*/ 3997602 w 4879580"/>
                <a:gd name="connsiteY48" fmla="*/ 154651 h 4724796"/>
                <a:gd name="connsiteX49" fmla="*/ 4020420 w 4879580"/>
                <a:gd name="connsiteY49" fmla="*/ 383949 h 4724796"/>
                <a:gd name="connsiteX50" fmla="*/ 4020934 w 4879580"/>
                <a:gd name="connsiteY50" fmla="*/ 393254 h 4724796"/>
                <a:gd name="connsiteX51" fmla="*/ 4043378 w 4879580"/>
                <a:gd name="connsiteY51" fmla="*/ 417240 h 4724796"/>
                <a:gd name="connsiteX52" fmla="*/ 4061987 w 4879580"/>
                <a:gd name="connsiteY52" fmla="*/ 392272 h 4724796"/>
                <a:gd name="connsiteX53" fmla="*/ 4056984 w 4879580"/>
                <a:gd name="connsiteY53" fmla="*/ 282953 h 4724796"/>
                <a:gd name="connsiteX54" fmla="*/ 4066383 w 4879580"/>
                <a:gd name="connsiteY54" fmla="*/ 76238 h 4724796"/>
                <a:gd name="connsiteX55" fmla="*/ 4068393 w 4879580"/>
                <a:gd name="connsiteY55" fmla="*/ 64736 h 4724796"/>
                <a:gd name="connsiteX56" fmla="*/ 4080129 w 4879580"/>
                <a:gd name="connsiteY56" fmla="*/ 46407 h 4724796"/>
                <a:gd name="connsiteX57" fmla="*/ 4095933 w 4879580"/>
                <a:gd name="connsiteY57" fmla="*/ 63427 h 4724796"/>
                <a:gd name="connsiteX58" fmla="*/ 4210209 w 4879580"/>
                <a:gd name="connsiteY58" fmla="*/ 1263410 h 4724796"/>
                <a:gd name="connsiteX59" fmla="*/ 4256311 w 4879580"/>
                <a:gd name="connsiteY59" fmla="*/ 1519734 h 4724796"/>
                <a:gd name="connsiteX60" fmla="*/ 4257387 w 4879580"/>
                <a:gd name="connsiteY60" fmla="*/ 1538344 h 4724796"/>
                <a:gd name="connsiteX61" fmla="*/ 4234429 w 4879580"/>
                <a:gd name="connsiteY61" fmla="*/ 1563499 h 4724796"/>
                <a:gd name="connsiteX62" fmla="*/ 3959869 w 4879580"/>
                <a:gd name="connsiteY62" fmla="*/ 1566492 h 4724796"/>
                <a:gd name="connsiteX63" fmla="*/ 3850644 w 4879580"/>
                <a:gd name="connsiteY63" fmla="*/ 1561629 h 4724796"/>
                <a:gd name="connsiteX64" fmla="*/ 3830257 w 4879580"/>
                <a:gd name="connsiteY64" fmla="*/ 1542458 h 4724796"/>
                <a:gd name="connsiteX65" fmla="*/ 3707893 w 4879580"/>
                <a:gd name="connsiteY65" fmla="*/ 1261867 h 4724796"/>
                <a:gd name="connsiteX66" fmla="*/ 3485842 w 4879580"/>
                <a:gd name="connsiteY66" fmla="*/ 1011995 h 4724796"/>
                <a:gd name="connsiteX67" fmla="*/ 3317328 w 4879580"/>
                <a:gd name="connsiteY67" fmla="*/ 884020 h 4724796"/>
                <a:gd name="connsiteX68" fmla="*/ 3263651 w 4879580"/>
                <a:gd name="connsiteY68" fmla="*/ 839460 h 4724796"/>
                <a:gd name="connsiteX69" fmla="*/ 3246818 w 4879580"/>
                <a:gd name="connsiteY69" fmla="*/ 817344 h 4724796"/>
                <a:gd name="connsiteX70" fmla="*/ 3243124 w 4879580"/>
                <a:gd name="connsiteY70" fmla="*/ 784427 h 4724796"/>
                <a:gd name="connsiteX71" fmla="*/ 3275060 w 4879580"/>
                <a:gd name="connsiteY71" fmla="*/ 775169 h 4724796"/>
                <a:gd name="connsiteX72" fmla="*/ 3341409 w 4879580"/>
                <a:gd name="connsiteY72" fmla="*/ 806543 h 4724796"/>
                <a:gd name="connsiteX73" fmla="*/ 3591234 w 4879580"/>
                <a:gd name="connsiteY73" fmla="*/ 988616 h 4724796"/>
                <a:gd name="connsiteX74" fmla="*/ 3626629 w 4879580"/>
                <a:gd name="connsiteY74" fmla="*/ 1018635 h 4724796"/>
                <a:gd name="connsiteX75" fmla="*/ 3659359 w 4879580"/>
                <a:gd name="connsiteY75" fmla="*/ 1018494 h 4724796"/>
                <a:gd name="connsiteX76" fmla="*/ 3650616 w 4879580"/>
                <a:gd name="connsiteY76" fmla="*/ 984034 h 4724796"/>
                <a:gd name="connsiteX77" fmla="*/ 3415192 w 4879580"/>
                <a:gd name="connsiteY77" fmla="*/ 802195 h 4724796"/>
                <a:gd name="connsiteX78" fmla="*/ 3299607 w 4879580"/>
                <a:gd name="connsiteY78" fmla="*/ 694465 h 4724796"/>
                <a:gd name="connsiteX79" fmla="*/ 3292079 w 4879580"/>
                <a:gd name="connsiteY79" fmla="*/ 685581 h 4724796"/>
                <a:gd name="connsiteX80" fmla="*/ 3286842 w 4879580"/>
                <a:gd name="connsiteY80" fmla="*/ 642798 h 4724796"/>
                <a:gd name="connsiteX81" fmla="*/ 3331870 w 4879580"/>
                <a:gd name="connsiteY81" fmla="*/ 636720 h 4724796"/>
                <a:gd name="connsiteX82" fmla="*/ 3404157 w 4879580"/>
                <a:gd name="connsiteY82" fmla="*/ 673424 h 4724796"/>
                <a:gd name="connsiteX83" fmla="*/ 3678670 w 4879580"/>
                <a:gd name="connsiteY83" fmla="*/ 883085 h 4724796"/>
                <a:gd name="connsiteX84" fmla="*/ 3707098 w 4879580"/>
                <a:gd name="connsiteY84" fmla="*/ 907071 h 4724796"/>
                <a:gd name="connsiteX85" fmla="*/ 3734405 w 4879580"/>
                <a:gd name="connsiteY85" fmla="*/ 905388 h 4724796"/>
                <a:gd name="connsiteX86" fmla="*/ 3731272 w 4879580"/>
                <a:gd name="connsiteY86" fmla="*/ 875837 h 4724796"/>
                <a:gd name="connsiteX87" fmla="*/ 3623496 w 4879580"/>
                <a:gd name="connsiteY87" fmla="*/ 776384 h 4724796"/>
                <a:gd name="connsiteX88" fmla="*/ 3430528 w 4879580"/>
                <a:gd name="connsiteY88" fmla="*/ 582668 h 4724796"/>
                <a:gd name="connsiteX89" fmla="*/ 3419306 w 4879580"/>
                <a:gd name="connsiteY89" fmla="*/ 562376 h 4724796"/>
                <a:gd name="connsiteX90" fmla="*/ 3416968 w 4879580"/>
                <a:gd name="connsiteY90" fmla="*/ 536565 h 4724796"/>
                <a:gd name="connsiteX91" fmla="*/ 3443480 w 4879580"/>
                <a:gd name="connsiteY91" fmla="*/ 536753 h 4724796"/>
                <a:gd name="connsiteX92" fmla="*/ 3579965 w 4879580"/>
                <a:gd name="connsiteY92" fmla="*/ 627976 h 4724796"/>
                <a:gd name="connsiteX93" fmla="*/ 3737678 w 4879580"/>
                <a:gd name="connsiteY93" fmla="*/ 788728 h 4724796"/>
                <a:gd name="connsiteX94" fmla="*/ 3742260 w 4879580"/>
                <a:gd name="connsiteY94" fmla="*/ 794012 h 4724796"/>
                <a:gd name="connsiteX95" fmla="*/ 3774990 w 4879580"/>
                <a:gd name="connsiteY95" fmla="*/ 802007 h 4724796"/>
                <a:gd name="connsiteX96" fmla="*/ 3774149 w 4879580"/>
                <a:gd name="connsiteY96" fmla="*/ 766846 h 4724796"/>
                <a:gd name="connsiteX97" fmla="*/ 3715702 w 4879580"/>
                <a:gd name="connsiteY97" fmla="*/ 694512 h 4724796"/>
                <a:gd name="connsiteX98" fmla="*/ 3625413 w 4879580"/>
                <a:gd name="connsiteY98" fmla="*/ 545870 h 4724796"/>
                <a:gd name="connsiteX99" fmla="*/ 3616950 w 4879580"/>
                <a:gd name="connsiteY99" fmla="*/ 505051 h 4724796"/>
                <a:gd name="connsiteX100" fmla="*/ 3651457 w 4879580"/>
                <a:gd name="connsiteY100" fmla="*/ 478820 h 4724796"/>
                <a:gd name="connsiteX101" fmla="*/ 3743429 w 4879580"/>
                <a:gd name="connsiteY101" fmla="*/ 547553 h 4724796"/>
                <a:gd name="connsiteX102" fmla="*/ 3969688 w 4879580"/>
                <a:gd name="connsiteY102" fmla="*/ 864429 h 4724796"/>
                <a:gd name="connsiteX103" fmla="*/ 4036551 w 4879580"/>
                <a:gd name="connsiteY103" fmla="*/ 1004935 h 4724796"/>
                <a:gd name="connsiteX104" fmla="*/ 4066008 w 4879580"/>
                <a:gd name="connsiteY104" fmla="*/ 1024620 h 4724796"/>
                <a:gd name="connsiteX105" fmla="*/ 4078259 w 4879580"/>
                <a:gd name="connsiteY105" fmla="*/ 991282 h 4724796"/>
                <a:gd name="connsiteX106" fmla="*/ 4056657 w 4879580"/>
                <a:gd name="connsiteY106" fmla="*/ 825293 h 4724796"/>
                <a:gd name="connsiteX107" fmla="*/ 4058574 w 4879580"/>
                <a:gd name="connsiteY107" fmla="*/ 802101 h 4724796"/>
                <a:gd name="connsiteX108" fmla="*/ 4075407 w 4879580"/>
                <a:gd name="connsiteY108" fmla="*/ 795415 h 4724796"/>
                <a:gd name="connsiteX109" fmla="*/ 4112111 w 4879580"/>
                <a:gd name="connsiteY109" fmla="*/ 833382 h 4724796"/>
                <a:gd name="connsiteX110" fmla="*/ 4158167 w 4879580"/>
                <a:gd name="connsiteY110" fmla="*/ 996238 h 4724796"/>
                <a:gd name="connsiteX111" fmla="*/ 4210255 w 4879580"/>
                <a:gd name="connsiteY111" fmla="*/ 1263410 h 4724796"/>
                <a:gd name="connsiteX112" fmla="*/ 2696483 w 4879580"/>
                <a:gd name="connsiteY112" fmla="*/ 3410652 h 4724796"/>
                <a:gd name="connsiteX113" fmla="*/ 2462275 w 4879580"/>
                <a:gd name="connsiteY113" fmla="*/ 3411540 h 4724796"/>
                <a:gd name="connsiteX114" fmla="*/ 2331261 w 4879580"/>
                <a:gd name="connsiteY114" fmla="*/ 3276972 h 4724796"/>
                <a:gd name="connsiteX115" fmla="*/ 2320974 w 4879580"/>
                <a:gd name="connsiteY115" fmla="*/ 2864759 h 4724796"/>
                <a:gd name="connsiteX116" fmla="*/ 2417341 w 4879580"/>
                <a:gd name="connsiteY116" fmla="*/ 2574582 h 4724796"/>
                <a:gd name="connsiteX117" fmla="*/ 2562009 w 4879580"/>
                <a:gd name="connsiteY117" fmla="*/ 2393303 h 4724796"/>
                <a:gd name="connsiteX118" fmla="*/ 2724257 w 4879580"/>
                <a:gd name="connsiteY118" fmla="*/ 2409014 h 4724796"/>
                <a:gd name="connsiteX119" fmla="*/ 2804166 w 4879580"/>
                <a:gd name="connsiteY119" fmla="*/ 2556767 h 4724796"/>
                <a:gd name="connsiteX120" fmla="*/ 2839888 w 4879580"/>
                <a:gd name="connsiteY120" fmla="*/ 2827820 h 4724796"/>
                <a:gd name="connsiteX121" fmla="*/ 2820297 w 4879580"/>
                <a:gd name="connsiteY121" fmla="*/ 3033787 h 4724796"/>
                <a:gd name="connsiteX122" fmla="*/ 2754790 w 4879580"/>
                <a:gd name="connsiteY122" fmla="*/ 3363941 h 4724796"/>
                <a:gd name="connsiteX123" fmla="*/ 2696483 w 4879580"/>
                <a:gd name="connsiteY123" fmla="*/ 3410652 h 4724796"/>
                <a:gd name="connsiteX124" fmla="*/ 170272 w 4879580"/>
                <a:gd name="connsiteY124" fmla="*/ 4380634 h 4724796"/>
                <a:gd name="connsiteX125" fmla="*/ 189957 w 4879580"/>
                <a:gd name="connsiteY125" fmla="*/ 4423464 h 4724796"/>
                <a:gd name="connsiteX126" fmla="*/ 205434 w 4879580"/>
                <a:gd name="connsiteY126" fmla="*/ 4536056 h 4724796"/>
                <a:gd name="connsiteX127" fmla="*/ 196644 w 4879580"/>
                <a:gd name="connsiteY127" fmla="*/ 4546951 h 4724796"/>
                <a:gd name="connsiteX128" fmla="*/ 74560 w 4879580"/>
                <a:gd name="connsiteY128" fmla="*/ 4573837 h 4724796"/>
                <a:gd name="connsiteX129" fmla="*/ 52350 w 4879580"/>
                <a:gd name="connsiteY129" fmla="*/ 4557144 h 4724796"/>
                <a:gd name="connsiteX130" fmla="*/ 38417 w 4879580"/>
                <a:gd name="connsiteY130" fmla="*/ 4458673 h 4724796"/>
                <a:gd name="connsiteX131" fmla="*/ 49405 w 4879580"/>
                <a:gd name="connsiteY131" fmla="*/ 4409157 h 4724796"/>
                <a:gd name="connsiteX132" fmla="*/ 170226 w 4879580"/>
                <a:gd name="connsiteY132" fmla="*/ 4380588 h 4724796"/>
                <a:gd name="connsiteX133" fmla="*/ 4037954 w 4879580"/>
                <a:gd name="connsiteY133" fmla="*/ 40235 h 4724796"/>
                <a:gd name="connsiteX134" fmla="*/ 4021776 w 4879580"/>
                <a:gd name="connsiteY134" fmla="*/ 78997 h 4724796"/>
                <a:gd name="connsiteX135" fmla="*/ 3997930 w 4879580"/>
                <a:gd name="connsiteY135" fmla="*/ 33876 h 4724796"/>
                <a:gd name="connsiteX136" fmla="*/ 3941353 w 4879580"/>
                <a:gd name="connsiteY136" fmla="*/ 29434 h 4724796"/>
                <a:gd name="connsiteX137" fmla="*/ 3915403 w 4879580"/>
                <a:gd name="connsiteY137" fmla="*/ 83346 h 4724796"/>
                <a:gd name="connsiteX138" fmla="*/ 3906799 w 4879580"/>
                <a:gd name="connsiteY138" fmla="*/ 100973 h 4724796"/>
                <a:gd name="connsiteX139" fmla="*/ 3894081 w 4879580"/>
                <a:gd name="connsiteY139" fmla="*/ 84468 h 4724796"/>
                <a:gd name="connsiteX140" fmla="*/ 3849335 w 4879580"/>
                <a:gd name="connsiteY140" fmla="*/ 45192 h 4724796"/>
                <a:gd name="connsiteX141" fmla="*/ 3804167 w 4879580"/>
                <a:gd name="connsiteY141" fmla="*/ 83626 h 4724796"/>
                <a:gd name="connsiteX142" fmla="*/ 3797153 w 4879580"/>
                <a:gd name="connsiteY142" fmla="*/ 103264 h 4724796"/>
                <a:gd name="connsiteX143" fmla="*/ 3789999 w 4879580"/>
                <a:gd name="connsiteY143" fmla="*/ 174897 h 4724796"/>
                <a:gd name="connsiteX144" fmla="*/ 3786259 w 4879580"/>
                <a:gd name="connsiteY144" fmla="*/ 191636 h 4724796"/>
                <a:gd name="connsiteX145" fmla="*/ 3774429 w 4879580"/>
                <a:gd name="connsiteY145" fmla="*/ 180414 h 4724796"/>
                <a:gd name="connsiteX146" fmla="*/ 3736415 w 4879580"/>
                <a:gd name="connsiteY146" fmla="*/ 133797 h 4724796"/>
                <a:gd name="connsiteX147" fmla="*/ 3660762 w 4879580"/>
                <a:gd name="connsiteY147" fmla="*/ 155679 h 4724796"/>
                <a:gd name="connsiteX148" fmla="*/ 3652907 w 4879580"/>
                <a:gd name="connsiteY148" fmla="*/ 224506 h 4724796"/>
                <a:gd name="connsiteX149" fmla="*/ 3706210 w 4879580"/>
                <a:gd name="connsiteY149" fmla="*/ 431221 h 4724796"/>
                <a:gd name="connsiteX150" fmla="*/ 3712709 w 4879580"/>
                <a:gd name="connsiteY150" fmla="*/ 463764 h 4724796"/>
                <a:gd name="connsiteX151" fmla="*/ 3681803 w 4879580"/>
                <a:gd name="connsiteY151" fmla="*/ 448194 h 4724796"/>
                <a:gd name="connsiteX152" fmla="*/ 3585436 w 4879580"/>
                <a:gd name="connsiteY152" fmla="*/ 482327 h 4724796"/>
                <a:gd name="connsiteX153" fmla="*/ 3592075 w 4879580"/>
                <a:gd name="connsiteY153" fmla="*/ 566911 h 4724796"/>
                <a:gd name="connsiteX154" fmla="*/ 3597779 w 4879580"/>
                <a:gd name="connsiteY154" fmla="*/ 588186 h 4724796"/>
                <a:gd name="connsiteX155" fmla="*/ 3578843 w 4879580"/>
                <a:gd name="connsiteY155" fmla="*/ 579676 h 4724796"/>
                <a:gd name="connsiteX156" fmla="*/ 3555604 w 4879580"/>
                <a:gd name="connsiteY156" fmla="*/ 557232 h 4724796"/>
                <a:gd name="connsiteX157" fmla="*/ 3542372 w 4879580"/>
                <a:gd name="connsiteY157" fmla="*/ 548489 h 4724796"/>
                <a:gd name="connsiteX158" fmla="*/ 3443246 w 4879580"/>
                <a:gd name="connsiteY158" fmla="*/ 495840 h 4724796"/>
                <a:gd name="connsiteX159" fmla="*/ 3379843 w 4879580"/>
                <a:gd name="connsiteY159" fmla="*/ 557887 h 4724796"/>
                <a:gd name="connsiteX160" fmla="*/ 3400510 w 4879580"/>
                <a:gd name="connsiteY160" fmla="*/ 604083 h 4724796"/>
                <a:gd name="connsiteX161" fmla="*/ 3409955 w 4879580"/>
                <a:gd name="connsiteY161" fmla="*/ 630267 h 4724796"/>
                <a:gd name="connsiteX162" fmla="*/ 3360673 w 4879580"/>
                <a:gd name="connsiteY162" fmla="*/ 603709 h 4724796"/>
                <a:gd name="connsiteX163" fmla="*/ 3329439 w 4879580"/>
                <a:gd name="connsiteY163" fmla="*/ 594498 h 4724796"/>
                <a:gd name="connsiteX164" fmla="*/ 3246725 w 4879580"/>
                <a:gd name="connsiteY164" fmla="*/ 661221 h 4724796"/>
                <a:gd name="connsiteX165" fmla="*/ 3269028 w 4879580"/>
                <a:gd name="connsiteY165" fmla="*/ 714057 h 4724796"/>
                <a:gd name="connsiteX166" fmla="*/ 3258648 w 4879580"/>
                <a:gd name="connsiteY166" fmla="*/ 736313 h 4724796"/>
                <a:gd name="connsiteX167" fmla="*/ 3206373 w 4879580"/>
                <a:gd name="connsiteY167" fmla="*/ 814679 h 4724796"/>
                <a:gd name="connsiteX168" fmla="*/ 3234100 w 4879580"/>
                <a:gd name="connsiteY168" fmla="*/ 862278 h 4724796"/>
                <a:gd name="connsiteX169" fmla="*/ 3347347 w 4879580"/>
                <a:gd name="connsiteY169" fmla="*/ 951444 h 4724796"/>
                <a:gd name="connsiteX170" fmla="*/ 3659125 w 4879580"/>
                <a:gd name="connsiteY170" fmla="*/ 1261727 h 4724796"/>
                <a:gd name="connsiteX171" fmla="*/ 3766340 w 4879580"/>
                <a:gd name="connsiteY171" fmla="*/ 1453666 h 4724796"/>
                <a:gd name="connsiteX172" fmla="*/ 3808889 w 4879580"/>
                <a:gd name="connsiteY172" fmla="*/ 1801074 h 4724796"/>
                <a:gd name="connsiteX173" fmla="*/ 3768210 w 4879580"/>
                <a:gd name="connsiteY173" fmla="*/ 2027239 h 4724796"/>
                <a:gd name="connsiteX174" fmla="*/ 3717993 w 4879580"/>
                <a:gd name="connsiteY174" fmla="*/ 2157225 h 4724796"/>
                <a:gd name="connsiteX175" fmla="*/ 3627237 w 4879580"/>
                <a:gd name="connsiteY175" fmla="*/ 2371655 h 4724796"/>
                <a:gd name="connsiteX176" fmla="*/ 3513476 w 4879580"/>
                <a:gd name="connsiteY176" fmla="*/ 2577154 h 4724796"/>
                <a:gd name="connsiteX177" fmla="*/ 3369042 w 4879580"/>
                <a:gd name="connsiteY177" fmla="*/ 2807621 h 4724796"/>
                <a:gd name="connsiteX178" fmla="*/ 3186688 w 4879580"/>
                <a:gd name="connsiteY178" fmla="*/ 3053939 h 4724796"/>
                <a:gd name="connsiteX179" fmla="*/ 3023224 w 4879580"/>
                <a:gd name="connsiteY179" fmla="*/ 3224978 h 4724796"/>
                <a:gd name="connsiteX180" fmla="*/ 2826749 w 4879580"/>
                <a:gd name="connsiteY180" fmla="*/ 3356787 h 4724796"/>
                <a:gd name="connsiteX181" fmla="*/ 2809917 w 4879580"/>
                <a:gd name="connsiteY181" fmla="*/ 3361182 h 4724796"/>
                <a:gd name="connsiteX182" fmla="*/ 2807953 w 4879580"/>
                <a:gd name="connsiteY182" fmla="*/ 3341684 h 4724796"/>
                <a:gd name="connsiteX183" fmla="*/ 2811039 w 4879580"/>
                <a:gd name="connsiteY183" fmla="*/ 3328078 h 4724796"/>
                <a:gd name="connsiteX184" fmla="*/ 2840262 w 4879580"/>
                <a:gd name="connsiteY184" fmla="*/ 3196596 h 4724796"/>
                <a:gd name="connsiteX185" fmla="*/ 2870935 w 4879580"/>
                <a:gd name="connsiteY185" fmla="*/ 2961266 h 4724796"/>
                <a:gd name="connsiteX186" fmla="*/ 2847744 w 4879580"/>
                <a:gd name="connsiteY186" fmla="*/ 2591414 h 4724796"/>
                <a:gd name="connsiteX187" fmla="*/ 2765965 w 4879580"/>
                <a:gd name="connsiteY187" fmla="*/ 2395314 h 4724796"/>
                <a:gd name="connsiteX188" fmla="*/ 2700645 w 4879580"/>
                <a:gd name="connsiteY188" fmla="*/ 2333547 h 4724796"/>
                <a:gd name="connsiteX189" fmla="*/ 2506835 w 4879580"/>
                <a:gd name="connsiteY189" fmla="*/ 2367306 h 4724796"/>
                <a:gd name="connsiteX190" fmla="*/ 2387323 w 4879580"/>
                <a:gd name="connsiteY190" fmla="*/ 2534791 h 4724796"/>
                <a:gd name="connsiteX191" fmla="*/ 2277303 w 4879580"/>
                <a:gd name="connsiteY191" fmla="*/ 2889166 h 4724796"/>
                <a:gd name="connsiteX192" fmla="*/ 2296941 w 4879580"/>
                <a:gd name="connsiteY192" fmla="*/ 3276551 h 4724796"/>
                <a:gd name="connsiteX193" fmla="*/ 2533159 w 4879580"/>
                <a:gd name="connsiteY193" fmla="*/ 3485043 h 4724796"/>
                <a:gd name="connsiteX194" fmla="*/ 2698961 w 4879580"/>
                <a:gd name="connsiteY194" fmla="*/ 3473634 h 4724796"/>
                <a:gd name="connsiteX195" fmla="*/ 2720891 w 4879580"/>
                <a:gd name="connsiteY195" fmla="*/ 3495142 h 4724796"/>
                <a:gd name="connsiteX196" fmla="*/ 2703357 w 4879580"/>
                <a:gd name="connsiteY196" fmla="*/ 3552934 h 4724796"/>
                <a:gd name="connsiteX197" fmla="*/ 2626487 w 4879580"/>
                <a:gd name="connsiteY197" fmla="*/ 3779614 h 4724796"/>
                <a:gd name="connsiteX198" fmla="*/ 2522218 w 4879580"/>
                <a:gd name="connsiteY198" fmla="*/ 4022426 h 4724796"/>
                <a:gd name="connsiteX199" fmla="*/ 2413881 w 4879580"/>
                <a:gd name="connsiteY199" fmla="*/ 4211840 h 4724796"/>
                <a:gd name="connsiteX200" fmla="*/ 2312418 w 4879580"/>
                <a:gd name="connsiteY200" fmla="*/ 4322515 h 4724796"/>
                <a:gd name="connsiteX201" fmla="*/ 2130157 w 4879580"/>
                <a:gd name="connsiteY201" fmla="*/ 4429403 h 4724796"/>
                <a:gd name="connsiteX202" fmla="*/ 1973941 w 4879580"/>
                <a:gd name="connsiteY202" fmla="*/ 4492011 h 4724796"/>
                <a:gd name="connsiteX203" fmla="*/ 1906937 w 4879580"/>
                <a:gd name="connsiteY203" fmla="*/ 4493881 h 4724796"/>
                <a:gd name="connsiteX204" fmla="*/ 1572201 w 4879580"/>
                <a:gd name="connsiteY204" fmla="*/ 4410513 h 4724796"/>
                <a:gd name="connsiteX205" fmla="*/ 1408830 w 4879580"/>
                <a:gd name="connsiteY205" fmla="*/ 4308862 h 4724796"/>
                <a:gd name="connsiteX206" fmla="*/ 1259908 w 4879580"/>
                <a:gd name="connsiteY206" fmla="*/ 4182944 h 4724796"/>
                <a:gd name="connsiteX207" fmla="*/ 1121038 w 4879580"/>
                <a:gd name="connsiteY207" fmla="*/ 4048984 h 4724796"/>
                <a:gd name="connsiteX208" fmla="*/ 928164 w 4879580"/>
                <a:gd name="connsiteY208" fmla="*/ 3877571 h 4724796"/>
                <a:gd name="connsiteX209" fmla="*/ 668660 w 4879580"/>
                <a:gd name="connsiteY209" fmla="*/ 3704382 h 4724796"/>
                <a:gd name="connsiteX210" fmla="*/ 557658 w 4879580"/>
                <a:gd name="connsiteY210" fmla="*/ 3671371 h 4724796"/>
                <a:gd name="connsiteX211" fmla="*/ 338459 w 4879580"/>
                <a:gd name="connsiteY211" fmla="*/ 3720466 h 4724796"/>
                <a:gd name="connsiteX212" fmla="*/ 81948 w 4879580"/>
                <a:gd name="connsiteY212" fmla="*/ 3979456 h 4724796"/>
                <a:gd name="connsiteX213" fmla="*/ 21724 w 4879580"/>
                <a:gd name="connsiteY213" fmla="*/ 4321861 h 4724796"/>
                <a:gd name="connsiteX214" fmla="*/ 22893 w 4879580"/>
                <a:gd name="connsiteY214" fmla="*/ 4366701 h 4724796"/>
                <a:gd name="connsiteX215" fmla="*/ 4564 w 4879580"/>
                <a:gd name="connsiteY215" fmla="*/ 4501690 h 4724796"/>
                <a:gd name="connsiteX216" fmla="*/ 35751 w 4879580"/>
                <a:gd name="connsiteY216" fmla="*/ 4610915 h 4724796"/>
                <a:gd name="connsiteX217" fmla="*/ 95507 w 4879580"/>
                <a:gd name="connsiteY217" fmla="*/ 4702700 h 4724796"/>
                <a:gd name="connsiteX218" fmla="*/ 109581 w 4879580"/>
                <a:gd name="connsiteY218" fmla="*/ 4717616 h 4724796"/>
                <a:gd name="connsiteX219" fmla="*/ 137683 w 4879580"/>
                <a:gd name="connsiteY219" fmla="*/ 4722478 h 4724796"/>
                <a:gd name="connsiteX220" fmla="*/ 149512 w 4879580"/>
                <a:gd name="connsiteY220" fmla="*/ 4696808 h 4724796"/>
                <a:gd name="connsiteX221" fmla="*/ 135345 w 4879580"/>
                <a:gd name="connsiteY221" fmla="*/ 4647760 h 4724796"/>
                <a:gd name="connsiteX222" fmla="*/ 154515 w 4879580"/>
                <a:gd name="connsiteY222" fmla="*/ 4619799 h 4724796"/>
                <a:gd name="connsiteX223" fmla="*/ 184300 w 4879580"/>
                <a:gd name="connsiteY223" fmla="*/ 4632470 h 4724796"/>
                <a:gd name="connsiteX224" fmla="*/ 213757 w 4879580"/>
                <a:gd name="connsiteY224" fmla="*/ 4681799 h 4724796"/>
                <a:gd name="connsiteX225" fmla="*/ 239567 w 4879580"/>
                <a:gd name="connsiteY225" fmla="*/ 4684184 h 4724796"/>
                <a:gd name="connsiteX226" fmla="*/ 244102 w 4879580"/>
                <a:gd name="connsiteY226" fmla="*/ 4663143 h 4724796"/>
                <a:gd name="connsiteX227" fmla="*/ 229935 w 4879580"/>
                <a:gd name="connsiteY227" fmla="*/ 4621435 h 4724796"/>
                <a:gd name="connsiteX228" fmla="*/ 236247 w 4879580"/>
                <a:gd name="connsiteY228" fmla="*/ 4604229 h 4724796"/>
                <a:gd name="connsiteX229" fmla="*/ 261216 w 4879580"/>
                <a:gd name="connsiteY229" fmla="*/ 4558406 h 4724796"/>
                <a:gd name="connsiteX230" fmla="*/ 256446 w 4879580"/>
                <a:gd name="connsiteY230" fmla="*/ 4526144 h 4724796"/>
                <a:gd name="connsiteX231" fmla="*/ 198187 w 4879580"/>
                <a:gd name="connsiteY231" fmla="*/ 4371517 h 4724796"/>
                <a:gd name="connsiteX232" fmla="*/ 109207 w 4879580"/>
                <a:gd name="connsiteY232" fmla="*/ 4321487 h 4724796"/>
                <a:gd name="connsiteX233" fmla="*/ 90411 w 4879580"/>
                <a:gd name="connsiteY233" fmla="*/ 4308254 h 4724796"/>
                <a:gd name="connsiteX234" fmla="*/ 102147 w 4879580"/>
                <a:gd name="connsiteY234" fmla="*/ 4040521 h 4724796"/>
                <a:gd name="connsiteX235" fmla="*/ 302175 w 4879580"/>
                <a:gd name="connsiteY235" fmla="*/ 3773583 h 4724796"/>
                <a:gd name="connsiteX236" fmla="*/ 600862 w 4879580"/>
                <a:gd name="connsiteY236" fmla="*/ 3727573 h 4724796"/>
                <a:gd name="connsiteX237" fmla="*/ 840213 w 4879580"/>
                <a:gd name="connsiteY237" fmla="*/ 3880283 h 4724796"/>
                <a:gd name="connsiteX238" fmla="*/ 999983 w 4879580"/>
                <a:gd name="connsiteY238" fmla="*/ 4021257 h 4724796"/>
                <a:gd name="connsiteX239" fmla="*/ 1234705 w 4879580"/>
                <a:gd name="connsiteY239" fmla="*/ 4238445 h 4724796"/>
                <a:gd name="connsiteX240" fmla="*/ 1464612 w 4879580"/>
                <a:gd name="connsiteY240" fmla="*/ 4414300 h 4724796"/>
                <a:gd name="connsiteX241" fmla="*/ 1592447 w 4879580"/>
                <a:gd name="connsiteY241" fmla="*/ 4479480 h 4724796"/>
                <a:gd name="connsiteX242" fmla="*/ 1756144 w 4879580"/>
                <a:gd name="connsiteY242" fmla="*/ 4530773 h 4724796"/>
                <a:gd name="connsiteX243" fmla="*/ 1953180 w 4879580"/>
                <a:gd name="connsiteY243" fmla="*/ 4536617 h 4724796"/>
                <a:gd name="connsiteX244" fmla="*/ 2261826 w 4879580"/>
                <a:gd name="connsiteY244" fmla="*/ 4413973 h 4724796"/>
                <a:gd name="connsiteX245" fmla="*/ 2409860 w 4879580"/>
                <a:gd name="connsiteY245" fmla="*/ 4292497 h 4724796"/>
                <a:gd name="connsiteX246" fmla="*/ 2463444 w 4879580"/>
                <a:gd name="connsiteY246" fmla="*/ 4216750 h 4724796"/>
                <a:gd name="connsiteX247" fmla="*/ 2599181 w 4879580"/>
                <a:gd name="connsiteY247" fmla="*/ 4001806 h 4724796"/>
                <a:gd name="connsiteX248" fmla="*/ 2687599 w 4879580"/>
                <a:gd name="connsiteY248" fmla="*/ 3774705 h 4724796"/>
                <a:gd name="connsiteX249" fmla="*/ 2746607 w 4879580"/>
                <a:gd name="connsiteY249" fmla="*/ 3591650 h 4724796"/>
                <a:gd name="connsiteX250" fmla="*/ 2782049 w 4879580"/>
                <a:gd name="connsiteY250" fmla="*/ 3459373 h 4724796"/>
                <a:gd name="connsiteX251" fmla="*/ 2795889 w 4879580"/>
                <a:gd name="connsiteY251" fmla="*/ 3439501 h 4724796"/>
                <a:gd name="connsiteX252" fmla="*/ 2928868 w 4879580"/>
                <a:gd name="connsiteY252" fmla="*/ 3368476 h 4724796"/>
                <a:gd name="connsiteX253" fmla="*/ 3083074 w 4879580"/>
                <a:gd name="connsiteY253" fmla="*/ 3248871 h 4724796"/>
                <a:gd name="connsiteX254" fmla="*/ 3205157 w 4879580"/>
                <a:gd name="connsiteY254" fmla="*/ 3114724 h 4724796"/>
                <a:gd name="connsiteX255" fmla="*/ 3366143 w 4879580"/>
                <a:gd name="connsiteY255" fmla="*/ 2903801 h 4724796"/>
                <a:gd name="connsiteX256" fmla="*/ 3563039 w 4879580"/>
                <a:gd name="connsiteY256" fmla="*/ 2588703 h 4724796"/>
                <a:gd name="connsiteX257" fmla="*/ 3668664 w 4879580"/>
                <a:gd name="connsiteY257" fmla="*/ 2387459 h 4724796"/>
                <a:gd name="connsiteX258" fmla="*/ 3712616 w 4879580"/>
                <a:gd name="connsiteY258" fmla="*/ 2284779 h 4724796"/>
                <a:gd name="connsiteX259" fmla="*/ 3831286 w 4879580"/>
                <a:gd name="connsiteY259" fmla="*/ 1945367 h 4724796"/>
                <a:gd name="connsiteX260" fmla="*/ 3843864 w 4879580"/>
                <a:gd name="connsiteY260" fmla="*/ 1628024 h 4724796"/>
                <a:gd name="connsiteX261" fmla="*/ 3871030 w 4879580"/>
                <a:gd name="connsiteY261" fmla="*/ 1600437 h 4724796"/>
                <a:gd name="connsiteX262" fmla="*/ 4057124 w 4879580"/>
                <a:gd name="connsiteY262" fmla="*/ 1605908 h 4724796"/>
                <a:gd name="connsiteX263" fmla="*/ 4238684 w 4879580"/>
                <a:gd name="connsiteY263" fmla="*/ 1599409 h 4724796"/>
                <a:gd name="connsiteX264" fmla="*/ 4260987 w 4879580"/>
                <a:gd name="connsiteY264" fmla="*/ 1613202 h 4724796"/>
                <a:gd name="connsiteX265" fmla="*/ 4252103 w 4879580"/>
                <a:gd name="connsiteY265" fmla="*/ 1771242 h 4724796"/>
                <a:gd name="connsiteX266" fmla="*/ 4228210 w 4879580"/>
                <a:gd name="connsiteY266" fmla="*/ 1934566 h 4724796"/>
                <a:gd name="connsiteX267" fmla="*/ 4236720 w 4879580"/>
                <a:gd name="connsiteY267" fmla="*/ 1958646 h 4724796"/>
                <a:gd name="connsiteX268" fmla="*/ 4261875 w 4879580"/>
                <a:gd name="connsiteY268" fmla="*/ 1947191 h 4724796"/>
                <a:gd name="connsiteX269" fmla="*/ 4267814 w 4879580"/>
                <a:gd name="connsiteY269" fmla="*/ 1929844 h 4724796"/>
                <a:gd name="connsiteX270" fmla="*/ 4294699 w 4879580"/>
                <a:gd name="connsiteY270" fmla="*/ 1736361 h 4724796"/>
                <a:gd name="connsiteX271" fmla="*/ 4297692 w 4879580"/>
                <a:gd name="connsiteY271" fmla="*/ 1538718 h 4724796"/>
                <a:gd name="connsiteX272" fmla="*/ 4239572 w 4879580"/>
                <a:gd name="connsiteY272" fmla="*/ 1211369 h 4724796"/>
                <a:gd name="connsiteX273" fmla="*/ 4239712 w 4879580"/>
                <a:gd name="connsiteY273" fmla="*/ 1199399 h 4724796"/>
                <a:gd name="connsiteX274" fmla="*/ 4251822 w 4879580"/>
                <a:gd name="connsiteY274" fmla="*/ 1202485 h 4724796"/>
                <a:gd name="connsiteX275" fmla="*/ 4344729 w 4879580"/>
                <a:gd name="connsiteY275" fmla="*/ 1278232 h 4724796"/>
                <a:gd name="connsiteX276" fmla="*/ 4344729 w 4879580"/>
                <a:gd name="connsiteY276" fmla="*/ 1278232 h 4724796"/>
                <a:gd name="connsiteX277" fmla="*/ 4460407 w 4879580"/>
                <a:gd name="connsiteY277" fmla="*/ 1360057 h 4724796"/>
                <a:gd name="connsiteX278" fmla="*/ 4644164 w 4879580"/>
                <a:gd name="connsiteY278" fmla="*/ 1460399 h 4724796"/>
                <a:gd name="connsiteX279" fmla="*/ 4685872 w 4879580"/>
                <a:gd name="connsiteY279" fmla="*/ 1461287 h 4724796"/>
                <a:gd name="connsiteX280" fmla="*/ 4662259 w 4879580"/>
                <a:gd name="connsiteY280" fmla="*/ 1428791 h 4724796"/>
                <a:gd name="connsiteX281" fmla="*/ 4471489 w 4879580"/>
                <a:gd name="connsiteY281" fmla="*/ 1321950 h 4724796"/>
                <a:gd name="connsiteX282" fmla="*/ 4462278 w 4879580"/>
                <a:gd name="connsiteY282" fmla="*/ 1272107 h 4724796"/>
                <a:gd name="connsiteX283" fmla="*/ 4610873 w 4879580"/>
                <a:gd name="connsiteY283" fmla="*/ 1043930 h 4724796"/>
                <a:gd name="connsiteX284" fmla="*/ 4639535 w 4879580"/>
                <a:gd name="connsiteY284" fmla="*/ 1038273 h 4724796"/>
                <a:gd name="connsiteX285" fmla="*/ 4845268 w 4879580"/>
                <a:gd name="connsiteY285" fmla="*/ 1155868 h 4724796"/>
                <a:gd name="connsiteX286" fmla="*/ 4878092 w 4879580"/>
                <a:gd name="connsiteY286" fmla="*/ 1147451 h 4724796"/>
                <a:gd name="connsiteX287" fmla="*/ 4861025 w 4879580"/>
                <a:gd name="connsiteY287" fmla="*/ 1116591 h 4724796"/>
                <a:gd name="connsiteX288" fmla="*/ 4803420 w 4879580"/>
                <a:gd name="connsiteY288" fmla="*/ 1092465 h 4724796"/>
                <a:gd name="connsiteX289" fmla="*/ 4617419 w 4879580"/>
                <a:gd name="connsiteY289" fmla="*/ 970474 h 4724796"/>
                <a:gd name="connsiteX290" fmla="*/ 4410845 w 4879580"/>
                <a:gd name="connsiteY290" fmla="*/ 647942 h 4724796"/>
                <a:gd name="connsiteX291" fmla="*/ 4378956 w 4879580"/>
                <a:gd name="connsiteY291" fmla="*/ 402699 h 4724796"/>
                <a:gd name="connsiteX292" fmla="*/ 4365350 w 4879580"/>
                <a:gd name="connsiteY292" fmla="*/ 304882 h 4724796"/>
                <a:gd name="connsiteX293" fmla="*/ 4298393 w 4879580"/>
                <a:gd name="connsiteY293" fmla="*/ 297121 h 4724796"/>
                <a:gd name="connsiteX294" fmla="*/ 4283571 w 4879580"/>
                <a:gd name="connsiteY294" fmla="*/ 320593 h 4724796"/>
                <a:gd name="connsiteX295" fmla="*/ 4228163 w 4879580"/>
                <a:gd name="connsiteY295" fmla="*/ 490790 h 4724796"/>
                <a:gd name="connsiteX296" fmla="*/ 4219513 w 4879580"/>
                <a:gd name="connsiteY296" fmla="*/ 504724 h 4724796"/>
                <a:gd name="connsiteX297" fmla="*/ 4211284 w 4879580"/>
                <a:gd name="connsiteY297" fmla="*/ 491959 h 4724796"/>
                <a:gd name="connsiteX298" fmla="*/ 4187157 w 4879580"/>
                <a:gd name="connsiteY298" fmla="*/ 419111 h 4724796"/>
                <a:gd name="connsiteX299" fmla="*/ 4149704 w 4879580"/>
                <a:gd name="connsiteY299" fmla="*/ 214220 h 4724796"/>
                <a:gd name="connsiteX300" fmla="*/ 4129552 w 4879580"/>
                <a:gd name="connsiteY300" fmla="*/ 41825 h 4724796"/>
                <a:gd name="connsiteX301" fmla="*/ 4081438 w 4879580"/>
                <a:gd name="connsiteY301" fmla="*/ 71 h 4724796"/>
                <a:gd name="connsiteX302" fmla="*/ 4038001 w 4879580"/>
                <a:gd name="connsiteY302" fmla="*/ 40422 h 47247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</a:cxnLst>
              <a:rect l="l" t="t" r="r" b="b"/>
              <a:pathLst>
                <a:path w="4879580" h="4724796">
                  <a:moveTo>
                    <a:pt x="4095886" y="63427"/>
                  </a:moveTo>
                  <a:cubicBezTo>
                    <a:pt x="4106921" y="97747"/>
                    <a:pt x="4111410" y="133797"/>
                    <a:pt x="4108932" y="169239"/>
                  </a:cubicBezTo>
                  <a:cubicBezTo>
                    <a:pt x="4100702" y="287956"/>
                    <a:pt x="4135443" y="398163"/>
                    <a:pt x="4172802" y="507810"/>
                  </a:cubicBezTo>
                  <a:cubicBezTo>
                    <a:pt x="4181219" y="532544"/>
                    <a:pt x="4194638" y="555736"/>
                    <a:pt x="4207310" y="578787"/>
                  </a:cubicBezTo>
                  <a:cubicBezTo>
                    <a:pt x="4217129" y="596602"/>
                    <a:pt x="4239385" y="595714"/>
                    <a:pt x="4250887" y="578133"/>
                  </a:cubicBezTo>
                  <a:cubicBezTo>
                    <a:pt x="4266224" y="554754"/>
                    <a:pt x="4261595" y="526933"/>
                    <a:pt x="4266083" y="501404"/>
                  </a:cubicBezTo>
                  <a:cubicBezTo>
                    <a:pt x="4275949" y="445061"/>
                    <a:pt x="4298580" y="392880"/>
                    <a:pt x="4313870" y="338407"/>
                  </a:cubicBezTo>
                  <a:cubicBezTo>
                    <a:pt x="4315319" y="333264"/>
                    <a:pt x="4317563" y="327466"/>
                    <a:pt x="4324203" y="327186"/>
                  </a:cubicBezTo>
                  <a:cubicBezTo>
                    <a:pt x="4332993" y="326765"/>
                    <a:pt x="4332900" y="334527"/>
                    <a:pt x="4334770" y="340091"/>
                  </a:cubicBezTo>
                  <a:cubicBezTo>
                    <a:pt x="4346927" y="376889"/>
                    <a:pt x="4339446" y="414061"/>
                    <a:pt x="4336126" y="450999"/>
                  </a:cubicBezTo>
                  <a:cubicBezTo>
                    <a:pt x="4331310" y="503789"/>
                    <a:pt x="4328131" y="556391"/>
                    <a:pt x="4343280" y="608198"/>
                  </a:cubicBezTo>
                  <a:cubicBezTo>
                    <a:pt x="4345665" y="616427"/>
                    <a:pt x="4347114" y="625405"/>
                    <a:pt x="4351603" y="632325"/>
                  </a:cubicBezTo>
                  <a:cubicBezTo>
                    <a:pt x="4397519" y="703396"/>
                    <a:pt x="4419495" y="787466"/>
                    <a:pt x="4472143" y="854703"/>
                  </a:cubicBezTo>
                  <a:cubicBezTo>
                    <a:pt x="4507913" y="900385"/>
                    <a:pt x="4536762" y="951818"/>
                    <a:pt x="4581229" y="990440"/>
                  </a:cubicBezTo>
                  <a:cubicBezTo>
                    <a:pt x="4591048" y="998950"/>
                    <a:pt x="4591001" y="1007273"/>
                    <a:pt x="4584174" y="1016811"/>
                  </a:cubicBezTo>
                  <a:cubicBezTo>
                    <a:pt x="4526710" y="1097047"/>
                    <a:pt x="4474528" y="1180602"/>
                    <a:pt x="4423048" y="1264719"/>
                  </a:cubicBezTo>
                  <a:cubicBezTo>
                    <a:pt x="4416128" y="1276034"/>
                    <a:pt x="4408740" y="1279120"/>
                    <a:pt x="4396677" y="1270377"/>
                  </a:cubicBezTo>
                  <a:cubicBezTo>
                    <a:pt x="4333227" y="1224508"/>
                    <a:pt x="4270011" y="1178498"/>
                    <a:pt x="4222880" y="1114534"/>
                  </a:cubicBezTo>
                  <a:cubicBezTo>
                    <a:pt x="4219747" y="1110279"/>
                    <a:pt x="4216240" y="1104949"/>
                    <a:pt x="4216100" y="1100039"/>
                  </a:cubicBezTo>
                  <a:cubicBezTo>
                    <a:pt x="4215212" y="1058519"/>
                    <a:pt x="4197397" y="1020271"/>
                    <a:pt x="4193937" y="979125"/>
                  </a:cubicBezTo>
                  <a:cubicBezTo>
                    <a:pt x="4189541" y="926990"/>
                    <a:pt x="4176262" y="876258"/>
                    <a:pt x="4154894" y="828706"/>
                  </a:cubicBezTo>
                  <a:cubicBezTo>
                    <a:pt x="4138716" y="792656"/>
                    <a:pt x="4112906" y="763245"/>
                    <a:pt x="4072648" y="751556"/>
                  </a:cubicBezTo>
                  <a:cubicBezTo>
                    <a:pt x="4048755" y="744636"/>
                    <a:pt x="4036598" y="751182"/>
                    <a:pt x="4026218" y="774000"/>
                  </a:cubicBezTo>
                  <a:cubicBezTo>
                    <a:pt x="4017194" y="793872"/>
                    <a:pt x="4017895" y="814819"/>
                    <a:pt x="4018783" y="835813"/>
                  </a:cubicBezTo>
                  <a:cubicBezTo>
                    <a:pt x="4019111" y="843294"/>
                    <a:pt x="4023132" y="851056"/>
                    <a:pt x="4015651" y="859846"/>
                  </a:cubicBezTo>
                  <a:cubicBezTo>
                    <a:pt x="4002699" y="852318"/>
                    <a:pt x="4001951" y="838572"/>
                    <a:pt x="3996293" y="828051"/>
                  </a:cubicBezTo>
                  <a:cubicBezTo>
                    <a:pt x="3956689" y="754829"/>
                    <a:pt x="3907547" y="688527"/>
                    <a:pt x="3857751" y="621945"/>
                  </a:cubicBezTo>
                  <a:cubicBezTo>
                    <a:pt x="3808328" y="555923"/>
                    <a:pt x="3764890" y="484805"/>
                    <a:pt x="3737397" y="405271"/>
                  </a:cubicBezTo>
                  <a:cubicBezTo>
                    <a:pt x="3719349" y="352996"/>
                    <a:pt x="3705228" y="299926"/>
                    <a:pt x="3692978" y="246202"/>
                  </a:cubicBezTo>
                  <a:cubicBezTo>
                    <a:pt x="3687928" y="223945"/>
                    <a:pt x="3688769" y="201315"/>
                    <a:pt x="3692557" y="179105"/>
                  </a:cubicBezTo>
                  <a:cubicBezTo>
                    <a:pt x="3696017" y="158906"/>
                    <a:pt x="3705929" y="156427"/>
                    <a:pt x="3721266" y="171203"/>
                  </a:cubicBezTo>
                  <a:cubicBezTo>
                    <a:pt x="3735480" y="184903"/>
                    <a:pt x="3743803" y="202717"/>
                    <a:pt x="3752500" y="220018"/>
                  </a:cubicBezTo>
                  <a:cubicBezTo>
                    <a:pt x="3775551" y="265746"/>
                    <a:pt x="3795984" y="312644"/>
                    <a:pt x="3812302" y="361319"/>
                  </a:cubicBezTo>
                  <a:cubicBezTo>
                    <a:pt x="3817493" y="376749"/>
                    <a:pt x="3822683" y="399379"/>
                    <a:pt x="3845313" y="392085"/>
                  </a:cubicBezTo>
                  <a:cubicBezTo>
                    <a:pt x="3865793" y="385492"/>
                    <a:pt x="3857610" y="365106"/>
                    <a:pt x="3854525" y="349536"/>
                  </a:cubicBezTo>
                  <a:cubicBezTo>
                    <a:pt x="3844097" y="297074"/>
                    <a:pt x="3828761" y="245360"/>
                    <a:pt x="3827732" y="191309"/>
                  </a:cubicBezTo>
                  <a:cubicBezTo>
                    <a:pt x="3827171" y="163348"/>
                    <a:pt x="3828200" y="135387"/>
                    <a:pt x="3835261" y="108127"/>
                  </a:cubicBezTo>
                  <a:cubicBezTo>
                    <a:pt x="3837131" y="100973"/>
                    <a:pt x="3837318" y="90640"/>
                    <a:pt x="3846576" y="89705"/>
                  </a:cubicBezTo>
                  <a:cubicBezTo>
                    <a:pt x="3855880" y="88769"/>
                    <a:pt x="3858733" y="98542"/>
                    <a:pt x="3861117" y="105602"/>
                  </a:cubicBezTo>
                  <a:cubicBezTo>
                    <a:pt x="3872526" y="139408"/>
                    <a:pt x="3885338" y="172886"/>
                    <a:pt x="3893941" y="207393"/>
                  </a:cubicBezTo>
                  <a:cubicBezTo>
                    <a:pt x="3909605" y="270609"/>
                    <a:pt x="3922837" y="334480"/>
                    <a:pt x="3936724" y="398163"/>
                  </a:cubicBezTo>
                  <a:cubicBezTo>
                    <a:pt x="3939763" y="412097"/>
                    <a:pt x="3946543" y="422384"/>
                    <a:pt x="3961506" y="420046"/>
                  </a:cubicBezTo>
                  <a:cubicBezTo>
                    <a:pt x="3978712" y="417381"/>
                    <a:pt x="3980770" y="403166"/>
                    <a:pt x="3977730" y="389326"/>
                  </a:cubicBezTo>
                  <a:cubicBezTo>
                    <a:pt x="3966088" y="336210"/>
                    <a:pt x="3958233" y="282486"/>
                    <a:pt x="3951640" y="228528"/>
                  </a:cubicBezTo>
                  <a:cubicBezTo>
                    <a:pt x="3946263" y="184763"/>
                    <a:pt x="3939576" y="140717"/>
                    <a:pt x="3950564" y="96672"/>
                  </a:cubicBezTo>
                  <a:cubicBezTo>
                    <a:pt x="3952668" y="88395"/>
                    <a:pt x="3954585" y="80073"/>
                    <a:pt x="3957484" y="72030"/>
                  </a:cubicBezTo>
                  <a:cubicBezTo>
                    <a:pt x="3958653" y="68757"/>
                    <a:pt x="3961646" y="64643"/>
                    <a:pt x="3964591" y="63895"/>
                  </a:cubicBezTo>
                  <a:cubicBezTo>
                    <a:pt x="3970202" y="62398"/>
                    <a:pt x="3972353" y="67588"/>
                    <a:pt x="3973849" y="72077"/>
                  </a:cubicBezTo>
                  <a:cubicBezTo>
                    <a:pt x="3982874" y="99290"/>
                    <a:pt x="3992880" y="126222"/>
                    <a:pt x="3997602" y="154651"/>
                  </a:cubicBezTo>
                  <a:cubicBezTo>
                    <a:pt x="4010227" y="230585"/>
                    <a:pt x="4017147" y="307127"/>
                    <a:pt x="4020420" y="383949"/>
                  </a:cubicBezTo>
                  <a:cubicBezTo>
                    <a:pt x="4020560" y="387035"/>
                    <a:pt x="4020747" y="390168"/>
                    <a:pt x="4020934" y="393254"/>
                  </a:cubicBezTo>
                  <a:cubicBezTo>
                    <a:pt x="4021729" y="407515"/>
                    <a:pt x="4027761" y="417848"/>
                    <a:pt x="4043378" y="417240"/>
                  </a:cubicBezTo>
                  <a:cubicBezTo>
                    <a:pt x="4058667" y="416633"/>
                    <a:pt x="4062315" y="404289"/>
                    <a:pt x="4061987" y="392272"/>
                  </a:cubicBezTo>
                  <a:cubicBezTo>
                    <a:pt x="4060958" y="355801"/>
                    <a:pt x="4058901" y="319330"/>
                    <a:pt x="4056984" y="282953"/>
                  </a:cubicBezTo>
                  <a:cubicBezTo>
                    <a:pt x="4053431" y="213752"/>
                    <a:pt x="4055254" y="144785"/>
                    <a:pt x="4066383" y="76238"/>
                  </a:cubicBezTo>
                  <a:cubicBezTo>
                    <a:pt x="4066990" y="72404"/>
                    <a:pt x="4067692" y="68570"/>
                    <a:pt x="4068393" y="64736"/>
                  </a:cubicBezTo>
                  <a:cubicBezTo>
                    <a:pt x="4069843" y="56974"/>
                    <a:pt x="4071386" y="47670"/>
                    <a:pt x="4080129" y="46407"/>
                  </a:cubicBezTo>
                  <a:cubicBezTo>
                    <a:pt x="4091304" y="44771"/>
                    <a:pt x="4093689" y="56460"/>
                    <a:pt x="4095933" y="63427"/>
                  </a:cubicBezTo>
                  <a:moveTo>
                    <a:pt x="4210209" y="1263410"/>
                  </a:moveTo>
                  <a:cubicBezTo>
                    <a:pt x="4231670" y="1347527"/>
                    <a:pt x="4248456" y="1432952"/>
                    <a:pt x="4256311" y="1519734"/>
                  </a:cubicBezTo>
                  <a:cubicBezTo>
                    <a:pt x="4256826" y="1525906"/>
                    <a:pt x="4256311" y="1532265"/>
                    <a:pt x="4257387" y="1538344"/>
                  </a:cubicBezTo>
                  <a:cubicBezTo>
                    <a:pt x="4260800" y="1557140"/>
                    <a:pt x="4252150" y="1562377"/>
                    <a:pt x="4234429" y="1563499"/>
                  </a:cubicBezTo>
                  <a:cubicBezTo>
                    <a:pt x="4142924" y="1569297"/>
                    <a:pt x="4051420" y="1570934"/>
                    <a:pt x="3959869" y="1566492"/>
                  </a:cubicBezTo>
                  <a:cubicBezTo>
                    <a:pt x="3923445" y="1564715"/>
                    <a:pt x="3887068" y="1562424"/>
                    <a:pt x="3850644" y="1561629"/>
                  </a:cubicBezTo>
                  <a:cubicBezTo>
                    <a:pt x="3836523" y="1561301"/>
                    <a:pt x="3832128" y="1555410"/>
                    <a:pt x="3830257" y="1542458"/>
                  </a:cubicBezTo>
                  <a:cubicBezTo>
                    <a:pt x="3815015" y="1437815"/>
                    <a:pt x="3771109" y="1345142"/>
                    <a:pt x="3707893" y="1261867"/>
                  </a:cubicBezTo>
                  <a:cubicBezTo>
                    <a:pt x="3640422" y="1172934"/>
                    <a:pt x="3571735" y="1084703"/>
                    <a:pt x="3485842" y="1011995"/>
                  </a:cubicBezTo>
                  <a:cubicBezTo>
                    <a:pt x="3431931" y="966360"/>
                    <a:pt x="3374466" y="925400"/>
                    <a:pt x="3317328" y="884020"/>
                  </a:cubicBezTo>
                  <a:cubicBezTo>
                    <a:pt x="3298438" y="870367"/>
                    <a:pt x="3279782" y="856386"/>
                    <a:pt x="3263651" y="839460"/>
                  </a:cubicBezTo>
                  <a:cubicBezTo>
                    <a:pt x="3257292" y="832774"/>
                    <a:pt x="3251774" y="825152"/>
                    <a:pt x="3246818" y="817344"/>
                  </a:cubicBezTo>
                  <a:cubicBezTo>
                    <a:pt x="3240319" y="807151"/>
                    <a:pt x="3236251" y="795321"/>
                    <a:pt x="3243124" y="784427"/>
                  </a:cubicBezTo>
                  <a:cubicBezTo>
                    <a:pt x="3250278" y="773065"/>
                    <a:pt x="3263417" y="774888"/>
                    <a:pt x="3275060" y="775169"/>
                  </a:cubicBezTo>
                  <a:cubicBezTo>
                    <a:pt x="3301758" y="775823"/>
                    <a:pt x="3320274" y="794199"/>
                    <a:pt x="3341409" y="806543"/>
                  </a:cubicBezTo>
                  <a:cubicBezTo>
                    <a:pt x="3430902" y="858677"/>
                    <a:pt x="3509455" y="925915"/>
                    <a:pt x="3591234" y="988616"/>
                  </a:cubicBezTo>
                  <a:cubicBezTo>
                    <a:pt x="3603531" y="998015"/>
                    <a:pt x="3614098" y="1009704"/>
                    <a:pt x="3626629" y="1018635"/>
                  </a:cubicBezTo>
                  <a:cubicBezTo>
                    <a:pt x="3636775" y="1025835"/>
                    <a:pt x="3650475" y="1032148"/>
                    <a:pt x="3659359" y="1018494"/>
                  </a:cubicBezTo>
                  <a:cubicBezTo>
                    <a:pt x="3667354" y="1006150"/>
                    <a:pt x="3662258" y="994648"/>
                    <a:pt x="3650616" y="984034"/>
                  </a:cubicBezTo>
                  <a:cubicBezTo>
                    <a:pt x="3576879" y="917218"/>
                    <a:pt x="3492341" y="864522"/>
                    <a:pt x="3415192" y="802195"/>
                  </a:cubicBezTo>
                  <a:cubicBezTo>
                    <a:pt x="3374139" y="768997"/>
                    <a:pt x="3334114" y="734630"/>
                    <a:pt x="3299607" y="694465"/>
                  </a:cubicBezTo>
                  <a:cubicBezTo>
                    <a:pt x="3297082" y="691520"/>
                    <a:pt x="3293996" y="688901"/>
                    <a:pt x="3292079" y="685581"/>
                  </a:cubicBezTo>
                  <a:cubicBezTo>
                    <a:pt x="3284411" y="672115"/>
                    <a:pt x="3274452" y="657948"/>
                    <a:pt x="3286842" y="642798"/>
                  </a:cubicBezTo>
                  <a:cubicBezTo>
                    <a:pt x="3299280" y="627602"/>
                    <a:pt x="3316534" y="629847"/>
                    <a:pt x="3331870" y="636720"/>
                  </a:cubicBezTo>
                  <a:cubicBezTo>
                    <a:pt x="3356511" y="647801"/>
                    <a:pt x="3380685" y="660052"/>
                    <a:pt x="3404157" y="673424"/>
                  </a:cubicBezTo>
                  <a:cubicBezTo>
                    <a:pt x="3505200" y="730749"/>
                    <a:pt x="3597218" y="799950"/>
                    <a:pt x="3678670" y="883085"/>
                  </a:cubicBezTo>
                  <a:cubicBezTo>
                    <a:pt x="3687320" y="891922"/>
                    <a:pt x="3696812" y="900245"/>
                    <a:pt x="3707098" y="907071"/>
                  </a:cubicBezTo>
                  <a:cubicBezTo>
                    <a:pt x="3715702" y="912729"/>
                    <a:pt x="3727298" y="915160"/>
                    <a:pt x="3734405" y="905388"/>
                  </a:cubicBezTo>
                  <a:cubicBezTo>
                    <a:pt x="3741278" y="895990"/>
                    <a:pt x="3740810" y="884675"/>
                    <a:pt x="3731272" y="875837"/>
                  </a:cubicBezTo>
                  <a:cubicBezTo>
                    <a:pt x="3695362" y="842686"/>
                    <a:pt x="3659079" y="809863"/>
                    <a:pt x="3623496" y="776384"/>
                  </a:cubicBezTo>
                  <a:cubicBezTo>
                    <a:pt x="3557101" y="713870"/>
                    <a:pt x="3480231" y="661782"/>
                    <a:pt x="3430528" y="582668"/>
                  </a:cubicBezTo>
                  <a:cubicBezTo>
                    <a:pt x="3426414" y="576122"/>
                    <a:pt x="3422252" y="569436"/>
                    <a:pt x="3419306" y="562376"/>
                  </a:cubicBezTo>
                  <a:cubicBezTo>
                    <a:pt x="3415893" y="554099"/>
                    <a:pt x="3408599" y="544701"/>
                    <a:pt x="3416968" y="536565"/>
                  </a:cubicBezTo>
                  <a:cubicBezTo>
                    <a:pt x="3424590" y="529178"/>
                    <a:pt x="3434736" y="533807"/>
                    <a:pt x="3443480" y="536753"/>
                  </a:cubicBezTo>
                  <a:cubicBezTo>
                    <a:pt x="3497111" y="554894"/>
                    <a:pt x="3537743" y="593095"/>
                    <a:pt x="3579965" y="627976"/>
                  </a:cubicBezTo>
                  <a:cubicBezTo>
                    <a:pt x="3637991" y="675903"/>
                    <a:pt x="3690874" y="729487"/>
                    <a:pt x="3737678" y="788728"/>
                  </a:cubicBezTo>
                  <a:cubicBezTo>
                    <a:pt x="3739127" y="790552"/>
                    <a:pt x="3740717" y="792282"/>
                    <a:pt x="3742260" y="794012"/>
                  </a:cubicBezTo>
                  <a:cubicBezTo>
                    <a:pt x="3751425" y="804205"/>
                    <a:pt x="3763909" y="810891"/>
                    <a:pt x="3774990" y="802007"/>
                  </a:cubicBezTo>
                  <a:cubicBezTo>
                    <a:pt x="3786960" y="792329"/>
                    <a:pt x="3783640" y="778535"/>
                    <a:pt x="3774149" y="766846"/>
                  </a:cubicBezTo>
                  <a:cubicBezTo>
                    <a:pt x="3754604" y="742766"/>
                    <a:pt x="3736088" y="717844"/>
                    <a:pt x="3715702" y="694512"/>
                  </a:cubicBezTo>
                  <a:cubicBezTo>
                    <a:pt x="3676846" y="650186"/>
                    <a:pt x="3651644" y="597724"/>
                    <a:pt x="3625413" y="545870"/>
                  </a:cubicBezTo>
                  <a:cubicBezTo>
                    <a:pt x="3619101" y="533339"/>
                    <a:pt x="3617371" y="518985"/>
                    <a:pt x="3616950" y="505051"/>
                  </a:cubicBezTo>
                  <a:cubicBezTo>
                    <a:pt x="3616342" y="482187"/>
                    <a:pt x="3629855" y="472601"/>
                    <a:pt x="3651457" y="478820"/>
                  </a:cubicBezTo>
                  <a:cubicBezTo>
                    <a:pt x="3689097" y="489668"/>
                    <a:pt x="3712662" y="519265"/>
                    <a:pt x="3743429" y="547553"/>
                  </a:cubicBezTo>
                  <a:cubicBezTo>
                    <a:pt x="3823852" y="645651"/>
                    <a:pt x="3911709" y="744309"/>
                    <a:pt x="3969688" y="864429"/>
                  </a:cubicBezTo>
                  <a:cubicBezTo>
                    <a:pt x="3992225" y="911139"/>
                    <a:pt x="4014762" y="957850"/>
                    <a:pt x="4036551" y="1004935"/>
                  </a:cubicBezTo>
                  <a:cubicBezTo>
                    <a:pt x="4042770" y="1018401"/>
                    <a:pt x="4050672" y="1029249"/>
                    <a:pt x="4066008" y="1024620"/>
                  </a:cubicBezTo>
                  <a:cubicBezTo>
                    <a:pt x="4082420" y="1019757"/>
                    <a:pt x="4080830" y="1004420"/>
                    <a:pt x="4078259" y="991282"/>
                  </a:cubicBezTo>
                  <a:cubicBezTo>
                    <a:pt x="4067505" y="936435"/>
                    <a:pt x="4057545" y="881448"/>
                    <a:pt x="4056657" y="825293"/>
                  </a:cubicBezTo>
                  <a:cubicBezTo>
                    <a:pt x="4056517" y="817578"/>
                    <a:pt x="4057312" y="809722"/>
                    <a:pt x="4058574" y="802101"/>
                  </a:cubicBezTo>
                  <a:cubicBezTo>
                    <a:pt x="4060397" y="791394"/>
                    <a:pt x="4067271" y="789476"/>
                    <a:pt x="4075407" y="795415"/>
                  </a:cubicBezTo>
                  <a:cubicBezTo>
                    <a:pt x="4089761" y="805888"/>
                    <a:pt x="4103414" y="816502"/>
                    <a:pt x="4112111" y="833382"/>
                  </a:cubicBezTo>
                  <a:cubicBezTo>
                    <a:pt x="4138482" y="884675"/>
                    <a:pt x="4149050" y="940456"/>
                    <a:pt x="4158167" y="996238"/>
                  </a:cubicBezTo>
                  <a:cubicBezTo>
                    <a:pt x="4172849" y="1085872"/>
                    <a:pt x="4187718" y="1175179"/>
                    <a:pt x="4210255" y="1263410"/>
                  </a:cubicBezTo>
                  <a:moveTo>
                    <a:pt x="2696483" y="3410652"/>
                  </a:moveTo>
                  <a:cubicBezTo>
                    <a:pt x="2618819" y="3440763"/>
                    <a:pt x="2540547" y="3439594"/>
                    <a:pt x="2462275" y="3411540"/>
                  </a:cubicBezTo>
                  <a:cubicBezTo>
                    <a:pt x="2396487" y="3387928"/>
                    <a:pt x="2352021" y="3342620"/>
                    <a:pt x="2331261" y="3276972"/>
                  </a:cubicBezTo>
                  <a:cubicBezTo>
                    <a:pt x="2288291" y="3140955"/>
                    <a:pt x="2294510" y="3002833"/>
                    <a:pt x="2320974" y="2864759"/>
                  </a:cubicBezTo>
                  <a:cubicBezTo>
                    <a:pt x="2340332" y="2763903"/>
                    <a:pt x="2371332" y="2666554"/>
                    <a:pt x="2417341" y="2574582"/>
                  </a:cubicBezTo>
                  <a:cubicBezTo>
                    <a:pt x="2452596" y="2504118"/>
                    <a:pt x="2492995" y="2436881"/>
                    <a:pt x="2562009" y="2393303"/>
                  </a:cubicBezTo>
                  <a:cubicBezTo>
                    <a:pt x="2609561" y="2363332"/>
                    <a:pt x="2675115" y="2358376"/>
                    <a:pt x="2724257" y="2409014"/>
                  </a:cubicBezTo>
                  <a:cubicBezTo>
                    <a:pt x="2763767" y="2451236"/>
                    <a:pt x="2787333" y="2502903"/>
                    <a:pt x="2804166" y="2556767"/>
                  </a:cubicBezTo>
                  <a:cubicBezTo>
                    <a:pt x="2831612" y="2644718"/>
                    <a:pt x="2841431" y="2735942"/>
                    <a:pt x="2839888" y="2827820"/>
                  </a:cubicBezTo>
                  <a:cubicBezTo>
                    <a:pt x="2838719" y="2896787"/>
                    <a:pt x="2829508" y="2965334"/>
                    <a:pt x="2820297" y="3033787"/>
                  </a:cubicBezTo>
                  <a:cubicBezTo>
                    <a:pt x="2805288" y="3145256"/>
                    <a:pt x="2779057" y="3254295"/>
                    <a:pt x="2754790" y="3363941"/>
                  </a:cubicBezTo>
                  <a:cubicBezTo>
                    <a:pt x="2746701" y="3400365"/>
                    <a:pt x="2719768" y="3401627"/>
                    <a:pt x="2696483" y="3410652"/>
                  </a:cubicBezTo>
                  <a:moveTo>
                    <a:pt x="170272" y="4380634"/>
                  </a:moveTo>
                  <a:cubicBezTo>
                    <a:pt x="181448" y="4393633"/>
                    <a:pt x="187479" y="4408315"/>
                    <a:pt x="189957" y="4423464"/>
                  </a:cubicBezTo>
                  <a:cubicBezTo>
                    <a:pt x="196083" y="4460870"/>
                    <a:pt x="200244" y="4498510"/>
                    <a:pt x="205434" y="4536056"/>
                  </a:cubicBezTo>
                  <a:cubicBezTo>
                    <a:pt x="206463" y="4543397"/>
                    <a:pt x="202582" y="4546484"/>
                    <a:pt x="196644" y="4546951"/>
                  </a:cubicBezTo>
                  <a:cubicBezTo>
                    <a:pt x="154749" y="4550411"/>
                    <a:pt x="115286" y="4564906"/>
                    <a:pt x="74560" y="4573837"/>
                  </a:cubicBezTo>
                  <a:cubicBezTo>
                    <a:pt x="59130" y="4577250"/>
                    <a:pt x="54922" y="4572200"/>
                    <a:pt x="52350" y="4557144"/>
                  </a:cubicBezTo>
                  <a:cubicBezTo>
                    <a:pt x="46833" y="4524414"/>
                    <a:pt x="36686" y="4492759"/>
                    <a:pt x="38417" y="4458673"/>
                  </a:cubicBezTo>
                  <a:cubicBezTo>
                    <a:pt x="39305" y="4441092"/>
                    <a:pt x="42999" y="4424774"/>
                    <a:pt x="49405" y="4409157"/>
                  </a:cubicBezTo>
                  <a:cubicBezTo>
                    <a:pt x="63666" y="4374697"/>
                    <a:pt x="145257" y="4356601"/>
                    <a:pt x="170226" y="4380588"/>
                  </a:cubicBezTo>
                  <a:moveTo>
                    <a:pt x="4037954" y="40235"/>
                  </a:moveTo>
                  <a:cubicBezTo>
                    <a:pt x="4032577" y="52345"/>
                    <a:pt x="4031548" y="66606"/>
                    <a:pt x="4021776" y="78997"/>
                  </a:cubicBezTo>
                  <a:cubicBezTo>
                    <a:pt x="4013032" y="62211"/>
                    <a:pt x="4006814" y="47155"/>
                    <a:pt x="3997930" y="33876"/>
                  </a:cubicBezTo>
                  <a:cubicBezTo>
                    <a:pt x="3982546" y="10918"/>
                    <a:pt x="3960804" y="10123"/>
                    <a:pt x="3941353" y="29434"/>
                  </a:cubicBezTo>
                  <a:cubicBezTo>
                    <a:pt x="3926204" y="44490"/>
                    <a:pt x="3921107" y="63941"/>
                    <a:pt x="3915403" y="83346"/>
                  </a:cubicBezTo>
                  <a:cubicBezTo>
                    <a:pt x="3913532" y="89798"/>
                    <a:pt x="3914655" y="99898"/>
                    <a:pt x="3906799" y="100973"/>
                  </a:cubicBezTo>
                  <a:cubicBezTo>
                    <a:pt x="3896373" y="102423"/>
                    <a:pt x="3897354" y="90780"/>
                    <a:pt x="3894081" y="84468"/>
                  </a:cubicBezTo>
                  <a:cubicBezTo>
                    <a:pt x="3884215" y="65438"/>
                    <a:pt x="3873414" y="46127"/>
                    <a:pt x="3849335" y="45192"/>
                  </a:cubicBezTo>
                  <a:cubicBezTo>
                    <a:pt x="3824039" y="44163"/>
                    <a:pt x="3814734" y="65625"/>
                    <a:pt x="3804167" y="83626"/>
                  </a:cubicBezTo>
                  <a:cubicBezTo>
                    <a:pt x="3800707" y="89564"/>
                    <a:pt x="3798322" y="96484"/>
                    <a:pt x="3797153" y="103264"/>
                  </a:cubicBezTo>
                  <a:cubicBezTo>
                    <a:pt x="3793132" y="126970"/>
                    <a:pt x="3787989" y="150583"/>
                    <a:pt x="3789999" y="174897"/>
                  </a:cubicBezTo>
                  <a:cubicBezTo>
                    <a:pt x="3790514" y="180882"/>
                    <a:pt x="3793132" y="189111"/>
                    <a:pt x="3786259" y="191636"/>
                  </a:cubicBezTo>
                  <a:cubicBezTo>
                    <a:pt x="3778263" y="194582"/>
                    <a:pt x="3777141" y="185277"/>
                    <a:pt x="3774429" y="180414"/>
                  </a:cubicBezTo>
                  <a:cubicBezTo>
                    <a:pt x="3764470" y="162599"/>
                    <a:pt x="3752640" y="146188"/>
                    <a:pt x="3736415" y="133797"/>
                  </a:cubicBezTo>
                  <a:cubicBezTo>
                    <a:pt x="3705509" y="110138"/>
                    <a:pt x="3674415" y="119115"/>
                    <a:pt x="3660762" y="155679"/>
                  </a:cubicBezTo>
                  <a:cubicBezTo>
                    <a:pt x="3652486" y="177842"/>
                    <a:pt x="3650896" y="200894"/>
                    <a:pt x="3652907" y="224506"/>
                  </a:cubicBezTo>
                  <a:cubicBezTo>
                    <a:pt x="3659079" y="296466"/>
                    <a:pt x="3680961" y="364218"/>
                    <a:pt x="3706210" y="431221"/>
                  </a:cubicBezTo>
                  <a:cubicBezTo>
                    <a:pt x="3710184" y="441695"/>
                    <a:pt x="3725334" y="454974"/>
                    <a:pt x="3712709" y="463764"/>
                  </a:cubicBezTo>
                  <a:cubicBezTo>
                    <a:pt x="3702423" y="470871"/>
                    <a:pt x="3691622" y="455254"/>
                    <a:pt x="3681803" y="448194"/>
                  </a:cubicBezTo>
                  <a:cubicBezTo>
                    <a:pt x="3642479" y="419999"/>
                    <a:pt x="3598761" y="435710"/>
                    <a:pt x="3585436" y="482327"/>
                  </a:cubicBezTo>
                  <a:cubicBezTo>
                    <a:pt x="3577066" y="511550"/>
                    <a:pt x="3583472" y="539231"/>
                    <a:pt x="3592075" y="566911"/>
                  </a:cubicBezTo>
                  <a:cubicBezTo>
                    <a:pt x="3598528" y="572990"/>
                    <a:pt x="3605681" y="581266"/>
                    <a:pt x="3597779" y="588186"/>
                  </a:cubicBezTo>
                  <a:cubicBezTo>
                    <a:pt x="3591234" y="593890"/>
                    <a:pt x="3584267" y="584492"/>
                    <a:pt x="3578843" y="579676"/>
                  </a:cubicBezTo>
                  <a:cubicBezTo>
                    <a:pt x="3570754" y="572569"/>
                    <a:pt x="3563319" y="564760"/>
                    <a:pt x="3555604" y="557232"/>
                  </a:cubicBezTo>
                  <a:cubicBezTo>
                    <a:pt x="3551209" y="554333"/>
                    <a:pt x="3546580" y="551668"/>
                    <a:pt x="3542372" y="548489"/>
                  </a:cubicBezTo>
                  <a:cubicBezTo>
                    <a:pt x="3512120" y="525671"/>
                    <a:pt x="3480979" y="505098"/>
                    <a:pt x="3443246" y="495840"/>
                  </a:cubicBezTo>
                  <a:cubicBezTo>
                    <a:pt x="3396021" y="484197"/>
                    <a:pt x="3369089" y="510194"/>
                    <a:pt x="3379843" y="557887"/>
                  </a:cubicBezTo>
                  <a:cubicBezTo>
                    <a:pt x="3383630" y="574813"/>
                    <a:pt x="3392047" y="589355"/>
                    <a:pt x="3400510" y="604083"/>
                  </a:cubicBezTo>
                  <a:cubicBezTo>
                    <a:pt x="3408178" y="610770"/>
                    <a:pt x="3414677" y="617877"/>
                    <a:pt x="3409955" y="630267"/>
                  </a:cubicBezTo>
                  <a:cubicBezTo>
                    <a:pt x="3391579" y="624423"/>
                    <a:pt x="3375074" y="616100"/>
                    <a:pt x="3360673" y="603709"/>
                  </a:cubicBezTo>
                  <a:cubicBezTo>
                    <a:pt x="3350246" y="600623"/>
                    <a:pt x="3339865" y="597490"/>
                    <a:pt x="3329439" y="594498"/>
                  </a:cubicBezTo>
                  <a:cubicBezTo>
                    <a:pt x="3284411" y="581593"/>
                    <a:pt x="3243405" y="614837"/>
                    <a:pt x="3246725" y="661221"/>
                  </a:cubicBezTo>
                  <a:cubicBezTo>
                    <a:pt x="3248174" y="681514"/>
                    <a:pt x="3257152" y="698393"/>
                    <a:pt x="3269028" y="714057"/>
                  </a:cubicBezTo>
                  <a:cubicBezTo>
                    <a:pt x="3280016" y="728552"/>
                    <a:pt x="3278192" y="734162"/>
                    <a:pt x="3258648" y="736313"/>
                  </a:cubicBezTo>
                  <a:cubicBezTo>
                    <a:pt x="3215865" y="741083"/>
                    <a:pt x="3195806" y="773065"/>
                    <a:pt x="3206373" y="814679"/>
                  </a:cubicBezTo>
                  <a:cubicBezTo>
                    <a:pt x="3211189" y="833428"/>
                    <a:pt x="3220540" y="848765"/>
                    <a:pt x="3234100" y="862278"/>
                  </a:cubicBezTo>
                  <a:cubicBezTo>
                    <a:pt x="3268420" y="896364"/>
                    <a:pt x="3307463" y="924839"/>
                    <a:pt x="3347347" y="951444"/>
                  </a:cubicBezTo>
                  <a:cubicBezTo>
                    <a:pt x="3471768" y="1034579"/>
                    <a:pt x="3570473" y="1143150"/>
                    <a:pt x="3659125" y="1261727"/>
                  </a:cubicBezTo>
                  <a:cubicBezTo>
                    <a:pt x="3703264" y="1320781"/>
                    <a:pt x="3744130" y="1382033"/>
                    <a:pt x="3766340" y="1453666"/>
                  </a:cubicBezTo>
                  <a:cubicBezTo>
                    <a:pt x="3801455" y="1566912"/>
                    <a:pt x="3813285" y="1683151"/>
                    <a:pt x="3808889" y="1801074"/>
                  </a:cubicBezTo>
                  <a:cubicBezTo>
                    <a:pt x="3806037" y="1878177"/>
                    <a:pt x="3790794" y="1953363"/>
                    <a:pt x="3768210" y="2027239"/>
                  </a:cubicBezTo>
                  <a:cubicBezTo>
                    <a:pt x="3754604" y="2071893"/>
                    <a:pt x="3733516" y="2113413"/>
                    <a:pt x="3717993" y="2157225"/>
                  </a:cubicBezTo>
                  <a:cubicBezTo>
                    <a:pt x="3691949" y="2230447"/>
                    <a:pt x="3659640" y="2301145"/>
                    <a:pt x="3627237" y="2371655"/>
                  </a:cubicBezTo>
                  <a:cubicBezTo>
                    <a:pt x="3594507" y="2442820"/>
                    <a:pt x="3554950" y="2510524"/>
                    <a:pt x="3513476" y="2577154"/>
                  </a:cubicBezTo>
                  <a:cubicBezTo>
                    <a:pt x="3465550" y="2654116"/>
                    <a:pt x="3419634" y="2732341"/>
                    <a:pt x="3369042" y="2807621"/>
                  </a:cubicBezTo>
                  <a:cubicBezTo>
                    <a:pt x="3312045" y="2892532"/>
                    <a:pt x="3251868" y="2975340"/>
                    <a:pt x="3186688" y="3053939"/>
                  </a:cubicBezTo>
                  <a:cubicBezTo>
                    <a:pt x="3136424" y="3114583"/>
                    <a:pt x="3083448" y="3173358"/>
                    <a:pt x="3023224" y="3224978"/>
                  </a:cubicBezTo>
                  <a:cubicBezTo>
                    <a:pt x="2962813" y="3276691"/>
                    <a:pt x="2897727" y="3321064"/>
                    <a:pt x="2826749" y="3356787"/>
                  </a:cubicBezTo>
                  <a:cubicBezTo>
                    <a:pt x="2821559" y="3359405"/>
                    <a:pt x="2816229" y="3365671"/>
                    <a:pt x="2809917" y="3361182"/>
                  </a:cubicBezTo>
                  <a:cubicBezTo>
                    <a:pt x="2802763" y="3356086"/>
                    <a:pt x="2807485" y="3348277"/>
                    <a:pt x="2807953" y="3341684"/>
                  </a:cubicBezTo>
                  <a:cubicBezTo>
                    <a:pt x="2808280" y="3337102"/>
                    <a:pt x="2810010" y="3332660"/>
                    <a:pt x="2811039" y="3328078"/>
                  </a:cubicBezTo>
                  <a:cubicBezTo>
                    <a:pt x="2820858" y="3284266"/>
                    <a:pt x="2831659" y="3240595"/>
                    <a:pt x="2840262" y="3196596"/>
                  </a:cubicBezTo>
                  <a:cubicBezTo>
                    <a:pt x="2855505" y="3118838"/>
                    <a:pt x="2862519" y="3040005"/>
                    <a:pt x="2870935" y="2961266"/>
                  </a:cubicBezTo>
                  <a:cubicBezTo>
                    <a:pt x="2884214" y="2836470"/>
                    <a:pt x="2877902" y="2713171"/>
                    <a:pt x="2847744" y="2591414"/>
                  </a:cubicBezTo>
                  <a:cubicBezTo>
                    <a:pt x="2830584" y="2521933"/>
                    <a:pt x="2808000" y="2454415"/>
                    <a:pt x="2765965" y="2395314"/>
                  </a:cubicBezTo>
                  <a:cubicBezTo>
                    <a:pt x="2748337" y="2370532"/>
                    <a:pt x="2727437" y="2348930"/>
                    <a:pt x="2700645" y="2333547"/>
                  </a:cubicBezTo>
                  <a:cubicBezTo>
                    <a:pt x="2638598" y="2297825"/>
                    <a:pt x="2555135" y="2323401"/>
                    <a:pt x="2506835" y="2367306"/>
                  </a:cubicBezTo>
                  <a:cubicBezTo>
                    <a:pt x="2454747" y="2414671"/>
                    <a:pt x="2417154" y="2472604"/>
                    <a:pt x="2387323" y="2534791"/>
                  </a:cubicBezTo>
                  <a:cubicBezTo>
                    <a:pt x="2333318" y="2647243"/>
                    <a:pt x="2294182" y="2764932"/>
                    <a:pt x="2277303" y="2889166"/>
                  </a:cubicBezTo>
                  <a:cubicBezTo>
                    <a:pt x="2259582" y="3019572"/>
                    <a:pt x="2256917" y="3149184"/>
                    <a:pt x="2296941" y="3276551"/>
                  </a:cubicBezTo>
                  <a:cubicBezTo>
                    <a:pt x="2337152" y="3404667"/>
                    <a:pt x="2411403" y="3463207"/>
                    <a:pt x="2533159" y="3485043"/>
                  </a:cubicBezTo>
                  <a:cubicBezTo>
                    <a:pt x="2589549" y="3495096"/>
                    <a:pt x="2644395" y="3489157"/>
                    <a:pt x="2698961" y="3473634"/>
                  </a:cubicBezTo>
                  <a:cubicBezTo>
                    <a:pt x="2723790" y="3466574"/>
                    <a:pt x="2726735" y="3469566"/>
                    <a:pt x="2720891" y="3495142"/>
                  </a:cubicBezTo>
                  <a:cubicBezTo>
                    <a:pt x="2716355" y="3514781"/>
                    <a:pt x="2709435" y="3533811"/>
                    <a:pt x="2703357" y="3552934"/>
                  </a:cubicBezTo>
                  <a:cubicBezTo>
                    <a:pt x="2679323" y="3628962"/>
                    <a:pt x="2654214" y="3704709"/>
                    <a:pt x="2626487" y="3779614"/>
                  </a:cubicBezTo>
                  <a:cubicBezTo>
                    <a:pt x="2595861" y="3862422"/>
                    <a:pt x="2563458" y="3944341"/>
                    <a:pt x="2522218" y="4022426"/>
                  </a:cubicBezTo>
                  <a:cubicBezTo>
                    <a:pt x="2488226" y="4086764"/>
                    <a:pt x="2457366" y="4153113"/>
                    <a:pt x="2413881" y="4211840"/>
                  </a:cubicBezTo>
                  <a:cubicBezTo>
                    <a:pt x="2384050" y="4252145"/>
                    <a:pt x="2354453" y="4293572"/>
                    <a:pt x="2312418" y="4322515"/>
                  </a:cubicBezTo>
                  <a:cubicBezTo>
                    <a:pt x="2254298" y="4362539"/>
                    <a:pt x="2196085" y="4403172"/>
                    <a:pt x="2130157" y="4429403"/>
                  </a:cubicBezTo>
                  <a:cubicBezTo>
                    <a:pt x="2078069" y="4450116"/>
                    <a:pt x="2033650" y="4489860"/>
                    <a:pt x="1973941" y="4492011"/>
                  </a:cubicBezTo>
                  <a:cubicBezTo>
                    <a:pt x="1951544" y="4492806"/>
                    <a:pt x="1928960" y="4492338"/>
                    <a:pt x="1906937" y="4493881"/>
                  </a:cubicBezTo>
                  <a:cubicBezTo>
                    <a:pt x="1785976" y="4502485"/>
                    <a:pt x="1677358" y="4459140"/>
                    <a:pt x="1572201" y="4410513"/>
                  </a:cubicBezTo>
                  <a:cubicBezTo>
                    <a:pt x="1514736" y="4383955"/>
                    <a:pt x="1458954" y="4349962"/>
                    <a:pt x="1408830" y="4308862"/>
                  </a:cubicBezTo>
                  <a:cubicBezTo>
                    <a:pt x="1358519" y="4267669"/>
                    <a:pt x="1306618" y="4228065"/>
                    <a:pt x="1259908" y="4182944"/>
                  </a:cubicBezTo>
                  <a:cubicBezTo>
                    <a:pt x="1213665" y="4138291"/>
                    <a:pt x="1167001" y="4093965"/>
                    <a:pt x="1121038" y="4048984"/>
                  </a:cubicBezTo>
                  <a:cubicBezTo>
                    <a:pt x="1059646" y="3988901"/>
                    <a:pt x="993437" y="3933587"/>
                    <a:pt x="928164" y="3877571"/>
                  </a:cubicBezTo>
                  <a:cubicBezTo>
                    <a:pt x="848770" y="3809399"/>
                    <a:pt x="767318" y="3743985"/>
                    <a:pt x="668660" y="3704382"/>
                  </a:cubicBezTo>
                  <a:cubicBezTo>
                    <a:pt x="632610" y="3689887"/>
                    <a:pt x="596373" y="3675439"/>
                    <a:pt x="557658" y="3671371"/>
                  </a:cubicBezTo>
                  <a:cubicBezTo>
                    <a:pt x="479433" y="3663235"/>
                    <a:pt x="406257" y="3681564"/>
                    <a:pt x="338459" y="3720466"/>
                  </a:cubicBezTo>
                  <a:cubicBezTo>
                    <a:pt x="229234" y="3783121"/>
                    <a:pt x="148437" y="3874345"/>
                    <a:pt x="81948" y="3979456"/>
                  </a:cubicBezTo>
                  <a:cubicBezTo>
                    <a:pt x="15038" y="4085315"/>
                    <a:pt x="-10913" y="4198281"/>
                    <a:pt x="21724" y="4321861"/>
                  </a:cubicBezTo>
                  <a:cubicBezTo>
                    <a:pt x="25418" y="4335841"/>
                    <a:pt x="32338" y="4351739"/>
                    <a:pt x="22893" y="4366701"/>
                  </a:cubicBezTo>
                  <a:cubicBezTo>
                    <a:pt x="-3665" y="4409017"/>
                    <a:pt x="-3057" y="4455026"/>
                    <a:pt x="4564" y="4501690"/>
                  </a:cubicBezTo>
                  <a:cubicBezTo>
                    <a:pt x="10689" y="4539236"/>
                    <a:pt x="17796" y="4577109"/>
                    <a:pt x="35751" y="4610915"/>
                  </a:cubicBezTo>
                  <a:cubicBezTo>
                    <a:pt x="52818" y="4643037"/>
                    <a:pt x="93450" y="4659917"/>
                    <a:pt x="95507" y="4702700"/>
                  </a:cubicBezTo>
                  <a:cubicBezTo>
                    <a:pt x="95741" y="4707890"/>
                    <a:pt x="104672" y="4712659"/>
                    <a:pt x="109581" y="4717616"/>
                  </a:cubicBezTo>
                  <a:cubicBezTo>
                    <a:pt x="117811" y="4725845"/>
                    <a:pt x="128051" y="4726312"/>
                    <a:pt x="137683" y="4722478"/>
                  </a:cubicBezTo>
                  <a:cubicBezTo>
                    <a:pt x="148717" y="4718036"/>
                    <a:pt x="150167" y="4707282"/>
                    <a:pt x="149512" y="4696808"/>
                  </a:cubicBezTo>
                  <a:cubicBezTo>
                    <a:pt x="148390" y="4679461"/>
                    <a:pt x="141891" y="4663424"/>
                    <a:pt x="135345" y="4647760"/>
                  </a:cubicBezTo>
                  <a:cubicBezTo>
                    <a:pt x="126788" y="4627187"/>
                    <a:pt x="140722" y="4624521"/>
                    <a:pt x="154515" y="4619799"/>
                  </a:cubicBezTo>
                  <a:cubicBezTo>
                    <a:pt x="168823" y="4614936"/>
                    <a:pt x="180138" y="4613160"/>
                    <a:pt x="184300" y="4632470"/>
                  </a:cubicBezTo>
                  <a:cubicBezTo>
                    <a:pt x="188555" y="4651968"/>
                    <a:pt x="199636" y="4668053"/>
                    <a:pt x="213757" y="4681799"/>
                  </a:cubicBezTo>
                  <a:cubicBezTo>
                    <a:pt x="221378" y="4689234"/>
                    <a:pt x="230823" y="4689468"/>
                    <a:pt x="239567" y="4684184"/>
                  </a:cubicBezTo>
                  <a:cubicBezTo>
                    <a:pt x="247843" y="4679181"/>
                    <a:pt x="246207" y="4670531"/>
                    <a:pt x="244102" y="4663143"/>
                  </a:cubicBezTo>
                  <a:cubicBezTo>
                    <a:pt x="239988" y="4649069"/>
                    <a:pt x="235826" y="4634808"/>
                    <a:pt x="229935" y="4621435"/>
                  </a:cubicBezTo>
                  <a:cubicBezTo>
                    <a:pt x="225820" y="4612271"/>
                    <a:pt x="225540" y="4606473"/>
                    <a:pt x="236247" y="4604229"/>
                  </a:cubicBezTo>
                  <a:cubicBezTo>
                    <a:pt x="262712" y="4598664"/>
                    <a:pt x="266453" y="4581364"/>
                    <a:pt x="261216" y="4558406"/>
                  </a:cubicBezTo>
                  <a:cubicBezTo>
                    <a:pt x="258831" y="4547839"/>
                    <a:pt x="258223" y="4536898"/>
                    <a:pt x="256446" y="4526144"/>
                  </a:cubicBezTo>
                  <a:cubicBezTo>
                    <a:pt x="247422" y="4470689"/>
                    <a:pt x="235219" y="4416030"/>
                    <a:pt x="198187" y="4371517"/>
                  </a:cubicBezTo>
                  <a:cubicBezTo>
                    <a:pt x="175369" y="4344070"/>
                    <a:pt x="150962" y="4316857"/>
                    <a:pt x="109207" y="4321487"/>
                  </a:cubicBezTo>
                  <a:cubicBezTo>
                    <a:pt x="99622" y="4322562"/>
                    <a:pt x="93403" y="4318447"/>
                    <a:pt x="90411" y="4308254"/>
                  </a:cubicBezTo>
                  <a:cubicBezTo>
                    <a:pt x="64227" y="4217685"/>
                    <a:pt x="70679" y="4127209"/>
                    <a:pt x="102147" y="4040521"/>
                  </a:cubicBezTo>
                  <a:cubicBezTo>
                    <a:pt x="141423" y="3932371"/>
                    <a:pt x="212588" y="3845122"/>
                    <a:pt x="302175" y="3773583"/>
                  </a:cubicBezTo>
                  <a:cubicBezTo>
                    <a:pt x="392604" y="3701389"/>
                    <a:pt x="492057" y="3681237"/>
                    <a:pt x="600862" y="3727573"/>
                  </a:cubicBezTo>
                  <a:cubicBezTo>
                    <a:pt x="689046" y="3765167"/>
                    <a:pt x="768300" y="3816974"/>
                    <a:pt x="840213" y="3880283"/>
                  </a:cubicBezTo>
                  <a:cubicBezTo>
                    <a:pt x="893516" y="3927181"/>
                    <a:pt x="946960" y="3973938"/>
                    <a:pt x="999983" y="4021257"/>
                  </a:cubicBezTo>
                  <a:cubicBezTo>
                    <a:pt x="1079564" y="4092281"/>
                    <a:pt x="1156761" y="4165784"/>
                    <a:pt x="1234705" y="4238445"/>
                  </a:cubicBezTo>
                  <a:cubicBezTo>
                    <a:pt x="1305590" y="4304607"/>
                    <a:pt x="1380916" y="4365158"/>
                    <a:pt x="1464612" y="4414300"/>
                  </a:cubicBezTo>
                  <a:cubicBezTo>
                    <a:pt x="1505805" y="4438520"/>
                    <a:pt x="1548167" y="4461899"/>
                    <a:pt x="1592447" y="4479480"/>
                  </a:cubicBezTo>
                  <a:cubicBezTo>
                    <a:pt x="1645470" y="4500567"/>
                    <a:pt x="1698960" y="4522357"/>
                    <a:pt x="1756144" y="4530773"/>
                  </a:cubicBezTo>
                  <a:cubicBezTo>
                    <a:pt x="1821511" y="4540452"/>
                    <a:pt x="1887626" y="4547325"/>
                    <a:pt x="1953180" y="4536617"/>
                  </a:cubicBezTo>
                  <a:cubicBezTo>
                    <a:pt x="2064650" y="4518382"/>
                    <a:pt x="2168685" y="4479994"/>
                    <a:pt x="2261826" y="4413973"/>
                  </a:cubicBezTo>
                  <a:cubicBezTo>
                    <a:pt x="2314101" y="4376941"/>
                    <a:pt x="2366563" y="4340891"/>
                    <a:pt x="2409860" y="4292497"/>
                  </a:cubicBezTo>
                  <a:cubicBezTo>
                    <a:pt x="2430854" y="4269025"/>
                    <a:pt x="2445770" y="4242046"/>
                    <a:pt x="2463444" y="4216750"/>
                  </a:cubicBezTo>
                  <a:cubicBezTo>
                    <a:pt x="2511932" y="4147221"/>
                    <a:pt x="2565656" y="4081293"/>
                    <a:pt x="2599181" y="4001806"/>
                  </a:cubicBezTo>
                  <a:cubicBezTo>
                    <a:pt x="2630789" y="3926854"/>
                    <a:pt x="2661088" y="3851527"/>
                    <a:pt x="2687599" y="3774705"/>
                  </a:cubicBezTo>
                  <a:cubicBezTo>
                    <a:pt x="2708453" y="3714107"/>
                    <a:pt x="2728044" y="3652995"/>
                    <a:pt x="2746607" y="3591650"/>
                  </a:cubicBezTo>
                  <a:cubicBezTo>
                    <a:pt x="2759793" y="3547978"/>
                    <a:pt x="2770266" y="3503465"/>
                    <a:pt x="2782049" y="3459373"/>
                  </a:cubicBezTo>
                  <a:cubicBezTo>
                    <a:pt x="2784247" y="3451237"/>
                    <a:pt x="2785977" y="3443054"/>
                    <a:pt x="2795889" y="3439501"/>
                  </a:cubicBezTo>
                  <a:cubicBezTo>
                    <a:pt x="2843769" y="3422575"/>
                    <a:pt x="2885991" y="3394848"/>
                    <a:pt x="2928868" y="3368476"/>
                  </a:cubicBezTo>
                  <a:cubicBezTo>
                    <a:pt x="2984603" y="3334203"/>
                    <a:pt x="3035849" y="3293431"/>
                    <a:pt x="3083074" y="3248871"/>
                  </a:cubicBezTo>
                  <a:cubicBezTo>
                    <a:pt x="3126932" y="3207537"/>
                    <a:pt x="3166723" y="3161621"/>
                    <a:pt x="3205157" y="3114724"/>
                  </a:cubicBezTo>
                  <a:cubicBezTo>
                    <a:pt x="3261266" y="3046224"/>
                    <a:pt x="3317328" y="2977444"/>
                    <a:pt x="3366143" y="2903801"/>
                  </a:cubicBezTo>
                  <a:cubicBezTo>
                    <a:pt x="3434502" y="2800607"/>
                    <a:pt x="3501927" y="2696666"/>
                    <a:pt x="3563039" y="2588703"/>
                  </a:cubicBezTo>
                  <a:cubicBezTo>
                    <a:pt x="3600491" y="2522681"/>
                    <a:pt x="3639207" y="2457595"/>
                    <a:pt x="3668664" y="2387459"/>
                  </a:cubicBezTo>
                  <a:cubicBezTo>
                    <a:pt x="3683065" y="2353092"/>
                    <a:pt x="3694895" y="2317369"/>
                    <a:pt x="3712616" y="2284779"/>
                  </a:cubicBezTo>
                  <a:cubicBezTo>
                    <a:pt x="3770689" y="2177892"/>
                    <a:pt x="3805569" y="2063243"/>
                    <a:pt x="3831286" y="1945367"/>
                  </a:cubicBezTo>
                  <a:cubicBezTo>
                    <a:pt x="3854197" y="1840397"/>
                    <a:pt x="3856395" y="1734444"/>
                    <a:pt x="3843864" y="1628024"/>
                  </a:cubicBezTo>
                  <a:cubicBezTo>
                    <a:pt x="3840451" y="1598894"/>
                    <a:pt x="3840684" y="1599409"/>
                    <a:pt x="3871030" y="1600437"/>
                  </a:cubicBezTo>
                  <a:cubicBezTo>
                    <a:pt x="3933077" y="1602588"/>
                    <a:pt x="3995077" y="1603851"/>
                    <a:pt x="4057124" y="1605908"/>
                  </a:cubicBezTo>
                  <a:cubicBezTo>
                    <a:pt x="4117816" y="1607872"/>
                    <a:pt x="4178320" y="1605487"/>
                    <a:pt x="4238684" y="1599409"/>
                  </a:cubicBezTo>
                  <a:cubicBezTo>
                    <a:pt x="4248783" y="1598427"/>
                    <a:pt x="4262016" y="1594499"/>
                    <a:pt x="4260987" y="1613202"/>
                  </a:cubicBezTo>
                  <a:cubicBezTo>
                    <a:pt x="4257995" y="1665898"/>
                    <a:pt x="4255937" y="1718640"/>
                    <a:pt x="4252103" y="1771242"/>
                  </a:cubicBezTo>
                  <a:cubicBezTo>
                    <a:pt x="4248082" y="1826229"/>
                    <a:pt x="4239759" y="1880608"/>
                    <a:pt x="4228210" y="1934566"/>
                  </a:cubicBezTo>
                  <a:cubicBezTo>
                    <a:pt x="4226246" y="1943543"/>
                    <a:pt x="4225779" y="1954391"/>
                    <a:pt x="4236720" y="1958646"/>
                  </a:cubicBezTo>
                  <a:cubicBezTo>
                    <a:pt x="4248035" y="1963041"/>
                    <a:pt x="4256358" y="1956402"/>
                    <a:pt x="4261875" y="1947191"/>
                  </a:cubicBezTo>
                  <a:cubicBezTo>
                    <a:pt x="4264961" y="1942047"/>
                    <a:pt x="4266224" y="1935735"/>
                    <a:pt x="4267814" y="1929844"/>
                  </a:cubicBezTo>
                  <a:cubicBezTo>
                    <a:pt x="4284833" y="1866440"/>
                    <a:pt x="4289182" y="1801307"/>
                    <a:pt x="4294699" y="1736361"/>
                  </a:cubicBezTo>
                  <a:cubicBezTo>
                    <a:pt x="4300357" y="1670527"/>
                    <a:pt x="4302227" y="1604646"/>
                    <a:pt x="4297692" y="1538718"/>
                  </a:cubicBezTo>
                  <a:cubicBezTo>
                    <a:pt x="4290070" y="1427482"/>
                    <a:pt x="4263839" y="1319612"/>
                    <a:pt x="4239572" y="1211369"/>
                  </a:cubicBezTo>
                  <a:cubicBezTo>
                    <a:pt x="4236112" y="1207301"/>
                    <a:pt x="4235084" y="1202859"/>
                    <a:pt x="4239712" y="1199399"/>
                  </a:cubicBezTo>
                  <a:cubicBezTo>
                    <a:pt x="4244435" y="1195892"/>
                    <a:pt x="4248222" y="1199492"/>
                    <a:pt x="4251822" y="1202485"/>
                  </a:cubicBezTo>
                  <a:cubicBezTo>
                    <a:pt x="4282776" y="1227734"/>
                    <a:pt x="4313729" y="1252983"/>
                    <a:pt x="4344729" y="1278232"/>
                  </a:cubicBezTo>
                  <a:lnTo>
                    <a:pt x="4344729" y="1278232"/>
                  </a:lnTo>
                  <a:cubicBezTo>
                    <a:pt x="4383258" y="1305538"/>
                    <a:pt x="4421412" y="1333452"/>
                    <a:pt x="4460407" y="1360057"/>
                  </a:cubicBezTo>
                  <a:cubicBezTo>
                    <a:pt x="4518340" y="1399474"/>
                    <a:pt x="4582912" y="1426967"/>
                    <a:pt x="4644164" y="1460399"/>
                  </a:cubicBezTo>
                  <a:cubicBezTo>
                    <a:pt x="4658145" y="1468020"/>
                    <a:pt x="4674603" y="1482328"/>
                    <a:pt x="4685872" y="1461287"/>
                  </a:cubicBezTo>
                  <a:cubicBezTo>
                    <a:pt x="4696813" y="1440854"/>
                    <a:pt x="4674697" y="1435851"/>
                    <a:pt x="4662259" y="1428791"/>
                  </a:cubicBezTo>
                  <a:cubicBezTo>
                    <a:pt x="4598856" y="1392834"/>
                    <a:pt x="4531058" y="1364873"/>
                    <a:pt x="4471489" y="1321950"/>
                  </a:cubicBezTo>
                  <a:cubicBezTo>
                    <a:pt x="4443247" y="1301611"/>
                    <a:pt x="4442873" y="1302265"/>
                    <a:pt x="4462278" y="1272107"/>
                  </a:cubicBezTo>
                  <a:cubicBezTo>
                    <a:pt x="4511420" y="1195799"/>
                    <a:pt x="4557102" y="1117340"/>
                    <a:pt x="4610873" y="1043930"/>
                  </a:cubicBezTo>
                  <a:cubicBezTo>
                    <a:pt x="4620645" y="1030558"/>
                    <a:pt x="4625601" y="1028360"/>
                    <a:pt x="4639535" y="1038273"/>
                  </a:cubicBezTo>
                  <a:cubicBezTo>
                    <a:pt x="4704154" y="1084235"/>
                    <a:pt x="4772279" y="1124447"/>
                    <a:pt x="4845268" y="1155868"/>
                  </a:cubicBezTo>
                  <a:cubicBezTo>
                    <a:pt x="4858547" y="1161619"/>
                    <a:pt x="4872294" y="1164658"/>
                    <a:pt x="4878092" y="1147451"/>
                  </a:cubicBezTo>
                  <a:cubicBezTo>
                    <a:pt x="4883095" y="1132770"/>
                    <a:pt x="4875006" y="1118976"/>
                    <a:pt x="4861025" y="1116591"/>
                  </a:cubicBezTo>
                  <a:cubicBezTo>
                    <a:pt x="4839470" y="1112898"/>
                    <a:pt x="4821889" y="1101676"/>
                    <a:pt x="4803420" y="1092465"/>
                  </a:cubicBezTo>
                  <a:cubicBezTo>
                    <a:pt x="4736650" y="1059220"/>
                    <a:pt x="4670863" y="1023825"/>
                    <a:pt x="4617419" y="970474"/>
                  </a:cubicBezTo>
                  <a:cubicBezTo>
                    <a:pt x="4524933" y="878269"/>
                    <a:pt x="4457555" y="769791"/>
                    <a:pt x="4410845" y="647942"/>
                  </a:cubicBezTo>
                  <a:cubicBezTo>
                    <a:pt x="4380452" y="568594"/>
                    <a:pt x="4363900" y="488218"/>
                    <a:pt x="4378956" y="402699"/>
                  </a:cubicBezTo>
                  <a:cubicBezTo>
                    <a:pt x="4384754" y="369688"/>
                    <a:pt x="4380686" y="335696"/>
                    <a:pt x="4365350" y="304882"/>
                  </a:cubicBezTo>
                  <a:cubicBezTo>
                    <a:pt x="4349592" y="273274"/>
                    <a:pt x="4321725" y="270282"/>
                    <a:pt x="4298393" y="297121"/>
                  </a:cubicBezTo>
                  <a:cubicBezTo>
                    <a:pt x="4292408" y="304041"/>
                    <a:pt x="4287545" y="312317"/>
                    <a:pt x="4283571" y="320593"/>
                  </a:cubicBezTo>
                  <a:cubicBezTo>
                    <a:pt x="4257387" y="374785"/>
                    <a:pt x="4241396" y="432343"/>
                    <a:pt x="4228163" y="490790"/>
                  </a:cubicBezTo>
                  <a:cubicBezTo>
                    <a:pt x="4226901" y="496261"/>
                    <a:pt x="4228350" y="505098"/>
                    <a:pt x="4219513" y="504724"/>
                  </a:cubicBezTo>
                  <a:cubicBezTo>
                    <a:pt x="4213294" y="504443"/>
                    <a:pt x="4212920" y="496822"/>
                    <a:pt x="4211284" y="491959"/>
                  </a:cubicBezTo>
                  <a:cubicBezTo>
                    <a:pt x="4203055" y="467785"/>
                    <a:pt x="4195012" y="443425"/>
                    <a:pt x="4187157" y="419111"/>
                  </a:cubicBezTo>
                  <a:cubicBezTo>
                    <a:pt x="4165648" y="352481"/>
                    <a:pt x="4147413" y="285618"/>
                    <a:pt x="4149704" y="214220"/>
                  </a:cubicBezTo>
                  <a:cubicBezTo>
                    <a:pt x="4151574" y="156053"/>
                    <a:pt x="4150873" y="97560"/>
                    <a:pt x="4129552" y="41825"/>
                  </a:cubicBezTo>
                  <a:cubicBezTo>
                    <a:pt x="4120574" y="18353"/>
                    <a:pt x="4099253" y="-1332"/>
                    <a:pt x="4081438" y="71"/>
                  </a:cubicBezTo>
                  <a:cubicBezTo>
                    <a:pt x="4056891" y="2034"/>
                    <a:pt x="4046838" y="20550"/>
                    <a:pt x="4038001" y="4042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93536DE9-7022-8BE8-F037-83D8E3540CD0}"/>
                </a:ext>
              </a:extLst>
            </p:cNvPr>
            <p:cNvSpPr/>
            <p:nvPr/>
          </p:nvSpPr>
          <p:spPr>
            <a:xfrm flipH="1">
              <a:off x="2172117" y="9687645"/>
              <a:ext cx="842" cy="3647"/>
            </a:xfrm>
            <a:custGeom>
              <a:avLst/>
              <a:gdLst>
                <a:gd name="connsiteX0" fmla="*/ 843 w 842"/>
                <a:gd name="connsiteY0" fmla="*/ 3647 h 3647"/>
                <a:gd name="connsiteX1" fmla="*/ 94 w 842"/>
                <a:gd name="connsiteY1" fmla="*/ 0 h 3647"/>
                <a:gd name="connsiteX2" fmla="*/ 843 w 842"/>
                <a:gd name="connsiteY2" fmla="*/ 3647 h 36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42" h="3647">
                  <a:moveTo>
                    <a:pt x="843" y="3647"/>
                  </a:moveTo>
                  <a:cubicBezTo>
                    <a:pt x="562" y="2338"/>
                    <a:pt x="235" y="1122"/>
                    <a:pt x="94" y="0"/>
                  </a:cubicBezTo>
                  <a:cubicBezTo>
                    <a:pt x="-186" y="1356"/>
                    <a:pt x="188" y="2525"/>
                    <a:pt x="843" y="3647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F2065F7C-F92F-BCD2-C88C-AEFE50F97B72}"/>
                </a:ext>
              </a:extLst>
            </p:cNvPr>
            <p:cNvSpPr/>
            <p:nvPr/>
          </p:nvSpPr>
          <p:spPr>
            <a:xfrm flipH="1">
              <a:off x="3655200" y="12184227"/>
              <a:ext cx="510032" cy="540433"/>
            </a:xfrm>
            <a:custGeom>
              <a:avLst/>
              <a:gdLst>
                <a:gd name="connsiteX0" fmla="*/ 166863 w 510032"/>
                <a:gd name="connsiteY0" fmla="*/ 291050 h 540433"/>
                <a:gd name="connsiteX1" fmla="*/ 172661 w 510032"/>
                <a:gd name="connsiteY1" fmla="*/ 292546 h 540433"/>
                <a:gd name="connsiteX2" fmla="*/ 171819 w 510032"/>
                <a:gd name="connsiteY2" fmla="*/ 297596 h 540433"/>
                <a:gd name="connsiteX3" fmla="*/ 166489 w 510032"/>
                <a:gd name="connsiteY3" fmla="*/ 296567 h 540433"/>
                <a:gd name="connsiteX4" fmla="*/ 166863 w 510032"/>
                <a:gd name="connsiteY4" fmla="*/ 291003 h 540433"/>
                <a:gd name="connsiteX5" fmla="*/ 166910 w 510032"/>
                <a:gd name="connsiteY5" fmla="*/ 238541 h 540433"/>
                <a:gd name="connsiteX6" fmla="*/ 132917 w 510032"/>
                <a:gd name="connsiteY6" fmla="*/ 151806 h 540433"/>
                <a:gd name="connsiteX7" fmla="*/ 129036 w 510032"/>
                <a:gd name="connsiteY7" fmla="*/ 142315 h 540433"/>
                <a:gd name="connsiteX8" fmla="*/ 244901 w 510032"/>
                <a:gd name="connsiteY8" fmla="*/ 153256 h 540433"/>
                <a:gd name="connsiteX9" fmla="*/ 239103 w 510032"/>
                <a:gd name="connsiteY9" fmla="*/ 174203 h 540433"/>
                <a:gd name="connsiteX10" fmla="*/ 219044 w 510032"/>
                <a:gd name="connsiteY10" fmla="*/ 206934 h 540433"/>
                <a:gd name="connsiteX11" fmla="*/ 239244 w 510032"/>
                <a:gd name="connsiteY11" fmla="*/ 255281 h 540433"/>
                <a:gd name="connsiteX12" fmla="*/ 278847 w 510032"/>
                <a:gd name="connsiteY12" fmla="*/ 305825 h 540433"/>
                <a:gd name="connsiteX13" fmla="*/ 302553 w 510032"/>
                <a:gd name="connsiteY13" fmla="*/ 324014 h 540433"/>
                <a:gd name="connsiteX14" fmla="*/ 269309 w 510032"/>
                <a:gd name="connsiteY14" fmla="*/ 308350 h 540433"/>
                <a:gd name="connsiteX15" fmla="*/ 175046 w 510032"/>
                <a:gd name="connsiteY15" fmla="*/ 247800 h 540433"/>
                <a:gd name="connsiteX16" fmla="*/ 166863 w 510032"/>
                <a:gd name="connsiteY16" fmla="*/ 238495 h 540433"/>
                <a:gd name="connsiteX17" fmla="*/ 96446 w 510032"/>
                <a:gd name="connsiteY17" fmla="*/ 385079 h 540433"/>
                <a:gd name="connsiteX18" fmla="*/ 151807 w 510032"/>
                <a:gd name="connsiteY18" fmla="*/ 333085 h 540433"/>
                <a:gd name="connsiteX19" fmla="*/ 223112 w 510032"/>
                <a:gd name="connsiteY19" fmla="*/ 318123 h 540433"/>
                <a:gd name="connsiteX20" fmla="*/ 400136 w 510032"/>
                <a:gd name="connsiteY20" fmla="*/ 481026 h 540433"/>
                <a:gd name="connsiteX21" fmla="*/ 473592 w 510032"/>
                <a:gd name="connsiteY21" fmla="*/ 536199 h 540433"/>
                <a:gd name="connsiteX22" fmla="*/ 505854 w 510032"/>
                <a:gd name="connsiteY22" fmla="*/ 529887 h 540433"/>
                <a:gd name="connsiteX23" fmla="*/ 498093 w 510032"/>
                <a:gd name="connsiteY23" fmla="*/ 503095 h 540433"/>
                <a:gd name="connsiteX24" fmla="*/ 453954 w 510032"/>
                <a:gd name="connsiteY24" fmla="*/ 456197 h 540433"/>
                <a:gd name="connsiteX25" fmla="*/ 296101 w 510032"/>
                <a:gd name="connsiteY25" fmla="*/ 265427 h 540433"/>
                <a:gd name="connsiteX26" fmla="*/ 297644 w 510032"/>
                <a:gd name="connsiteY26" fmla="*/ 236952 h 540433"/>
                <a:gd name="connsiteX27" fmla="*/ 330888 w 510032"/>
                <a:gd name="connsiteY27" fmla="*/ 193514 h 540433"/>
                <a:gd name="connsiteX28" fmla="*/ 402614 w 510032"/>
                <a:gd name="connsiteY28" fmla="*/ 87141 h 540433"/>
                <a:gd name="connsiteX29" fmla="*/ 403970 w 510032"/>
                <a:gd name="connsiteY29" fmla="*/ 47491 h 540433"/>
                <a:gd name="connsiteX30" fmla="*/ 369557 w 510032"/>
                <a:gd name="connsiteY30" fmla="*/ 11628 h 540433"/>
                <a:gd name="connsiteX31" fmla="*/ 324716 w 510032"/>
                <a:gd name="connsiteY31" fmla="*/ 12750 h 540433"/>
                <a:gd name="connsiteX32" fmla="*/ 201370 w 510032"/>
                <a:gd name="connsiteY32" fmla="*/ 75078 h 540433"/>
                <a:gd name="connsiteX33" fmla="*/ 38420 w 510032"/>
                <a:gd name="connsiteY33" fmla="*/ 19623 h 540433"/>
                <a:gd name="connsiteX34" fmla="*/ 4895 w 510032"/>
                <a:gd name="connsiteY34" fmla="*/ 3819 h 540433"/>
                <a:gd name="connsiteX35" fmla="*/ 11769 w 510032"/>
                <a:gd name="connsiteY35" fmla="*/ 38934 h 540433"/>
                <a:gd name="connsiteX36" fmla="*/ 19250 w 510032"/>
                <a:gd name="connsiteY36" fmla="*/ 52119 h 540433"/>
                <a:gd name="connsiteX37" fmla="*/ 49502 w 510032"/>
                <a:gd name="connsiteY37" fmla="*/ 85645 h 540433"/>
                <a:gd name="connsiteX38" fmla="*/ 104115 w 510032"/>
                <a:gd name="connsiteY38" fmla="*/ 147738 h 540433"/>
                <a:gd name="connsiteX39" fmla="*/ 104395 w 510032"/>
                <a:gd name="connsiteY39" fmla="*/ 227881 h 540433"/>
                <a:gd name="connsiteX40" fmla="*/ 106359 w 510032"/>
                <a:gd name="connsiteY40" fmla="*/ 243544 h 540433"/>
                <a:gd name="connsiteX41" fmla="*/ 98737 w 510032"/>
                <a:gd name="connsiteY41" fmla="*/ 241113 h 540433"/>
                <a:gd name="connsiteX42" fmla="*/ 47164 w 510032"/>
                <a:gd name="connsiteY42" fmla="*/ 319432 h 540433"/>
                <a:gd name="connsiteX43" fmla="*/ 80455 w 510032"/>
                <a:gd name="connsiteY43" fmla="*/ 392934 h 540433"/>
                <a:gd name="connsiteX44" fmla="*/ 96353 w 510032"/>
                <a:gd name="connsiteY44" fmla="*/ 385126 h 5404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</a:cxnLst>
              <a:rect l="l" t="t" r="r" b="b"/>
              <a:pathLst>
                <a:path w="510032" h="540433">
                  <a:moveTo>
                    <a:pt x="166863" y="291050"/>
                  </a:moveTo>
                  <a:cubicBezTo>
                    <a:pt x="168640" y="290629"/>
                    <a:pt x="171211" y="291377"/>
                    <a:pt x="172661" y="292546"/>
                  </a:cubicBezTo>
                  <a:cubicBezTo>
                    <a:pt x="174484" y="294089"/>
                    <a:pt x="174484" y="296801"/>
                    <a:pt x="171819" y="297596"/>
                  </a:cubicBezTo>
                  <a:cubicBezTo>
                    <a:pt x="170136" y="298064"/>
                    <a:pt x="167985" y="296895"/>
                    <a:pt x="166489" y="296567"/>
                  </a:cubicBezTo>
                  <a:cubicBezTo>
                    <a:pt x="165040" y="294042"/>
                    <a:pt x="163543" y="291751"/>
                    <a:pt x="166863" y="291003"/>
                  </a:cubicBezTo>
                  <a:moveTo>
                    <a:pt x="166910" y="238541"/>
                  </a:moveTo>
                  <a:cubicBezTo>
                    <a:pt x="168967" y="204315"/>
                    <a:pt x="149376" y="178692"/>
                    <a:pt x="132917" y="151806"/>
                  </a:cubicBezTo>
                  <a:cubicBezTo>
                    <a:pt x="131468" y="149422"/>
                    <a:pt x="130720" y="146570"/>
                    <a:pt x="129036" y="142315"/>
                  </a:cubicBezTo>
                  <a:cubicBezTo>
                    <a:pt x="156857" y="156669"/>
                    <a:pt x="160457" y="156950"/>
                    <a:pt x="244901" y="153256"/>
                  </a:cubicBezTo>
                  <a:cubicBezTo>
                    <a:pt x="243078" y="160550"/>
                    <a:pt x="243452" y="169574"/>
                    <a:pt x="239103" y="174203"/>
                  </a:cubicBezTo>
                  <a:cubicBezTo>
                    <a:pt x="229939" y="184069"/>
                    <a:pt x="218624" y="195291"/>
                    <a:pt x="219044" y="206934"/>
                  </a:cubicBezTo>
                  <a:cubicBezTo>
                    <a:pt x="219699" y="224093"/>
                    <a:pt x="228536" y="240926"/>
                    <a:pt x="239244" y="255281"/>
                  </a:cubicBezTo>
                  <a:cubicBezTo>
                    <a:pt x="252055" y="272394"/>
                    <a:pt x="265615" y="288993"/>
                    <a:pt x="278847" y="305825"/>
                  </a:cubicBezTo>
                  <a:cubicBezTo>
                    <a:pt x="285720" y="311109"/>
                    <a:pt x="292640" y="316393"/>
                    <a:pt x="302553" y="324014"/>
                  </a:cubicBezTo>
                  <a:cubicBezTo>
                    <a:pt x="283803" y="327287"/>
                    <a:pt x="277117" y="316860"/>
                    <a:pt x="269309" y="308350"/>
                  </a:cubicBezTo>
                  <a:cubicBezTo>
                    <a:pt x="239103" y="286328"/>
                    <a:pt x="214836" y="255047"/>
                    <a:pt x="175046" y="247800"/>
                  </a:cubicBezTo>
                  <a:cubicBezTo>
                    <a:pt x="169902" y="246864"/>
                    <a:pt x="166536" y="244246"/>
                    <a:pt x="166863" y="238495"/>
                  </a:cubicBezTo>
                  <a:moveTo>
                    <a:pt x="96446" y="385079"/>
                  </a:moveTo>
                  <a:cubicBezTo>
                    <a:pt x="112998" y="365722"/>
                    <a:pt x="132637" y="349684"/>
                    <a:pt x="151807" y="333085"/>
                  </a:cubicBezTo>
                  <a:cubicBezTo>
                    <a:pt x="174858" y="313073"/>
                    <a:pt x="205718" y="306527"/>
                    <a:pt x="223112" y="318123"/>
                  </a:cubicBezTo>
                  <a:cubicBezTo>
                    <a:pt x="290677" y="363150"/>
                    <a:pt x="343700" y="423935"/>
                    <a:pt x="400136" y="481026"/>
                  </a:cubicBezTo>
                  <a:cubicBezTo>
                    <a:pt x="421831" y="502955"/>
                    <a:pt x="447361" y="520395"/>
                    <a:pt x="473592" y="536199"/>
                  </a:cubicBezTo>
                  <a:cubicBezTo>
                    <a:pt x="483411" y="542138"/>
                    <a:pt x="495942" y="543307"/>
                    <a:pt x="505854" y="529887"/>
                  </a:cubicBezTo>
                  <a:cubicBezTo>
                    <a:pt x="516328" y="515626"/>
                    <a:pt x="504592" y="510342"/>
                    <a:pt x="498093" y="503095"/>
                  </a:cubicBezTo>
                  <a:cubicBezTo>
                    <a:pt x="483738" y="487151"/>
                    <a:pt x="467654" y="472656"/>
                    <a:pt x="453954" y="456197"/>
                  </a:cubicBezTo>
                  <a:cubicBezTo>
                    <a:pt x="401071" y="392794"/>
                    <a:pt x="349264" y="328549"/>
                    <a:pt x="296101" y="265427"/>
                  </a:cubicBezTo>
                  <a:cubicBezTo>
                    <a:pt x="286188" y="253644"/>
                    <a:pt x="290583" y="243638"/>
                    <a:pt x="297644" y="236952"/>
                  </a:cubicBezTo>
                  <a:cubicBezTo>
                    <a:pt x="311250" y="224140"/>
                    <a:pt x="319947" y="207962"/>
                    <a:pt x="330888" y="193514"/>
                  </a:cubicBezTo>
                  <a:cubicBezTo>
                    <a:pt x="356698" y="159475"/>
                    <a:pt x="371474" y="118141"/>
                    <a:pt x="402614" y="87141"/>
                  </a:cubicBezTo>
                  <a:cubicBezTo>
                    <a:pt x="412807" y="76994"/>
                    <a:pt x="412994" y="62733"/>
                    <a:pt x="403970" y="47491"/>
                  </a:cubicBezTo>
                  <a:cubicBezTo>
                    <a:pt x="394946" y="32294"/>
                    <a:pt x="381620" y="22662"/>
                    <a:pt x="369557" y="11628"/>
                  </a:cubicBezTo>
                  <a:cubicBezTo>
                    <a:pt x="355576" y="-1231"/>
                    <a:pt x="340380" y="-3148"/>
                    <a:pt x="324716" y="12750"/>
                  </a:cubicBezTo>
                  <a:cubicBezTo>
                    <a:pt x="290817" y="47210"/>
                    <a:pt x="246771" y="63481"/>
                    <a:pt x="201370" y="75078"/>
                  </a:cubicBezTo>
                  <a:cubicBezTo>
                    <a:pt x="135676" y="91863"/>
                    <a:pt x="85271" y="60583"/>
                    <a:pt x="38420" y="19623"/>
                  </a:cubicBezTo>
                  <a:cubicBezTo>
                    <a:pt x="28975" y="11394"/>
                    <a:pt x="20091" y="-8244"/>
                    <a:pt x="4895" y="3819"/>
                  </a:cubicBezTo>
                  <a:cubicBezTo>
                    <a:pt x="-8571" y="14480"/>
                    <a:pt x="9805" y="26824"/>
                    <a:pt x="11769" y="38934"/>
                  </a:cubicBezTo>
                  <a:cubicBezTo>
                    <a:pt x="17473" y="41506"/>
                    <a:pt x="27012" y="41926"/>
                    <a:pt x="19250" y="52119"/>
                  </a:cubicBezTo>
                  <a:cubicBezTo>
                    <a:pt x="26404" y="65960"/>
                    <a:pt x="36831" y="76246"/>
                    <a:pt x="49502" y="85645"/>
                  </a:cubicBezTo>
                  <a:cubicBezTo>
                    <a:pt x="71945" y="102197"/>
                    <a:pt x="89199" y="124173"/>
                    <a:pt x="104115" y="147738"/>
                  </a:cubicBezTo>
                  <a:cubicBezTo>
                    <a:pt x="120901" y="174250"/>
                    <a:pt x="108416" y="201135"/>
                    <a:pt x="104395" y="227881"/>
                  </a:cubicBezTo>
                  <a:cubicBezTo>
                    <a:pt x="106499" y="232977"/>
                    <a:pt x="111315" y="237933"/>
                    <a:pt x="106359" y="243544"/>
                  </a:cubicBezTo>
                  <a:cubicBezTo>
                    <a:pt x="105611" y="244340"/>
                    <a:pt x="101356" y="242048"/>
                    <a:pt x="98737" y="241113"/>
                  </a:cubicBezTo>
                  <a:cubicBezTo>
                    <a:pt x="79754" y="265988"/>
                    <a:pt x="67737" y="295352"/>
                    <a:pt x="47164" y="319432"/>
                  </a:cubicBezTo>
                  <a:cubicBezTo>
                    <a:pt x="34680" y="334020"/>
                    <a:pt x="61612" y="391345"/>
                    <a:pt x="80455" y="392934"/>
                  </a:cubicBezTo>
                  <a:cubicBezTo>
                    <a:pt x="86955" y="393496"/>
                    <a:pt x="91911" y="390316"/>
                    <a:pt x="96353" y="385126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0B91B464-86D4-1F48-215A-3B5562B081CB}"/>
                </a:ext>
              </a:extLst>
            </p:cNvPr>
            <p:cNvSpPr/>
            <p:nvPr/>
          </p:nvSpPr>
          <p:spPr>
            <a:xfrm flipH="1">
              <a:off x="2008678" y="8598289"/>
              <a:ext cx="404551" cy="410552"/>
            </a:xfrm>
            <a:custGeom>
              <a:avLst/>
              <a:gdLst>
                <a:gd name="connsiteX0" fmla="*/ 216564 w 404551"/>
                <a:gd name="connsiteY0" fmla="*/ 276245 h 410552"/>
                <a:gd name="connsiteX1" fmla="*/ 206745 w 404551"/>
                <a:gd name="connsiteY1" fmla="*/ 206015 h 410552"/>
                <a:gd name="connsiteX2" fmla="*/ 186499 w 404551"/>
                <a:gd name="connsiteY2" fmla="*/ 175576 h 410552"/>
                <a:gd name="connsiteX3" fmla="*/ 211701 w 404551"/>
                <a:gd name="connsiteY3" fmla="*/ 189182 h 410552"/>
                <a:gd name="connsiteX4" fmla="*/ 267015 w 404551"/>
                <a:gd name="connsiteY4" fmla="*/ 220556 h 410552"/>
                <a:gd name="connsiteX5" fmla="*/ 290160 w 404551"/>
                <a:gd name="connsiteY5" fmla="*/ 275917 h 410552"/>
                <a:gd name="connsiteX6" fmla="*/ 296519 w 404551"/>
                <a:gd name="connsiteY6" fmla="*/ 285596 h 410552"/>
                <a:gd name="connsiteX7" fmla="*/ 302177 w 404551"/>
                <a:gd name="connsiteY7" fmla="*/ 296257 h 410552"/>
                <a:gd name="connsiteX8" fmla="*/ 293526 w 404551"/>
                <a:gd name="connsiteY8" fmla="*/ 294901 h 410552"/>
                <a:gd name="connsiteX9" fmla="*/ 229656 w 404551"/>
                <a:gd name="connsiteY9" fmla="*/ 291862 h 410552"/>
                <a:gd name="connsiteX10" fmla="*/ 214600 w 404551"/>
                <a:gd name="connsiteY10" fmla="*/ 291488 h 410552"/>
                <a:gd name="connsiteX11" fmla="*/ 216564 w 404551"/>
                <a:gd name="connsiteY11" fmla="*/ 276245 h 410552"/>
                <a:gd name="connsiteX12" fmla="*/ 208288 w 404551"/>
                <a:gd name="connsiteY12" fmla="*/ 258383 h 410552"/>
                <a:gd name="connsiteX13" fmla="*/ 208802 w 404551"/>
                <a:gd name="connsiteY13" fmla="*/ 250060 h 410552"/>
                <a:gd name="connsiteX14" fmla="*/ 217172 w 404551"/>
                <a:gd name="connsiteY14" fmla="*/ 252492 h 410552"/>
                <a:gd name="connsiteX15" fmla="*/ 215068 w 404551"/>
                <a:gd name="connsiteY15" fmla="*/ 258103 h 410552"/>
                <a:gd name="connsiteX16" fmla="*/ 208288 w 404551"/>
                <a:gd name="connsiteY16" fmla="*/ 258383 h 410552"/>
                <a:gd name="connsiteX17" fmla="*/ 239335 w 404551"/>
                <a:gd name="connsiteY17" fmla="*/ 182776 h 410552"/>
                <a:gd name="connsiteX18" fmla="*/ 245554 w 404551"/>
                <a:gd name="connsiteY18" fmla="*/ 182262 h 410552"/>
                <a:gd name="connsiteX19" fmla="*/ 246956 w 404551"/>
                <a:gd name="connsiteY19" fmla="*/ 189837 h 410552"/>
                <a:gd name="connsiteX20" fmla="*/ 239662 w 404551"/>
                <a:gd name="connsiteY20" fmla="*/ 190772 h 410552"/>
                <a:gd name="connsiteX21" fmla="*/ 239335 w 404551"/>
                <a:gd name="connsiteY21" fmla="*/ 182776 h 410552"/>
                <a:gd name="connsiteX22" fmla="*/ 277302 w 404551"/>
                <a:gd name="connsiteY22" fmla="*/ 172770 h 410552"/>
                <a:gd name="connsiteX23" fmla="*/ 255700 w 404551"/>
                <a:gd name="connsiteY23" fmla="*/ 193437 h 410552"/>
                <a:gd name="connsiteX24" fmla="*/ 277302 w 404551"/>
                <a:gd name="connsiteY24" fmla="*/ 172770 h 410552"/>
                <a:gd name="connsiteX25" fmla="*/ 154049 w 404551"/>
                <a:gd name="connsiteY25" fmla="*/ 403565 h 410552"/>
                <a:gd name="connsiteX26" fmla="*/ 226243 w 404551"/>
                <a:gd name="connsiteY26" fmla="*/ 359052 h 410552"/>
                <a:gd name="connsiteX27" fmla="*/ 339255 w 404551"/>
                <a:gd name="connsiteY27" fmla="*/ 364476 h 410552"/>
                <a:gd name="connsiteX28" fmla="*/ 376895 w 404551"/>
                <a:gd name="connsiteY28" fmla="*/ 391502 h 410552"/>
                <a:gd name="connsiteX29" fmla="*/ 400087 w 404551"/>
                <a:gd name="connsiteY29" fmla="*/ 402209 h 410552"/>
                <a:gd name="connsiteX30" fmla="*/ 395224 w 404551"/>
                <a:gd name="connsiteY30" fmla="*/ 376025 h 410552"/>
                <a:gd name="connsiteX31" fmla="*/ 365720 w 404551"/>
                <a:gd name="connsiteY31" fmla="*/ 341050 h 410552"/>
                <a:gd name="connsiteX32" fmla="*/ 319804 w 404551"/>
                <a:gd name="connsiteY32" fmla="*/ 232854 h 410552"/>
                <a:gd name="connsiteX33" fmla="*/ 334860 w 404551"/>
                <a:gd name="connsiteY33" fmla="*/ 201713 h 410552"/>
                <a:gd name="connsiteX34" fmla="*/ 350477 w 404551"/>
                <a:gd name="connsiteY34" fmla="*/ 118485 h 410552"/>
                <a:gd name="connsiteX35" fmla="*/ 318261 w 404551"/>
                <a:gd name="connsiteY35" fmla="*/ 114557 h 410552"/>
                <a:gd name="connsiteX36" fmla="*/ 285484 w 404551"/>
                <a:gd name="connsiteY36" fmla="*/ 147334 h 410552"/>
                <a:gd name="connsiteX37" fmla="*/ 204641 w 404551"/>
                <a:gd name="connsiteY37" fmla="*/ 151168 h 410552"/>
                <a:gd name="connsiteX38" fmla="*/ 110471 w 404551"/>
                <a:gd name="connsiteY38" fmla="*/ 68455 h 410552"/>
                <a:gd name="connsiteX39" fmla="*/ 31311 w 404551"/>
                <a:gd name="connsiteY39" fmla="*/ 5145 h 410552"/>
                <a:gd name="connsiteX40" fmla="*/ 2649 w 404551"/>
                <a:gd name="connsiteY40" fmla="*/ 8324 h 410552"/>
                <a:gd name="connsiteX41" fmla="*/ 12140 w 404551"/>
                <a:gd name="connsiteY41" fmla="*/ 31189 h 410552"/>
                <a:gd name="connsiteX42" fmla="*/ 167936 w 404551"/>
                <a:gd name="connsiteY42" fmla="*/ 202508 h 410552"/>
                <a:gd name="connsiteX43" fmla="*/ 168731 w 404551"/>
                <a:gd name="connsiteY43" fmla="*/ 232947 h 410552"/>
                <a:gd name="connsiteX44" fmla="*/ 128753 w 404551"/>
                <a:gd name="connsiteY44" fmla="*/ 294854 h 410552"/>
                <a:gd name="connsiteX45" fmla="*/ 98735 w 404551"/>
                <a:gd name="connsiteY45" fmla="*/ 340957 h 410552"/>
                <a:gd name="connsiteX46" fmla="*/ 93265 w 404551"/>
                <a:gd name="connsiteY46" fmla="*/ 376352 h 410552"/>
                <a:gd name="connsiteX47" fmla="*/ 142407 w 404551"/>
                <a:gd name="connsiteY47" fmla="*/ 410438 h 410552"/>
                <a:gd name="connsiteX48" fmla="*/ 154096 w 404551"/>
                <a:gd name="connsiteY48" fmla="*/ 403518 h 4105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04551" h="410552">
                  <a:moveTo>
                    <a:pt x="216564" y="276245"/>
                  </a:moveTo>
                  <a:cubicBezTo>
                    <a:pt x="233210" y="242766"/>
                    <a:pt x="231853" y="234864"/>
                    <a:pt x="206745" y="206015"/>
                  </a:cubicBezTo>
                  <a:cubicBezTo>
                    <a:pt x="198889" y="196991"/>
                    <a:pt x="187574" y="189837"/>
                    <a:pt x="186499" y="175576"/>
                  </a:cubicBezTo>
                  <a:cubicBezTo>
                    <a:pt x="198983" y="173098"/>
                    <a:pt x="204267" y="183712"/>
                    <a:pt x="211701" y="189182"/>
                  </a:cubicBezTo>
                  <a:cubicBezTo>
                    <a:pt x="229189" y="201994"/>
                    <a:pt x="251445" y="208446"/>
                    <a:pt x="267015" y="220556"/>
                  </a:cubicBezTo>
                  <a:cubicBezTo>
                    <a:pt x="279920" y="230609"/>
                    <a:pt x="277395" y="258898"/>
                    <a:pt x="290160" y="275917"/>
                  </a:cubicBezTo>
                  <a:cubicBezTo>
                    <a:pt x="292498" y="279003"/>
                    <a:pt x="294415" y="282370"/>
                    <a:pt x="296519" y="285596"/>
                  </a:cubicBezTo>
                  <a:cubicBezTo>
                    <a:pt x="300073" y="288308"/>
                    <a:pt x="304748" y="291394"/>
                    <a:pt x="302177" y="296257"/>
                  </a:cubicBezTo>
                  <a:cubicBezTo>
                    <a:pt x="299465" y="301400"/>
                    <a:pt x="296145" y="297472"/>
                    <a:pt x="293526" y="294901"/>
                  </a:cubicBezTo>
                  <a:cubicBezTo>
                    <a:pt x="272673" y="285643"/>
                    <a:pt x="251211" y="288729"/>
                    <a:pt x="229656" y="291862"/>
                  </a:cubicBezTo>
                  <a:cubicBezTo>
                    <a:pt x="224653" y="292610"/>
                    <a:pt x="218574" y="297052"/>
                    <a:pt x="214600" y="291488"/>
                  </a:cubicBezTo>
                  <a:cubicBezTo>
                    <a:pt x="211234" y="286812"/>
                    <a:pt x="214132" y="281107"/>
                    <a:pt x="216564" y="276245"/>
                  </a:cubicBezTo>
                  <a:moveTo>
                    <a:pt x="208288" y="258383"/>
                  </a:moveTo>
                  <a:cubicBezTo>
                    <a:pt x="207212" y="256186"/>
                    <a:pt x="207774" y="252585"/>
                    <a:pt x="208802" y="250060"/>
                  </a:cubicBezTo>
                  <a:cubicBezTo>
                    <a:pt x="209784" y="247629"/>
                    <a:pt x="212356" y="248003"/>
                    <a:pt x="217172" y="252492"/>
                  </a:cubicBezTo>
                  <a:cubicBezTo>
                    <a:pt x="217172" y="252585"/>
                    <a:pt x="216564" y="255578"/>
                    <a:pt x="215068" y="258103"/>
                  </a:cubicBezTo>
                  <a:cubicBezTo>
                    <a:pt x="213244" y="261235"/>
                    <a:pt x="209831" y="261656"/>
                    <a:pt x="208288" y="258383"/>
                  </a:cubicBezTo>
                  <a:moveTo>
                    <a:pt x="239335" y="182776"/>
                  </a:moveTo>
                  <a:cubicBezTo>
                    <a:pt x="240504" y="181608"/>
                    <a:pt x="243730" y="181608"/>
                    <a:pt x="245554" y="182262"/>
                  </a:cubicBezTo>
                  <a:cubicBezTo>
                    <a:pt x="249107" y="183571"/>
                    <a:pt x="249481" y="186377"/>
                    <a:pt x="246956" y="189837"/>
                  </a:cubicBezTo>
                  <a:cubicBezTo>
                    <a:pt x="245086" y="191660"/>
                    <a:pt x="242514" y="193624"/>
                    <a:pt x="239662" y="190772"/>
                  </a:cubicBezTo>
                  <a:cubicBezTo>
                    <a:pt x="237324" y="188434"/>
                    <a:pt x="237044" y="185021"/>
                    <a:pt x="239335" y="182776"/>
                  </a:cubicBezTo>
                  <a:moveTo>
                    <a:pt x="277302" y="172770"/>
                  </a:moveTo>
                  <a:cubicBezTo>
                    <a:pt x="278798" y="187733"/>
                    <a:pt x="270054" y="189884"/>
                    <a:pt x="255700" y="193437"/>
                  </a:cubicBezTo>
                  <a:cubicBezTo>
                    <a:pt x="262667" y="181467"/>
                    <a:pt x="267389" y="175482"/>
                    <a:pt x="277302" y="172770"/>
                  </a:cubicBezTo>
                  <a:moveTo>
                    <a:pt x="154049" y="403565"/>
                  </a:moveTo>
                  <a:cubicBezTo>
                    <a:pt x="174856" y="383272"/>
                    <a:pt x="199123" y="370321"/>
                    <a:pt x="226243" y="359052"/>
                  </a:cubicBezTo>
                  <a:cubicBezTo>
                    <a:pt x="266314" y="342406"/>
                    <a:pt x="302551" y="344090"/>
                    <a:pt x="339255" y="364476"/>
                  </a:cubicBezTo>
                  <a:cubicBezTo>
                    <a:pt x="352768" y="372004"/>
                    <a:pt x="365393" y="380888"/>
                    <a:pt x="376895" y="391502"/>
                  </a:cubicBezTo>
                  <a:cubicBezTo>
                    <a:pt x="383348" y="397487"/>
                    <a:pt x="391156" y="408895"/>
                    <a:pt x="400087" y="402209"/>
                  </a:cubicBezTo>
                  <a:cubicBezTo>
                    <a:pt x="411028" y="393933"/>
                    <a:pt x="398871" y="384208"/>
                    <a:pt x="395224" y="376025"/>
                  </a:cubicBezTo>
                  <a:cubicBezTo>
                    <a:pt x="388912" y="361764"/>
                    <a:pt x="378859" y="350636"/>
                    <a:pt x="365720" y="341050"/>
                  </a:cubicBezTo>
                  <a:cubicBezTo>
                    <a:pt x="317887" y="306310"/>
                    <a:pt x="307414" y="280079"/>
                    <a:pt x="319804" y="232854"/>
                  </a:cubicBezTo>
                  <a:cubicBezTo>
                    <a:pt x="322797" y="221398"/>
                    <a:pt x="332055" y="212280"/>
                    <a:pt x="334860" y="201713"/>
                  </a:cubicBezTo>
                  <a:cubicBezTo>
                    <a:pt x="342014" y="174734"/>
                    <a:pt x="385732" y="155190"/>
                    <a:pt x="350477" y="118485"/>
                  </a:cubicBezTo>
                  <a:cubicBezTo>
                    <a:pt x="337058" y="104551"/>
                    <a:pt x="333177" y="100063"/>
                    <a:pt x="318261" y="114557"/>
                  </a:cubicBezTo>
                  <a:cubicBezTo>
                    <a:pt x="307227" y="125358"/>
                    <a:pt x="296706" y="136720"/>
                    <a:pt x="285484" y="147334"/>
                  </a:cubicBezTo>
                  <a:cubicBezTo>
                    <a:pt x="254905" y="176137"/>
                    <a:pt x="238727" y="176417"/>
                    <a:pt x="204641" y="151168"/>
                  </a:cubicBezTo>
                  <a:cubicBezTo>
                    <a:pt x="171630" y="126714"/>
                    <a:pt x="141612" y="98940"/>
                    <a:pt x="110471" y="68455"/>
                  </a:cubicBezTo>
                  <a:cubicBezTo>
                    <a:pt x="88963" y="44047"/>
                    <a:pt x="61142" y="23287"/>
                    <a:pt x="31311" y="5145"/>
                  </a:cubicBezTo>
                  <a:cubicBezTo>
                    <a:pt x="21305" y="-933"/>
                    <a:pt x="10597" y="-3552"/>
                    <a:pt x="2649" y="8324"/>
                  </a:cubicBezTo>
                  <a:cubicBezTo>
                    <a:pt x="-5113" y="19920"/>
                    <a:pt x="6062" y="25531"/>
                    <a:pt x="12140" y="31189"/>
                  </a:cubicBezTo>
                  <a:cubicBezTo>
                    <a:pt x="68951" y="83884"/>
                    <a:pt x="113604" y="147615"/>
                    <a:pt x="167936" y="202508"/>
                  </a:cubicBezTo>
                  <a:cubicBezTo>
                    <a:pt x="178270" y="212935"/>
                    <a:pt x="176399" y="221398"/>
                    <a:pt x="168731" y="232947"/>
                  </a:cubicBezTo>
                  <a:cubicBezTo>
                    <a:pt x="155171" y="253333"/>
                    <a:pt x="138900" y="271616"/>
                    <a:pt x="128753" y="294854"/>
                  </a:cubicBezTo>
                  <a:cubicBezTo>
                    <a:pt x="121740" y="310985"/>
                    <a:pt x="112762" y="328099"/>
                    <a:pt x="98735" y="340957"/>
                  </a:cubicBezTo>
                  <a:cubicBezTo>
                    <a:pt x="87794" y="351010"/>
                    <a:pt x="83773" y="364850"/>
                    <a:pt x="93265" y="376352"/>
                  </a:cubicBezTo>
                  <a:cubicBezTo>
                    <a:pt x="106123" y="391876"/>
                    <a:pt x="117251" y="412262"/>
                    <a:pt x="142407" y="410438"/>
                  </a:cubicBezTo>
                  <a:cubicBezTo>
                    <a:pt x="146475" y="410158"/>
                    <a:pt x="150916" y="406651"/>
                    <a:pt x="154096" y="403518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F64B9C0A-7A36-3F9E-B71E-1BE7CE2257A9}"/>
                </a:ext>
              </a:extLst>
            </p:cNvPr>
            <p:cNvSpPr/>
            <p:nvPr/>
          </p:nvSpPr>
          <p:spPr>
            <a:xfrm flipH="1">
              <a:off x="2065716" y="9222678"/>
              <a:ext cx="258082" cy="195623"/>
            </a:xfrm>
            <a:custGeom>
              <a:avLst/>
              <a:gdLst>
                <a:gd name="connsiteX0" fmla="*/ 225277 w 258082"/>
                <a:gd name="connsiteY0" fmla="*/ 190595 h 195623"/>
                <a:gd name="connsiteX1" fmla="*/ 254500 w 258082"/>
                <a:gd name="connsiteY1" fmla="*/ 187696 h 195623"/>
                <a:gd name="connsiteX2" fmla="*/ 249637 w 258082"/>
                <a:gd name="connsiteY2" fmla="*/ 158145 h 195623"/>
                <a:gd name="connsiteX3" fmla="*/ 243699 w 258082"/>
                <a:gd name="connsiteY3" fmla="*/ 153984 h 195623"/>
                <a:gd name="connsiteX4" fmla="*/ 34974 w 258082"/>
                <a:gd name="connsiteY4" fmla="*/ 6838 h 195623"/>
                <a:gd name="connsiteX5" fmla="*/ 4535 w 258082"/>
                <a:gd name="connsiteY5" fmla="*/ 8568 h 195623"/>
                <a:gd name="connsiteX6" fmla="*/ 10520 w 258082"/>
                <a:gd name="connsiteY6" fmla="*/ 39288 h 195623"/>
                <a:gd name="connsiteX7" fmla="*/ 35161 w 258082"/>
                <a:gd name="connsiteY7" fmla="*/ 56541 h 195623"/>
                <a:gd name="connsiteX8" fmla="*/ 225277 w 258082"/>
                <a:gd name="connsiteY8" fmla="*/ 190641 h 195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8082" h="195623">
                  <a:moveTo>
                    <a:pt x="225277" y="190595"/>
                  </a:moveTo>
                  <a:cubicBezTo>
                    <a:pt x="235283" y="197375"/>
                    <a:pt x="246925" y="198123"/>
                    <a:pt x="254500" y="187696"/>
                  </a:cubicBezTo>
                  <a:cubicBezTo>
                    <a:pt x="261981" y="177409"/>
                    <a:pt x="256464" y="167029"/>
                    <a:pt x="249637" y="158145"/>
                  </a:cubicBezTo>
                  <a:cubicBezTo>
                    <a:pt x="247486" y="156602"/>
                    <a:pt x="245663" y="155246"/>
                    <a:pt x="243699" y="153984"/>
                  </a:cubicBezTo>
                  <a:cubicBezTo>
                    <a:pt x="172394" y="107366"/>
                    <a:pt x="98798" y="64022"/>
                    <a:pt x="34974" y="6838"/>
                  </a:cubicBezTo>
                  <a:cubicBezTo>
                    <a:pt x="24220" y="-2794"/>
                    <a:pt x="12858" y="-2280"/>
                    <a:pt x="4535" y="8568"/>
                  </a:cubicBezTo>
                  <a:cubicBezTo>
                    <a:pt x="-3975" y="19603"/>
                    <a:pt x="327" y="31292"/>
                    <a:pt x="10520" y="39288"/>
                  </a:cubicBezTo>
                  <a:cubicBezTo>
                    <a:pt x="18375" y="45460"/>
                    <a:pt x="27306" y="49995"/>
                    <a:pt x="35161" y="56541"/>
                  </a:cubicBezTo>
                  <a:cubicBezTo>
                    <a:pt x="95011" y="106198"/>
                    <a:pt x="160892" y="147344"/>
                    <a:pt x="225277" y="190641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6DDB6317-4614-88C2-F750-D2B42EAF5D57}"/>
                </a:ext>
              </a:extLst>
            </p:cNvPr>
            <p:cNvSpPr/>
            <p:nvPr/>
          </p:nvSpPr>
          <p:spPr>
            <a:xfrm flipH="1">
              <a:off x="1666322" y="8699419"/>
              <a:ext cx="92476" cy="284037"/>
            </a:xfrm>
            <a:custGeom>
              <a:avLst/>
              <a:gdLst>
                <a:gd name="connsiteX0" fmla="*/ 13717 w 92476"/>
                <a:gd name="connsiteY0" fmla="*/ 569 h 284037"/>
                <a:gd name="connsiteX1" fmla="*/ 250 w 92476"/>
                <a:gd name="connsiteY1" fmla="*/ 23808 h 284037"/>
                <a:gd name="connsiteX2" fmla="*/ 2214 w 92476"/>
                <a:gd name="connsiteY2" fmla="*/ 35263 h 284037"/>
                <a:gd name="connsiteX3" fmla="*/ 28445 w 92476"/>
                <a:gd name="connsiteY3" fmla="*/ 146172 h 284037"/>
                <a:gd name="connsiteX4" fmla="*/ 54302 w 92476"/>
                <a:gd name="connsiteY4" fmla="*/ 264328 h 284037"/>
                <a:gd name="connsiteX5" fmla="*/ 88669 w 92476"/>
                <a:gd name="connsiteY5" fmla="*/ 276812 h 284037"/>
                <a:gd name="connsiteX6" fmla="*/ 91474 w 92476"/>
                <a:gd name="connsiteY6" fmla="*/ 255584 h 284037"/>
                <a:gd name="connsiteX7" fmla="*/ 82871 w 92476"/>
                <a:gd name="connsiteY7" fmla="*/ 217009 h 284037"/>
                <a:gd name="connsiteX8" fmla="*/ 36300 w 92476"/>
                <a:gd name="connsiteY8" fmla="*/ 17776 h 284037"/>
                <a:gd name="connsiteX9" fmla="*/ 13763 w 92476"/>
                <a:gd name="connsiteY9" fmla="*/ 569 h 2840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92476" h="284037">
                  <a:moveTo>
                    <a:pt x="13717" y="569"/>
                  </a:moveTo>
                  <a:cubicBezTo>
                    <a:pt x="671" y="3234"/>
                    <a:pt x="-732" y="12960"/>
                    <a:pt x="250" y="23808"/>
                  </a:cubicBezTo>
                  <a:cubicBezTo>
                    <a:pt x="577" y="27688"/>
                    <a:pt x="1279" y="31523"/>
                    <a:pt x="2214" y="35263"/>
                  </a:cubicBezTo>
                  <a:cubicBezTo>
                    <a:pt x="10958" y="72248"/>
                    <a:pt x="20029" y="109140"/>
                    <a:pt x="28445" y="146172"/>
                  </a:cubicBezTo>
                  <a:cubicBezTo>
                    <a:pt x="37376" y="185495"/>
                    <a:pt x="45184" y="225052"/>
                    <a:pt x="54302" y="264328"/>
                  </a:cubicBezTo>
                  <a:cubicBezTo>
                    <a:pt x="58931" y="284247"/>
                    <a:pt x="73145" y="290278"/>
                    <a:pt x="88669" y="276812"/>
                  </a:cubicBezTo>
                  <a:cubicBezTo>
                    <a:pt x="93111" y="272697"/>
                    <a:pt x="93111" y="264141"/>
                    <a:pt x="91474" y="255584"/>
                  </a:cubicBezTo>
                  <a:cubicBezTo>
                    <a:pt x="88996" y="242632"/>
                    <a:pt x="85863" y="229821"/>
                    <a:pt x="82871" y="217009"/>
                  </a:cubicBezTo>
                  <a:cubicBezTo>
                    <a:pt x="67347" y="150567"/>
                    <a:pt x="51730" y="84218"/>
                    <a:pt x="36300" y="17776"/>
                  </a:cubicBezTo>
                  <a:cubicBezTo>
                    <a:pt x="33495" y="5619"/>
                    <a:pt x="27650" y="-2236"/>
                    <a:pt x="13763" y="569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3ED0B967-3501-DFDA-6C26-4A915DA9623D}"/>
                </a:ext>
              </a:extLst>
            </p:cNvPr>
            <p:cNvSpPr/>
            <p:nvPr/>
          </p:nvSpPr>
          <p:spPr>
            <a:xfrm flipH="1">
              <a:off x="1348001" y="8705918"/>
              <a:ext cx="86725" cy="236856"/>
            </a:xfrm>
            <a:custGeom>
              <a:avLst/>
              <a:gdLst>
                <a:gd name="connsiteX0" fmla="*/ 73383 w 86725"/>
                <a:gd name="connsiteY0" fmla="*/ 8 h 236856"/>
                <a:gd name="connsiteX1" fmla="*/ 45703 w 86725"/>
                <a:gd name="connsiteY1" fmla="*/ 20722 h 236856"/>
                <a:gd name="connsiteX2" fmla="*/ 18723 w 86725"/>
                <a:gd name="connsiteY2" fmla="*/ 131163 h 236856"/>
                <a:gd name="connsiteX3" fmla="*/ 67 w 86725"/>
                <a:gd name="connsiteY3" fmla="*/ 217056 h 236856"/>
                <a:gd name="connsiteX4" fmla="*/ 9980 w 86725"/>
                <a:gd name="connsiteY4" fmla="*/ 236040 h 236856"/>
                <a:gd name="connsiteX5" fmla="*/ 33359 w 86725"/>
                <a:gd name="connsiteY5" fmla="*/ 228933 h 236856"/>
                <a:gd name="connsiteX6" fmla="*/ 38362 w 86725"/>
                <a:gd name="connsiteY6" fmla="*/ 210978 h 236856"/>
                <a:gd name="connsiteX7" fmla="*/ 52810 w 86725"/>
                <a:gd name="connsiteY7" fmla="*/ 147575 h 236856"/>
                <a:gd name="connsiteX8" fmla="*/ 84558 w 86725"/>
                <a:gd name="connsiteY8" fmla="*/ 24135 h 236856"/>
                <a:gd name="connsiteX9" fmla="*/ 73383 w 86725"/>
                <a:gd name="connsiteY9" fmla="*/ 8 h 2368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6725" h="236856">
                  <a:moveTo>
                    <a:pt x="73383" y="8"/>
                  </a:moveTo>
                  <a:cubicBezTo>
                    <a:pt x="59262" y="-179"/>
                    <a:pt x="47900" y="2673"/>
                    <a:pt x="45703" y="20722"/>
                  </a:cubicBezTo>
                  <a:cubicBezTo>
                    <a:pt x="41074" y="58502"/>
                    <a:pt x="27187" y="94225"/>
                    <a:pt x="18723" y="131163"/>
                  </a:cubicBezTo>
                  <a:cubicBezTo>
                    <a:pt x="12131" y="159732"/>
                    <a:pt x="-1055" y="186898"/>
                    <a:pt x="67" y="217056"/>
                  </a:cubicBezTo>
                  <a:cubicBezTo>
                    <a:pt x="348" y="224678"/>
                    <a:pt x="441" y="233375"/>
                    <a:pt x="9980" y="236040"/>
                  </a:cubicBezTo>
                  <a:cubicBezTo>
                    <a:pt x="17882" y="238237"/>
                    <a:pt x="25270" y="236040"/>
                    <a:pt x="33359" y="228933"/>
                  </a:cubicBezTo>
                  <a:cubicBezTo>
                    <a:pt x="34668" y="224210"/>
                    <a:pt x="36772" y="217664"/>
                    <a:pt x="38362" y="210978"/>
                  </a:cubicBezTo>
                  <a:cubicBezTo>
                    <a:pt x="43318" y="189890"/>
                    <a:pt x="47900" y="168709"/>
                    <a:pt x="52810" y="147575"/>
                  </a:cubicBezTo>
                  <a:cubicBezTo>
                    <a:pt x="62442" y="106148"/>
                    <a:pt x="78620" y="66404"/>
                    <a:pt x="84558" y="24135"/>
                  </a:cubicBezTo>
                  <a:cubicBezTo>
                    <a:pt x="85774" y="15532"/>
                    <a:pt x="92600" y="289"/>
                    <a:pt x="73383" y="8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FB3653C6-7704-A224-6504-8C169273B432}"/>
                </a:ext>
              </a:extLst>
            </p:cNvPr>
            <p:cNvSpPr/>
            <p:nvPr/>
          </p:nvSpPr>
          <p:spPr>
            <a:xfrm flipH="1">
              <a:off x="3607822" y="12399202"/>
              <a:ext cx="197296" cy="57641"/>
            </a:xfrm>
            <a:custGeom>
              <a:avLst/>
              <a:gdLst>
                <a:gd name="connsiteX0" fmla="*/ 123718 w 197296"/>
                <a:gd name="connsiteY0" fmla="*/ 35723 h 57641"/>
                <a:gd name="connsiteX1" fmla="*/ 121426 w 197296"/>
                <a:gd name="connsiteY1" fmla="*/ 38341 h 57641"/>
                <a:gd name="connsiteX2" fmla="*/ 111420 w 197296"/>
                <a:gd name="connsiteY2" fmla="*/ 31608 h 57641"/>
                <a:gd name="connsiteX3" fmla="*/ 123718 w 197296"/>
                <a:gd name="connsiteY3" fmla="*/ 35723 h 57641"/>
                <a:gd name="connsiteX4" fmla="*/ 41892 w 197296"/>
                <a:gd name="connsiteY4" fmla="*/ 33759 h 57641"/>
                <a:gd name="connsiteX5" fmla="*/ 34224 w 197296"/>
                <a:gd name="connsiteY5" fmla="*/ 31842 h 57641"/>
                <a:gd name="connsiteX6" fmla="*/ 32026 w 197296"/>
                <a:gd name="connsiteY6" fmla="*/ 21929 h 57641"/>
                <a:gd name="connsiteX7" fmla="*/ 43762 w 197296"/>
                <a:gd name="connsiteY7" fmla="*/ 27260 h 57641"/>
                <a:gd name="connsiteX8" fmla="*/ 41845 w 197296"/>
                <a:gd name="connsiteY8" fmla="*/ 33759 h 57641"/>
                <a:gd name="connsiteX9" fmla="*/ 161731 w 197296"/>
                <a:gd name="connsiteY9" fmla="*/ 0 h 57641"/>
                <a:gd name="connsiteX10" fmla="*/ 145693 w 197296"/>
                <a:gd name="connsiteY10" fmla="*/ 327 h 57641"/>
                <a:gd name="connsiteX11" fmla="*/ 145693 w 197296"/>
                <a:gd name="connsiteY11" fmla="*/ 327 h 57641"/>
                <a:gd name="connsiteX12" fmla="*/ 57041 w 197296"/>
                <a:gd name="connsiteY12" fmla="*/ 1449 h 57641"/>
                <a:gd name="connsiteX13" fmla="*/ 20430 w 197296"/>
                <a:gd name="connsiteY13" fmla="*/ 374 h 57641"/>
                <a:gd name="connsiteX14" fmla="*/ 91 w 197296"/>
                <a:gd name="connsiteY14" fmla="*/ 17347 h 57641"/>
                <a:gd name="connsiteX15" fmla="*/ 42126 w 197296"/>
                <a:gd name="connsiteY15" fmla="*/ 50077 h 57641"/>
                <a:gd name="connsiteX16" fmla="*/ 103846 w 197296"/>
                <a:gd name="connsiteY16" fmla="*/ 57231 h 57641"/>
                <a:gd name="connsiteX17" fmla="*/ 172205 w 197296"/>
                <a:gd name="connsiteY17" fmla="*/ 51480 h 57641"/>
                <a:gd name="connsiteX18" fmla="*/ 197173 w 197296"/>
                <a:gd name="connsiteY18" fmla="*/ 32917 h 57641"/>
                <a:gd name="connsiteX19" fmla="*/ 176881 w 197296"/>
                <a:gd name="connsiteY19" fmla="*/ 10474 h 57641"/>
                <a:gd name="connsiteX20" fmla="*/ 161685 w 197296"/>
                <a:gd name="connsiteY20" fmla="*/ 0 h 57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197296" h="57641">
                  <a:moveTo>
                    <a:pt x="123718" y="35723"/>
                  </a:moveTo>
                  <a:cubicBezTo>
                    <a:pt x="123905" y="36003"/>
                    <a:pt x="122315" y="38294"/>
                    <a:pt x="121426" y="38341"/>
                  </a:cubicBezTo>
                  <a:cubicBezTo>
                    <a:pt x="116564" y="38809"/>
                    <a:pt x="113337" y="36611"/>
                    <a:pt x="111420" y="31608"/>
                  </a:cubicBezTo>
                  <a:cubicBezTo>
                    <a:pt x="116844" y="31094"/>
                    <a:pt x="121006" y="31561"/>
                    <a:pt x="123718" y="35723"/>
                  </a:cubicBezTo>
                  <a:moveTo>
                    <a:pt x="41892" y="33759"/>
                  </a:moveTo>
                  <a:cubicBezTo>
                    <a:pt x="39180" y="34647"/>
                    <a:pt x="35767" y="35582"/>
                    <a:pt x="34224" y="31842"/>
                  </a:cubicBezTo>
                  <a:cubicBezTo>
                    <a:pt x="33242" y="29410"/>
                    <a:pt x="33008" y="26558"/>
                    <a:pt x="32026" y="21929"/>
                  </a:cubicBezTo>
                  <a:cubicBezTo>
                    <a:pt x="37263" y="24220"/>
                    <a:pt x="41050" y="25109"/>
                    <a:pt x="43762" y="27260"/>
                  </a:cubicBezTo>
                  <a:cubicBezTo>
                    <a:pt x="47035" y="29878"/>
                    <a:pt x="45212" y="32637"/>
                    <a:pt x="41845" y="33759"/>
                  </a:cubicBezTo>
                  <a:moveTo>
                    <a:pt x="161731" y="0"/>
                  </a:moveTo>
                  <a:cubicBezTo>
                    <a:pt x="156495" y="6546"/>
                    <a:pt x="151304" y="11923"/>
                    <a:pt x="145693" y="327"/>
                  </a:cubicBezTo>
                  <a:lnTo>
                    <a:pt x="145693" y="327"/>
                  </a:lnTo>
                  <a:cubicBezTo>
                    <a:pt x="116143" y="47"/>
                    <a:pt x="86732" y="5377"/>
                    <a:pt x="57041" y="1449"/>
                  </a:cubicBezTo>
                  <a:cubicBezTo>
                    <a:pt x="45025" y="-140"/>
                    <a:pt x="32587" y="1356"/>
                    <a:pt x="20430" y="374"/>
                  </a:cubicBezTo>
                  <a:cubicBezTo>
                    <a:pt x="6824" y="-748"/>
                    <a:pt x="-938" y="16318"/>
                    <a:pt x="91" y="17347"/>
                  </a:cubicBezTo>
                  <a:cubicBezTo>
                    <a:pt x="12528" y="30018"/>
                    <a:pt x="21272" y="47973"/>
                    <a:pt x="42126" y="50077"/>
                  </a:cubicBezTo>
                  <a:cubicBezTo>
                    <a:pt x="62699" y="52181"/>
                    <a:pt x="83226" y="56810"/>
                    <a:pt x="103846" y="57231"/>
                  </a:cubicBezTo>
                  <a:cubicBezTo>
                    <a:pt x="126663" y="57652"/>
                    <a:pt x="150135" y="59195"/>
                    <a:pt x="172205" y="51480"/>
                  </a:cubicBezTo>
                  <a:cubicBezTo>
                    <a:pt x="182118" y="48020"/>
                    <a:pt x="195677" y="44279"/>
                    <a:pt x="197173" y="32917"/>
                  </a:cubicBezTo>
                  <a:cubicBezTo>
                    <a:pt x="198670" y="21275"/>
                    <a:pt x="186232" y="15944"/>
                    <a:pt x="176881" y="10474"/>
                  </a:cubicBezTo>
                  <a:cubicBezTo>
                    <a:pt x="171597" y="7341"/>
                    <a:pt x="166734" y="3507"/>
                    <a:pt x="161685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AD1E5F7A-CA7D-AB6E-BEB9-2A094B6A3B19}"/>
                </a:ext>
              </a:extLst>
            </p:cNvPr>
            <p:cNvSpPr/>
            <p:nvPr/>
          </p:nvSpPr>
          <p:spPr>
            <a:xfrm flipH="1">
              <a:off x="2291711" y="10197201"/>
              <a:ext cx="162248" cy="149217"/>
            </a:xfrm>
            <a:custGeom>
              <a:avLst/>
              <a:gdLst>
                <a:gd name="connsiteX0" fmla="*/ 33139 w 162248"/>
                <a:gd name="connsiteY0" fmla="*/ 141728 h 149217"/>
                <a:gd name="connsiteX1" fmla="*/ 115946 w 162248"/>
                <a:gd name="connsiteY1" fmla="*/ 77998 h 149217"/>
                <a:gd name="connsiteX2" fmla="*/ 155082 w 162248"/>
                <a:gd name="connsiteY2" fmla="*/ 35402 h 149217"/>
                <a:gd name="connsiteX3" fmla="*/ 154147 w 162248"/>
                <a:gd name="connsiteY3" fmla="*/ 4823 h 149217"/>
                <a:gd name="connsiteX4" fmla="*/ 122866 w 162248"/>
                <a:gd name="connsiteY4" fmla="*/ 12210 h 149217"/>
                <a:gd name="connsiteX5" fmla="*/ 66757 w 162248"/>
                <a:gd name="connsiteY5" fmla="*/ 67010 h 149217"/>
                <a:gd name="connsiteX6" fmla="*/ 7469 w 162248"/>
                <a:gd name="connsiteY6" fmla="*/ 115310 h 149217"/>
                <a:gd name="connsiteX7" fmla="*/ 4290 w 162248"/>
                <a:gd name="connsiteY7" fmla="*/ 142617 h 149217"/>
                <a:gd name="connsiteX8" fmla="*/ 33186 w 162248"/>
                <a:gd name="connsiteY8" fmla="*/ 141728 h 1492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62248" h="149217">
                  <a:moveTo>
                    <a:pt x="33139" y="141728"/>
                  </a:moveTo>
                  <a:cubicBezTo>
                    <a:pt x="56097" y="114422"/>
                    <a:pt x="90697" y="102359"/>
                    <a:pt x="115946" y="77998"/>
                  </a:cubicBezTo>
                  <a:cubicBezTo>
                    <a:pt x="129085" y="63877"/>
                    <a:pt x="142925" y="50364"/>
                    <a:pt x="155082" y="35402"/>
                  </a:cubicBezTo>
                  <a:cubicBezTo>
                    <a:pt x="162750" y="25910"/>
                    <a:pt x="166725" y="13145"/>
                    <a:pt x="154147" y="4823"/>
                  </a:cubicBezTo>
                  <a:cubicBezTo>
                    <a:pt x="142878" y="-2659"/>
                    <a:pt x="131563" y="-2331"/>
                    <a:pt x="122866" y="12210"/>
                  </a:cubicBezTo>
                  <a:cubicBezTo>
                    <a:pt x="109073" y="35121"/>
                    <a:pt x="87751" y="50972"/>
                    <a:pt x="66757" y="67010"/>
                  </a:cubicBezTo>
                  <a:cubicBezTo>
                    <a:pt x="46465" y="82440"/>
                    <a:pt x="24208" y="95438"/>
                    <a:pt x="7469" y="115310"/>
                  </a:cubicBezTo>
                  <a:cubicBezTo>
                    <a:pt x="268" y="123867"/>
                    <a:pt x="-3426" y="133920"/>
                    <a:pt x="4290" y="142617"/>
                  </a:cubicBezTo>
                  <a:cubicBezTo>
                    <a:pt x="12940" y="152342"/>
                    <a:pt x="25611" y="150706"/>
                    <a:pt x="33186" y="141728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19DA4F01-B3EE-923C-363E-A6133E2D2A87}"/>
                </a:ext>
              </a:extLst>
            </p:cNvPr>
            <p:cNvSpPr/>
            <p:nvPr/>
          </p:nvSpPr>
          <p:spPr>
            <a:xfrm flipH="1">
              <a:off x="2409096" y="10057953"/>
              <a:ext cx="193570" cy="57269"/>
            </a:xfrm>
            <a:custGeom>
              <a:avLst/>
              <a:gdLst>
                <a:gd name="connsiteX0" fmla="*/ 172542 w 193570"/>
                <a:gd name="connsiteY0" fmla="*/ 38492 h 57269"/>
                <a:gd name="connsiteX1" fmla="*/ 190964 w 193570"/>
                <a:gd name="connsiteY1" fmla="*/ 26195 h 57269"/>
                <a:gd name="connsiteX2" fmla="*/ 166417 w 193570"/>
                <a:gd name="connsiteY2" fmla="*/ 291 h 57269"/>
                <a:gd name="connsiteX3" fmla="*/ 18757 w 193570"/>
                <a:gd name="connsiteY3" fmla="*/ 17498 h 57269"/>
                <a:gd name="connsiteX4" fmla="*/ 6834 w 193570"/>
                <a:gd name="connsiteY4" fmla="*/ 21286 h 57269"/>
                <a:gd name="connsiteX5" fmla="*/ 1831 w 193570"/>
                <a:gd name="connsiteY5" fmla="*/ 46207 h 57269"/>
                <a:gd name="connsiteX6" fmla="*/ 20487 w 193570"/>
                <a:gd name="connsiteY6" fmla="*/ 57102 h 57269"/>
                <a:gd name="connsiteX7" fmla="*/ 172495 w 193570"/>
                <a:gd name="connsiteY7" fmla="*/ 38446 h 572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93570" h="57269">
                  <a:moveTo>
                    <a:pt x="172542" y="38492"/>
                  </a:moveTo>
                  <a:cubicBezTo>
                    <a:pt x="180444" y="37510"/>
                    <a:pt x="187270" y="34237"/>
                    <a:pt x="190964" y="26195"/>
                  </a:cubicBezTo>
                  <a:cubicBezTo>
                    <a:pt x="198679" y="9456"/>
                    <a:pt x="188907" y="-2000"/>
                    <a:pt x="166417" y="291"/>
                  </a:cubicBezTo>
                  <a:cubicBezTo>
                    <a:pt x="117134" y="5295"/>
                    <a:pt x="67992" y="11560"/>
                    <a:pt x="18757" y="17498"/>
                  </a:cubicBezTo>
                  <a:cubicBezTo>
                    <a:pt x="14315" y="18013"/>
                    <a:pt x="10107" y="20210"/>
                    <a:pt x="6834" y="21286"/>
                  </a:cubicBezTo>
                  <a:cubicBezTo>
                    <a:pt x="241" y="29608"/>
                    <a:pt x="-1910" y="37651"/>
                    <a:pt x="1831" y="46207"/>
                  </a:cubicBezTo>
                  <a:cubicBezTo>
                    <a:pt x="5291" y="54016"/>
                    <a:pt x="11743" y="58177"/>
                    <a:pt x="20487" y="57102"/>
                  </a:cubicBezTo>
                  <a:cubicBezTo>
                    <a:pt x="71172" y="51023"/>
                    <a:pt x="121857" y="44805"/>
                    <a:pt x="172495" y="38446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0195FE1E-760A-7D11-37AC-F8ECAB3770D6}"/>
                </a:ext>
              </a:extLst>
            </p:cNvPr>
            <p:cNvSpPr/>
            <p:nvPr/>
          </p:nvSpPr>
          <p:spPr>
            <a:xfrm flipH="1">
              <a:off x="3942623" y="12622189"/>
              <a:ext cx="853" cy="2665"/>
            </a:xfrm>
            <a:custGeom>
              <a:avLst/>
              <a:gdLst>
                <a:gd name="connsiteX0" fmla="*/ 234 w 853"/>
                <a:gd name="connsiteY0" fmla="*/ 0 h 2665"/>
                <a:gd name="connsiteX1" fmla="*/ 0 w 853"/>
                <a:gd name="connsiteY1" fmla="*/ 2665 h 2665"/>
                <a:gd name="connsiteX2" fmla="*/ 234 w 853"/>
                <a:gd name="connsiteY2" fmla="*/ 0 h 26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53" h="2665">
                  <a:moveTo>
                    <a:pt x="234" y="0"/>
                  </a:moveTo>
                  <a:cubicBezTo>
                    <a:pt x="327" y="795"/>
                    <a:pt x="327" y="1683"/>
                    <a:pt x="0" y="2665"/>
                  </a:cubicBezTo>
                  <a:cubicBezTo>
                    <a:pt x="1216" y="1216"/>
                    <a:pt x="982" y="467"/>
                    <a:pt x="234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D19DB096-F123-FB41-5B8D-A0C0C633EC49}"/>
                </a:ext>
              </a:extLst>
            </p:cNvPr>
            <p:cNvSpPr/>
            <p:nvPr/>
          </p:nvSpPr>
          <p:spPr>
            <a:xfrm flipH="1">
              <a:off x="3924535" y="12583550"/>
              <a:ext cx="60066" cy="136804"/>
            </a:xfrm>
            <a:custGeom>
              <a:avLst/>
              <a:gdLst>
                <a:gd name="connsiteX0" fmla="*/ 25088 w 60066"/>
                <a:gd name="connsiteY0" fmla="*/ 9228 h 136804"/>
                <a:gd name="connsiteX1" fmla="*/ 7554 w 60066"/>
                <a:gd name="connsiteY1" fmla="*/ 251 h 136804"/>
                <a:gd name="connsiteX2" fmla="*/ 72 w 60066"/>
                <a:gd name="connsiteY2" fmla="*/ 13250 h 136804"/>
                <a:gd name="connsiteX3" fmla="*/ 42014 w 60066"/>
                <a:gd name="connsiteY3" fmla="*/ 131218 h 136804"/>
                <a:gd name="connsiteX4" fmla="*/ 56368 w 60066"/>
                <a:gd name="connsiteY4" fmla="*/ 135520 h 136804"/>
                <a:gd name="connsiteX5" fmla="*/ 59828 w 60066"/>
                <a:gd name="connsiteY5" fmla="*/ 125701 h 136804"/>
                <a:gd name="connsiteX6" fmla="*/ 41125 w 60066"/>
                <a:gd name="connsiteY6" fmla="*/ 41257 h 136804"/>
                <a:gd name="connsiteX7" fmla="*/ 22002 w 60066"/>
                <a:gd name="connsiteY7" fmla="*/ 42707 h 136804"/>
                <a:gd name="connsiteX8" fmla="*/ 36543 w 60066"/>
                <a:gd name="connsiteY8" fmla="*/ 31859 h 136804"/>
                <a:gd name="connsiteX9" fmla="*/ 25134 w 60066"/>
                <a:gd name="connsiteY9" fmla="*/ 9182 h 1368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0066" h="136804">
                  <a:moveTo>
                    <a:pt x="25088" y="9228"/>
                  </a:moveTo>
                  <a:cubicBezTo>
                    <a:pt x="21113" y="4599"/>
                    <a:pt x="15128" y="-1292"/>
                    <a:pt x="7554" y="251"/>
                  </a:cubicBezTo>
                  <a:cubicBezTo>
                    <a:pt x="1101" y="1560"/>
                    <a:pt x="213" y="8200"/>
                    <a:pt x="72" y="13250"/>
                  </a:cubicBezTo>
                  <a:cubicBezTo>
                    <a:pt x="-1003" y="57856"/>
                    <a:pt x="9751" y="98488"/>
                    <a:pt x="42014" y="131218"/>
                  </a:cubicBezTo>
                  <a:cubicBezTo>
                    <a:pt x="45567" y="134866"/>
                    <a:pt x="50196" y="138934"/>
                    <a:pt x="56368" y="135520"/>
                  </a:cubicBezTo>
                  <a:cubicBezTo>
                    <a:pt x="60483" y="133276"/>
                    <a:pt x="60296" y="129956"/>
                    <a:pt x="59828" y="125701"/>
                  </a:cubicBezTo>
                  <a:cubicBezTo>
                    <a:pt x="56462" y="96899"/>
                    <a:pt x="51506" y="68470"/>
                    <a:pt x="41125" y="41257"/>
                  </a:cubicBezTo>
                  <a:cubicBezTo>
                    <a:pt x="34673" y="37049"/>
                    <a:pt x="28641" y="43128"/>
                    <a:pt x="22002" y="42707"/>
                  </a:cubicBezTo>
                  <a:cubicBezTo>
                    <a:pt x="24573" y="35272"/>
                    <a:pt x="30558" y="33589"/>
                    <a:pt x="36543" y="31859"/>
                  </a:cubicBezTo>
                  <a:cubicBezTo>
                    <a:pt x="32896" y="24191"/>
                    <a:pt x="30465" y="15401"/>
                    <a:pt x="25134" y="918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E643E0FF-67B0-DBBF-E6CA-47F8076CA44E}"/>
                </a:ext>
              </a:extLst>
            </p:cNvPr>
            <p:cNvSpPr/>
            <p:nvPr/>
          </p:nvSpPr>
          <p:spPr>
            <a:xfrm flipH="1">
              <a:off x="2310168" y="8805336"/>
              <a:ext cx="131973" cy="42499"/>
            </a:xfrm>
            <a:custGeom>
              <a:avLst/>
              <a:gdLst>
                <a:gd name="connsiteX0" fmla="*/ 55548 w 131973"/>
                <a:gd name="connsiteY0" fmla="*/ 12668 h 42499"/>
                <a:gd name="connsiteX1" fmla="*/ 60831 w 131973"/>
                <a:gd name="connsiteY1" fmla="*/ 14398 h 42499"/>
                <a:gd name="connsiteX2" fmla="*/ 59803 w 131973"/>
                <a:gd name="connsiteY2" fmla="*/ 19868 h 42499"/>
                <a:gd name="connsiteX3" fmla="*/ 54239 w 131973"/>
                <a:gd name="connsiteY3" fmla="*/ 17811 h 42499"/>
                <a:gd name="connsiteX4" fmla="*/ 55501 w 131973"/>
                <a:gd name="connsiteY4" fmla="*/ 12715 h 42499"/>
                <a:gd name="connsiteX5" fmla="*/ 95759 w 131973"/>
                <a:gd name="connsiteY5" fmla="*/ 13837 h 42499"/>
                <a:gd name="connsiteX6" fmla="*/ 103942 w 131973"/>
                <a:gd name="connsiteY6" fmla="*/ 13369 h 42499"/>
                <a:gd name="connsiteX7" fmla="*/ 103006 w 131973"/>
                <a:gd name="connsiteY7" fmla="*/ 21131 h 42499"/>
                <a:gd name="connsiteX8" fmla="*/ 97022 w 131973"/>
                <a:gd name="connsiteY8" fmla="*/ 21645 h 42499"/>
                <a:gd name="connsiteX9" fmla="*/ 95759 w 131973"/>
                <a:gd name="connsiteY9" fmla="*/ 13790 h 42499"/>
                <a:gd name="connsiteX10" fmla="*/ 25904 w 131973"/>
                <a:gd name="connsiteY10" fmla="*/ 18980 h 42499"/>
                <a:gd name="connsiteX11" fmla="*/ 37312 w 131973"/>
                <a:gd name="connsiteY11" fmla="*/ 16642 h 42499"/>
                <a:gd name="connsiteX12" fmla="*/ 49235 w 131973"/>
                <a:gd name="connsiteY12" fmla="*/ 42499 h 42499"/>
                <a:gd name="connsiteX13" fmla="*/ 125029 w 131973"/>
                <a:gd name="connsiteY13" fmla="*/ 39600 h 42499"/>
                <a:gd name="connsiteX14" fmla="*/ 125029 w 131973"/>
                <a:gd name="connsiteY14" fmla="*/ 32353 h 42499"/>
                <a:gd name="connsiteX15" fmla="*/ 111002 w 131973"/>
                <a:gd name="connsiteY15" fmla="*/ 22066 h 42499"/>
                <a:gd name="connsiteX16" fmla="*/ 129658 w 131973"/>
                <a:gd name="connsiteY16" fmla="*/ 18279 h 42499"/>
                <a:gd name="connsiteX17" fmla="*/ 131949 w 131973"/>
                <a:gd name="connsiteY17" fmla="*/ 18279 h 42499"/>
                <a:gd name="connsiteX18" fmla="*/ 125450 w 131973"/>
                <a:gd name="connsiteY18" fmla="*/ 6496 h 42499"/>
                <a:gd name="connsiteX19" fmla="*/ 54846 w 131973"/>
                <a:gd name="connsiteY19" fmla="*/ 277 h 42499"/>
                <a:gd name="connsiteX20" fmla="*/ 0 w 131973"/>
                <a:gd name="connsiteY20" fmla="*/ 18372 h 42499"/>
                <a:gd name="connsiteX21" fmla="*/ 9866 w 131973"/>
                <a:gd name="connsiteY21" fmla="*/ 21786 h 42499"/>
                <a:gd name="connsiteX22" fmla="*/ 25950 w 131973"/>
                <a:gd name="connsiteY22" fmla="*/ 19027 h 424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131973" h="42499">
                  <a:moveTo>
                    <a:pt x="55548" y="12668"/>
                  </a:moveTo>
                  <a:cubicBezTo>
                    <a:pt x="57512" y="13322"/>
                    <a:pt x="59429" y="13930"/>
                    <a:pt x="60831" y="14398"/>
                  </a:cubicBezTo>
                  <a:cubicBezTo>
                    <a:pt x="62374" y="17157"/>
                    <a:pt x="62608" y="19494"/>
                    <a:pt x="59803" y="19868"/>
                  </a:cubicBezTo>
                  <a:cubicBezTo>
                    <a:pt x="57979" y="20102"/>
                    <a:pt x="55454" y="19120"/>
                    <a:pt x="54239" y="17811"/>
                  </a:cubicBezTo>
                  <a:cubicBezTo>
                    <a:pt x="53584" y="17063"/>
                    <a:pt x="54987" y="14491"/>
                    <a:pt x="55501" y="12715"/>
                  </a:cubicBezTo>
                  <a:moveTo>
                    <a:pt x="95759" y="13837"/>
                  </a:moveTo>
                  <a:cubicBezTo>
                    <a:pt x="98003" y="11218"/>
                    <a:pt x="101136" y="11686"/>
                    <a:pt x="103942" y="13369"/>
                  </a:cubicBezTo>
                  <a:cubicBezTo>
                    <a:pt x="106280" y="16315"/>
                    <a:pt x="105672" y="19261"/>
                    <a:pt x="103006" y="21131"/>
                  </a:cubicBezTo>
                  <a:cubicBezTo>
                    <a:pt x="101510" y="22160"/>
                    <a:pt x="98378" y="22534"/>
                    <a:pt x="97022" y="21645"/>
                  </a:cubicBezTo>
                  <a:cubicBezTo>
                    <a:pt x="94216" y="19868"/>
                    <a:pt x="93515" y="16455"/>
                    <a:pt x="95759" y="13790"/>
                  </a:cubicBezTo>
                  <a:moveTo>
                    <a:pt x="25904" y="18980"/>
                  </a:moveTo>
                  <a:cubicBezTo>
                    <a:pt x="30112" y="17718"/>
                    <a:pt x="40866" y="11405"/>
                    <a:pt x="37312" y="16642"/>
                  </a:cubicBezTo>
                  <a:cubicBezTo>
                    <a:pt x="24548" y="35672"/>
                    <a:pt x="47459" y="33475"/>
                    <a:pt x="49235" y="42499"/>
                  </a:cubicBezTo>
                  <a:cubicBezTo>
                    <a:pt x="74485" y="41517"/>
                    <a:pt x="99780" y="40535"/>
                    <a:pt x="125029" y="39600"/>
                  </a:cubicBezTo>
                  <a:cubicBezTo>
                    <a:pt x="125029" y="37169"/>
                    <a:pt x="125029" y="34737"/>
                    <a:pt x="125029" y="32353"/>
                  </a:cubicBezTo>
                  <a:cubicBezTo>
                    <a:pt x="124001" y="25339"/>
                    <a:pt x="119325" y="21832"/>
                    <a:pt x="111002" y="22066"/>
                  </a:cubicBezTo>
                  <a:cubicBezTo>
                    <a:pt x="118296" y="13463"/>
                    <a:pt x="124047" y="14024"/>
                    <a:pt x="129658" y="18279"/>
                  </a:cubicBezTo>
                  <a:cubicBezTo>
                    <a:pt x="130266" y="18185"/>
                    <a:pt x="131155" y="18279"/>
                    <a:pt x="131949" y="18279"/>
                  </a:cubicBezTo>
                  <a:cubicBezTo>
                    <a:pt x="132323" y="13135"/>
                    <a:pt x="128349" y="10049"/>
                    <a:pt x="125450" y="6496"/>
                  </a:cubicBezTo>
                  <a:cubicBezTo>
                    <a:pt x="102025" y="3083"/>
                    <a:pt x="78693" y="-1126"/>
                    <a:pt x="54846" y="277"/>
                  </a:cubicBezTo>
                  <a:cubicBezTo>
                    <a:pt x="35021" y="1399"/>
                    <a:pt x="14355" y="324"/>
                    <a:pt x="0" y="18372"/>
                  </a:cubicBezTo>
                  <a:cubicBezTo>
                    <a:pt x="3273" y="19494"/>
                    <a:pt x="6546" y="20663"/>
                    <a:pt x="9866" y="21786"/>
                  </a:cubicBezTo>
                  <a:cubicBezTo>
                    <a:pt x="14495" y="16689"/>
                    <a:pt x="19919" y="16034"/>
                    <a:pt x="25950" y="19027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4D3FDF28-69DB-CEEA-0AAF-B493AC67B769}"/>
                </a:ext>
              </a:extLst>
            </p:cNvPr>
            <p:cNvSpPr/>
            <p:nvPr/>
          </p:nvSpPr>
          <p:spPr>
            <a:xfrm flipH="1">
              <a:off x="4156970" y="12301620"/>
              <a:ext cx="94450" cy="51849"/>
            </a:xfrm>
            <a:custGeom>
              <a:avLst/>
              <a:gdLst>
                <a:gd name="connsiteX0" fmla="*/ 54519 w 94450"/>
                <a:gd name="connsiteY0" fmla="*/ 35910 h 51849"/>
                <a:gd name="connsiteX1" fmla="*/ 31982 w 94450"/>
                <a:gd name="connsiteY1" fmla="*/ 37500 h 51849"/>
                <a:gd name="connsiteX2" fmla="*/ 54519 w 94450"/>
                <a:gd name="connsiteY2" fmla="*/ 35910 h 51849"/>
                <a:gd name="connsiteX3" fmla="*/ 94450 w 94450"/>
                <a:gd name="connsiteY3" fmla="*/ 43672 h 51849"/>
                <a:gd name="connsiteX4" fmla="*/ 73643 w 94450"/>
                <a:gd name="connsiteY4" fmla="*/ 31000 h 51849"/>
                <a:gd name="connsiteX5" fmla="*/ 74485 w 94450"/>
                <a:gd name="connsiteY5" fmla="*/ 15570 h 51849"/>
                <a:gd name="connsiteX6" fmla="*/ 74485 w 94450"/>
                <a:gd name="connsiteY6" fmla="*/ 15570 h 51849"/>
                <a:gd name="connsiteX7" fmla="*/ 12297 w 94450"/>
                <a:gd name="connsiteY7" fmla="*/ 0 h 51849"/>
                <a:gd name="connsiteX8" fmla="*/ 0 w 94450"/>
                <a:gd name="connsiteY8" fmla="*/ 25857 h 51849"/>
                <a:gd name="connsiteX9" fmla="*/ 0 w 94450"/>
                <a:gd name="connsiteY9" fmla="*/ 25857 h 51849"/>
                <a:gd name="connsiteX10" fmla="*/ 94450 w 94450"/>
                <a:gd name="connsiteY10" fmla="*/ 43672 h 51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4450" h="51849">
                  <a:moveTo>
                    <a:pt x="54519" y="35910"/>
                  </a:moveTo>
                  <a:cubicBezTo>
                    <a:pt x="44794" y="40866"/>
                    <a:pt x="38949" y="40492"/>
                    <a:pt x="31982" y="37500"/>
                  </a:cubicBezTo>
                  <a:cubicBezTo>
                    <a:pt x="38481" y="31561"/>
                    <a:pt x="44279" y="30673"/>
                    <a:pt x="54519" y="35910"/>
                  </a:cubicBezTo>
                  <a:moveTo>
                    <a:pt x="94450" y="43672"/>
                  </a:moveTo>
                  <a:cubicBezTo>
                    <a:pt x="86080" y="41661"/>
                    <a:pt x="80750" y="34460"/>
                    <a:pt x="73643" y="31000"/>
                  </a:cubicBezTo>
                  <a:cubicBezTo>
                    <a:pt x="59335" y="24033"/>
                    <a:pt x="73269" y="20527"/>
                    <a:pt x="74485" y="15570"/>
                  </a:cubicBezTo>
                  <a:lnTo>
                    <a:pt x="74485" y="15570"/>
                  </a:lnTo>
                  <a:cubicBezTo>
                    <a:pt x="57325" y="-3787"/>
                    <a:pt x="33665" y="2665"/>
                    <a:pt x="12297" y="0"/>
                  </a:cubicBezTo>
                  <a:cubicBezTo>
                    <a:pt x="8229" y="8650"/>
                    <a:pt x="4115" y="17254"/>
                    <a:pt x="0" y="25857"/>
                  </a:cubicBezTo>
                  <a:lnTo>
                    <a:pt x="0" y="25857"/>
                  </a:lnTo>
                  <a:cubicBezTo>
                    <a:pt x="18469" y="50872"/>
                    <a:pt x="66536" y="59943"/>
                    <a:pt x="94450" y="4367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2EE0ACEA-2BAF-728F-B9E4-CACDCCB39D55}"/>
                </a:ext>
              </a:extLst>
            </p:cNvPr>
            <p:cNvSpPr/>
            <p:nvPr/>
          </p:nvSpPr>
          <p:spPr>
            <a:xfrm flipH="1">
              <a:off x="3969231" y="12099908"/>
              <a:ext cx="46342" cy="86703"/>
            </a:xfrm>
            <a:custGeom>
              <a:avLst/>
              <a:gdLst>
                <a:gd name="connsiteX0" fmla="*/ 35299 w 46342"/>
                <a:gd name="connsiteY0" fmla="*/ 78973 h 86703"/>
                <a:gd name="connsiteX1" fmla="*/ 43435 w 46342"/>
                <a:gd name="connsiteY1" fmla="*/ 26979 h 86703"/>
                <a:gd name="connsiteX2" fmla="*/ 43342 w 46342"/>
                <a:gd name="connsiteY2" fmla="*/ 26979 h 86703"/>
                <a:gd name="connsiteX3" fmla="*/ 15755 w 46342"/>
                <a:gd name="connsiteY3" fmla="*/ 36424 h 86703"/>
                <a:gd name="connsiteX4" fmla="*/ 43295 w 46342"/>
                <a:gd name="connsiteY4" fmla="*/ 26886 h 86703"/>
                <a:gd name="connsiteX5" fmla="*/ 43388 w 46342"/>
                <a:gd name="connsiteY5" fmla="*/ 26886 h 86703"/>
                <a:gd name="connsiteX6" fmla="*/ 43529 w 46342"/>
                <a:gd name="connsiteY6" fmla="*/ 26979 h 86703"/>
                <a:gd name="connsiteX7" fmla="*/ 43388 w 46342"/>
                <a:gd name="connsiteY7" fmla="*/ 26932 h 86703"/>
                <a:gd name="connsiteX8" fmla="*/ 43388 w 46342"/>
                <a:gd name="connsiteY8" fmla="*/ 26979 h 86703"/>
                <a:gd name="connsiteX9" fmla="*/ 43482 w 46342"/>
                <a:gd name="connsiteY9" fmla="*/ 26979 h 86703"/>
                <a:gd name="connsiteX10" fmla="*/ 40536 w 46342"/>
                <a:gd name="connsiteY10" fmla="*/ 3881 h 86703"/>
                <a:gd name="connsiteX11" fmla="*/ 22815 w 46342"/>
                <a:gd name="connsiteY11" fmla="*/ 0 h 86703"/>
                <a:gd name="connsiteX12" fmla="*/ 5842 w 46342"/>
                <a:gd name="connsiteY12" fmla="*/ 3460 h 86703"/>
                <a:gd name="connsiteX13" fmla="*/ 4253 w 46342"/>
                <a:gd name="connsiteY13" fmla="*/ 5050 h 86703"/>
                <a:gd name="connsiteX14" fmla="*/ 2569 w 46342"/>
                <a:gd name="connsiteY14" fmla="*/ 6546 h 86703"/>
                <a:gd name="connsiteX15" fmla="*/ 19823 w 46342"/>
                <a:gd name="connsiteY15" fmla="*/ 82013 h 86703"/>
                <a:gd name="connsiteX16" fmla="*/ 35206 w 46342"/>
                <a:gd name="connsiteY16" fmla="*/ 79020 h 867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46342" h="86703">
                  <a:moveTo>
                    <a:pt x="35299" y="78973"/>
                  </a:moveTo>
                  <a:cubicBezTo>
                    <a:pt x="37497" y="61533"/>
                    <a:pt x="50496" y="45682"/>
                    <a:pt x="43435" y="26979"/>
                  </a:cubicBezTo>
                  <a:lnTo>
                    <a:pt x="43342" y="26979"/>
                  </a:lnTo>
                  <a:cubicBezTo>
                    <a:pt x="37029" y="39463"/>
                    <a:pt x="22348" y="24875"/>
                    <a:pt x="15755" y="36424"/>
                  </a:cubicBezTo>
                  <a:cubicBezTo>
                    <a:pt x="21833" y="22958"/>
                    <a:pt x="31278" y="20807"/>
                    <a:pt x="43295" y="26886"/>
                  </a:cubicBezTo>
                  <a:cubicBezTo>
                    <a:pt x="43295" y="26886"/>
                    <a:pt x="43342" y="26886"/>
                    <a:pt x="43388" y="26886"/>
                  </a:cubicBezTo>
                  <a:lnTo>
                    <a:pt x="43529" y="26979"/>
                  </a:lnTo>
                  <a:cubicBezTo>
                    <a:pt x="43529" y="26979"/>
                    <a:pt x="43482" y="26979"/>
                    <a:pt x="43388" y="26932"/>
                  </a:cubicBezTo>
                  <a:cubicBezTo>
                    <a:pt x="43388" y="26932"/>
                    <a:pt x="43388" y="26946"/>
                    <a:pt x="43388" y="26979"/>
                  </a:cubicBezTo>
                  <a:lnTo>
                    <a:pt x="43482" y="26979"/>
                  </a:lnTo>
                  <a:cubicBezTo>
                    <a:pt x="50309" y="18282"/>
                    <a:pt x="43108" y="11409"/>
                    <a:pt x="40536" y="3881"/>
                  </a:cubicBezTo>
                  <a:cubicBezTo>
                    <a:pt x="34645" y="2572"/>
                    <a:pt x="28707" y="1263"/>
                    <a:pt x="22815" y="0"/>
                  </a:cubicBezTo>
                  <a:cubicBezTo>
                    <a:pt x="17952" y="5097"/>
                    <a:pt x="12856" y="9071"/>
                    <a:pt x="5842" y="3460"/>
                  </a:cubicBezTo>
                  <a:lnTo>
                    <a:pt x="4253" y="5050"/>
                  </a:lnTo>
                  <a:lnTo>
                    <a:pt x="2569" y="6546"/>
                  </a:lnTo>
                  <a:cubicBezTo>
                    <a:pt x="-7390" y="35115"/>
                    <a:pt x="14446" y="56764"/>
                    <a:pt x="19823" y="82013"/>
                  </a:cubicBezTo>
                  <a:cubicBezTo>
                    <a:pt x="21880" y="91691"/>
                    <a:pt x="34551" y="84210"/>
                    <a:pt x="35206" y="7902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A347D30E-4BE5-D67B-F56E-CD54C65D3088}"/>
                </a:ext>
              </a:extLst>
            </p:cNvPr>
            <p:cNvSpPr/>
            <p:nvPr/>
          </p:nvSpPr>
          <p:spPr>
            <a:xfrm flipH="1">
              <a:off x="3972185" y="12126794"/>
              <a:ext cx="93" cy="4675"/>
            </a:xfrm>
            <a:custGeom>
              <a:avLst/>
              <a:gdLst>
                <a:gd name="connsiteX0" fmla="*/ 93 w 93"/>
                <a:gd name="connsiteY0" fmla="*/ 0 h 4675"/>
                <a:gd name="connsiteX1" fmla="*/ 0 w 93"/>
                <a:gd name="connsiteY1" fmla="*/ 0 h 4675"/>
                <a:gd name="connsiteX2" fmla="*/ 47 w 93"/>
                <a:gd name="connsiteY2" fmla="*/ 0 h 4675"/>
                <a:gd name="connsiteX3" fmla="*/ 47 w 93"/>
                <a:gd name="connsiteY3" fmla="*/ 0 h 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" h="4675">
                  <a:moveTo>
                    <a:pt x="93" y="0"/>
                  </a:moveTo>
                  <a:cubicBezTo>
                    <a:pt x="93" y="0"/>
                    <a:pt x="47" y="0"/>
                    <a:pt x="0" y="0"/>
                  </a:cubicBezTo>
                  <a:lnTo>
                    <a:pt x="47" y="0"/>
                  </a:lnTo>
                  <a:cubicBezTo>
                    <a:pt x="47" y="0"/>
                    <a:pt x="47" y="0"/>
                    <a:pt x="47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EF1D77CB-EF44-B425-829A-C4E6E6903632}"/>
                </a:ext>
              </a:extLst>
            </p:cNvPr>
            <p:cNvSpPr/>
            <p:nvPr/>
          </p:nvSpPr>
          <p:spPr>
            <a:xfrm flipH="1">
              <a:off x="3972185" y="12126794"/>
              <a:ext cx="93" cy="93"/>
            </a:xfrm>
            <a:custGeom>
              <a:avLst/>
              <a:gdLst>
                <a:gd name="connsiteX0" fmla="*/ 47 w 93"/>
                <a:gd name="connsiteY0" fmla="*/ 0 h 93"/>
                <a:gd name="connsiteX1" fmla="*/ 0 w 93"/>
                <a:gd name="connsiteY1" fmla="*/ 94 h 93"/>
                <a:gd name="connsiteX2" fmla="*/ 93 w 93"/>
                <a:gd name="connsiteY2" fmla="*/ 94 h 93"/>
                <a:gd name="connsiteX3" fmla="*/ 93 w 93"/>
                <a:gd name="connsiteY3" fmla="*/ 94 h 93"/>
                <a:gd name="connsiteX4" fmla="*/ 93 w 93"/>
                <a:gd name="connsiteY4" fmla="*/ 94 h 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3" h="93">
                  <a:moveTo>
                    <a:pt x="47" y="0"/>
                  </a:moveTo>
                  <a:cubicBezTo>
                    <a:pt x="47" y="0"/>
                    <a:pt x="0" y="0"/>
                    <a:pt x="0" y="94"/>
                  </a:cubicBezTo>
                  <a:cubicBezTo>
                    <a:pt x="0" y="94"/>
                    <a:pt x="93" y="94"/>
                    <a:pt x="93" y="94"/>
                  </a:cubicBezTo>
                  <a:cubicBezTo>
                    <a:pt x="93" y="94"/>
                    <a:pt x="93" y="94"/>
                    <a:pt x="93" y="94"/>
                  </a:cubicBezTo>
                  <a:cubicBezTo>
                    <a:pt x="93" y="94"/>
                    <a:pt x="93" y="94"/>
                    <a:pt x="93" y="94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17258DC-909E-237A-14EB-8D6F898C4691}"/>
                </a:ext>
              </a:extLst>
            </p:cNvPr>
            <p:cNvSpPr/>
            <p:nvPr/>
          </p:nvSpPr>
          <p:spPr>
            <a:xfrm flipH="1">
              <a:off x="2157304" y="8596362"/>
              <a:ext cx="47631" cy="101736"/>
            </a:xfrm>
            <a:custGeom>
              <a:avLst/>
              <a:gdLst>
                <a:gd name="connsiteX0" fmla="*/ 26366 w 47631"/>
                <a:gd name="connsiteY0" fmla="*/ 39148 h 101736"/>
                <a:gd name="connsiteX1" fmla="*/ 32350 w 47631"/>
                <a:gd name="connsiteY1" fmla="*/ 52895 h 101736"/>
                <a:gd name="connsiteX2" fmla="*/ 27207 w 47631"/>
                <a:gd name="connsiteY2" fmla="*/ 54344 h 101736"/>
                <a:gd name="connsiteX3" fmla="*/ 26366 w 47631"/>
                <a:gd name="connsiteY3" fmla="*/ 39148 h 101736"/>
                <a:gd name="connsiteX4" fmla="*/ 42123 w 47631"/>
                <a:gd name="connsiteY4" fmla="*/ 101476 h 101736"/>
                <a:gd name="connsiteX5" fmla="*/ 47313 w 47631"/>
                <a:gd name="connsiteY5" fmla="*/ 87869 h 101736"/>
                <a:gd name="connsiteX6" fmla="*/ 15845 w 47631"/>
                <a:gd name="connsiteY6" fmla="*/ 7025 h 101736"/>
                <a:gd name="connsiteX7" fmla="*/ 4296 w 47631"/>
                <a:gd name="connsiteY7" fmla="*/ 386 h 101736"/>
                <a:gd name="connsiteX8" fmla="*/ 322 w 47631"/>
                <a:gd name="connsiteY8" fmla="*/ 9831 h 101736"/>
                <a:gd name="connsiteX9" fmla="*/ 29124 w 47631"/>
                <a:gd name="connsiteY9" fmla="*/ 93620 h 101736"/>
                <a:gd name="connsiteX10" fmla="*/ 42170 w 47631"/>
                <a:gd name="connsiteY10" fmla="*/ 101476 h 1017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7631" h="101736">
                  <a:moveTo>
                    <a:pt x="26366" y="39148"/>
                  </a:moveTo>
                  <a:cubicBezTo>
                    <a:pt x="33987" y="42795"/>
                    <a:pt x="34268" y="47704"/>
                    <a:pt x="32350" y="52895"/>
                  </a:cubicBezTo>
                  <a:cubicBezTo>
                    <a:pt x="31976" y="53923"/>
                    <a:pt x="27909" y="55045"/>
                    <a:pt x="27207" y="54344"/>
                  </a:cubicBezTo>
                  <a:cubicBezTo>
                    <a:pt x="22859" y="50229"/>
                    <a:pt x="23747" y="45273"/>
                    <a:pt x="26366" y="39148"/>
                  </a:cubicBezTo>
                  <a:moveTo>
                    <a:pt x="42123" y="101476"/>
                  </a:moveTo>
                  <a:cubicBezTo>
                    <a:pt x="49230" y="99699"/>
                    <a:pt x="47500" y="92919"/>
                    <a:pt x="47313" y="87869"/>
                  </a:cubicBezTo>
                  <a:cubicBezTo>
                    <a:pt x="46331" y="58692"/>
                    <a:pt x="39925" y="31386"/>
                    <a:pt x="15845" y="7025"/>
                  </a:cubicBezTo>
                  <a:cubicBezTo>
                    <a:pt x="14396" y="5716"/>
                    <a:pt x="12151" y="-1765"/>
                    <a:pt x="4296" y="386"/>
                  </a:cubicBezTo>
                  <a:cubicBezTo>
                    <a:pt x="-286" y="1648"/>
                    <a:pt x="-380" y="5903"/>
                    <a:pt x="322" y="9831"/>
                  </a:cubicBezTo>
                  <a:cubicBezTo>
                    <a:pt x="5605" y="39241"/>
                    <a:pt x="9954" y="69026"/>
                    <a:pt x="29124" y="93620"/>
                  </a:cubicBezTo>
                  <a:cubicBezTo>
                    <a:pt x="32350" y="97735"/>
                    <a:pt x="36138" y="102972"/>
                    <a:pt x="42170" y="101476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E7F8F125-D211-BF9C-3C77-61EB920F7071}"/>
                </a:ext>
              </a:extLst>
            </p:cNvPr>
            <p:cNvSpPr/>
            <p:nvPr/>
          </p:nvSpPr>
          <p:spPr>
            <a:xfrm flipH="1">
              <a:off x="1947074" y="8872642"/>
              <a:ext cx="67656" cy="38264"/>
            </a:xfrm>
            <a:custGeom>
              <a:avLst/>
              <a:gdLst>
                <a:gd name="connsiteX0" fmla="*/ 67656 w 67656"/>
                <a:gd name="connsiteY0" fmla="*/ 15965 h 38264"/>
                <a:gd name="connsiteX1" fmla="*/ 67656 w 67656"/>
                <a:gd name="connsiteY1" fmla="*/ 15965 h 38264"/>
                <a:gd name="connsiteX2" fmla="*/ 4113 w 67656"/>
                <a:gd name="connsiteY2" fmla="*/ 2172 h 38264"/>
                <a:gd name="connsiteX3" fmla="*/ 2243 w 67656"/>
                <a:gd name="connsiteY3" fmla="*/ 12973 h 38264"/>
                <a:gd name="connsiteX4" fmla="*/ 56949 w 67656"/>
                <a:gd name="connsiteY4" fmla="*/ 38129 h 38264"/>
                <a:gd name="connsiteX5" fmla="*/ 67609 w 67656"/>
                <a:gd name="connsiteY5" fmla="*/ 15965 h 382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67656" h="38264">
                  <a:moveTo>
                    <a:pt x="67656" y="15965"/>
                  </a:moveTo>
                  <a:lnTo>
                    <a:pt x="67656" y="15965"/>
                  </a:lnTo>
                  <a:cubicBezTo>
                    <a:pt x="57556" y="4323"/>
                    <a:pt x="16971" y="-4187"/>
                    <a:pt x="4113" y="2172"/>
                  </a:cubicBezTo>
                  <a:cubicBezTo>
                    <a:pt x="-2293" y="5352"/>
                    <a:pt x="185" y="8344"/>
                    <a:pt x="2243" y="12973"/>
                  </a:cubicBezTo>
                  <a:cubicBezTo>
                    <a:pt x="13137" y="37708"/>
                    <a:pt x="34599" y="38830"/>
                    <a:pt x="56949" y="38129"/>
                  </a:cubicBezTo>
                  <a:cubicBezTo>
                    <a:pt x="65833" y="33312"/>
                    <a:pt x="63121" y="22932"/>
                    <a:pt x="67609" y="15965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4139E678-5469-9D41-F1CE-92487E8D3E32}"/>
                </a:ext>
              </a:extLst>
            </p:cNvPr>
            <p:cNvSpPr/>
            <p:nvPr/>
          </p:nvSpPr>
          <p:spPr>
            <a:xfrm flipH="1">
              <a:off x="2122053" y="9008774"/>
              <a:ext cx="34494" cy="92580"/>
            </a:xfrm>
            <a:custGeom>
              <a:avLst/>
              <a:gdLst>
                <a:gd name="connsiteX0" fmla="*/ 12204 w 34494"/>
                <a:gd name="connsiteY0" fmla="*/ 0 h 92580"/>
                <a:gd name="connsiteX1" fmla="*/ 0 w 34494"/>
                <a:gd name="connsiteY1" fmla="*/ 35629 h 92580"/>
                <a:gd name="connsiteX2" fmla="*/ 13700 w 34494"/>
                <a:gd name="connsiteY2" fmla="*/ 44186 h 92580"/>
                <a:gd name="connsiteX3" fmla="*/ 1075 w 34494"/>
                <a:gd name="connsiteY3" fmla="*/ 49376 h 92580"/>
                <a:gd name="connsiteX4" fmla="*/ 15664 w 34494"/>
                <a:gd name="connsiteY4" fmla="*/ 82433 h 92580"/>
                <a:gd name="connsiteX5" fmla="*/ 29270 w 34494"/>
                <a:gd name="connsiteY5" fmla="*/ 91925 h 92580"/>
                <a:gd name="connsiteX6" fmla="*/ 34133 w 34494"/>
                <a:gd name="connsiteY6" fmla="*/ 75607 h 92580"/>
                <a:gd name="connsiteX7" fmla="*/ 32683 w 34494"/>
                <a:gd name="connsiteY7" fmla="*/ 66583 h 92580"/>
                <a:gd name="connsiteX8" fmla="*/ 17955 w 34494"/>
                <a:gd name="connsiteY8" fmla="*/ 62094 h 92580"/>
                <a:gd name="connsiteX9" fmla="*/ 33992 w 34494"/>
                <a:gd name="connsiteY9" fmla="*/ 49843 h 92580"/>
                <a:gd name="connsiteX10" fmla="*/ 27493 w 34494"/>
                <a:gd name="connsiteY10" fmla="*/ 29410 h 92580"/>
                <a:gd name="connsiteX11" fmla="*/ 12157 w 34494"/>
                <a:gd name="connsiteY11" fmla="*/ 47 h 925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4494" h="92580">
                  <a:moveTo>
                    <a:pt x="12204" y="0"/>
                  </a:moveTo>
                  <a:cubicBezTo>
                    <a:pt x="-2478" y="8229"/>
                    <a:pt x="5657" y="24267"/>
                    <a:pt x="0" y="35629"/>
                  </a:cubicBezTo>
                  <a:cubicBezTo>
                    <a:pt x="4863" y="38341"/>
                    <a:pt x="13793" y="37266"/>
                    <a:pt x="13700" y="44186"/>
                  </a:cubicBezTo>
                  <a:cubicBezTo>
                    <a:pt x="13606" y="50264"/>
                    <a:pt x="4956" y="46383"/>
                    <a:pt x="1075" y="49376"/>
                  </a:cubicBezTo>
                  <a:cubicBezTo>
                    <a:pt x="842" y="62608"/>
                    <a:pt x="9258" y="72193"/>
                    <a:pt x="15664" y="82433"/>
                  </a:cubicBezTo>
                  <a:cubicBezTo>
                    <a:pt x="18656" y="87203"/>
                    <a:pt x="21976" y="94871"/>
                    <a:pt x="29270" y="91925"/>
                  </a:cubicBezTo>
                  <a:cubicBezTo>
                    <a:pt x="35910" y="89260"/>
                    <a:pt x="34460" y="81639"/>
                    <a:pt x="34133" y="75607"/>
                  </a:cubicBezTo>
                  <a:cubicBezTo>
                    <a:pt x="33946" y="72568"/>
                    <a:pt x="33198" y="69575"/>
                    <a:pt x="32683" y="66583"/>
                  </a:cubicBezTo>
                  <a:cubicBezTo>
                    <a:pt x="28241" y="63356"/>
                    <a:pt x="18563" y="75794"/>
                    <a:pt x="17955" y="62094"/>
                  </a:cubicBezTo>
                  <a:cubicBezTo>
                    <a:pt x="17487" y="51340"/>
                    <a:pt x="24267" y="48254"/>
                    <a:pt x="33992" y="49843"/>
                  </a:cubicBezTo>
                  <a:cubicBezTo>
                    <a:pt x="36330" y="41567"/>
                    <a:pt x="27026" y="37079"/>
                    <a:pt x="27493" y="29410"/>
                  </a:cubicBezTo>
                  <a:cubicBezTo>
                    <a:pt x="14495" y="23706"/>
                    <a:pt x="14728" y="11175"/>
                    <a:pt x="12157" y="47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DF33496B-2D51-3742-52C1-2574869DB010}"/>
                </a:ext>
              </a:extLst>
            </p:cNvPr>
            <p:cNvSpPr/>
            <p:nvPr/>
          </p:nvSpPr>
          <p:spPr>
            <a:xfrm flipH="1">
              <a:off x="3974990" y="12059828"/>
              <a:ext cx="38481" cy="46626"/>
            </a:xfrm>
            <a:custGeom>
              <a:avLst/>
              <a:gdLst>
                <a:gd name="connsiteX0" fmla="*/ 3600 w 38481"/>
                <a:gd name="connsiteY0" fmla="*/ 41623 h 46626"/>
                <a:gd name="connsiteX1" fmla="*/ 7621 w 38481"/>
                <a:gd name="connsiteY1" fmla="*/ 40548 h 46626"/>
                <a:gd name="connsiteX2" fmla="*/ 18703 w 38481"/>
                <a:gd name="connsiteY2" fmla="*/ 37041 h 46626"/>
                <a:gd name="connsiteX3" fmla="*/ 21649 w 38481"/>
                <a:gd name="connsiteY3" fmla="*/ 36012 h 46626"/>
                <a:gd name="connsiteX4" fmla="*/ 38481 w 38481"/>
                <a:gd name="connsiteY4" fmla="*/ 43961 h 46626"/>
                <a:gd name="connsiteX5" fmla="*/ 17300 w 38481"/>
                <a:gd name="connsiteY5" fmla="*/ 6415 h 46626"/>
                <a:gd name="connsiteX6" fmla="*/ 6406 w 38481"/>
                <a:gd name="connsiteY6" fmla="*/ 991 h 46626"/>
                <a:gd name="connsiteX7" fmla="*/ 0 w 38481"/>
                <a:gd name="connsiteY7" fmla="*/ 12306 h 46626"/>
                <a:gd name="connsiteX8" fmla="*/ 467 w 38481"/>
                <a:gd name="connsiteY8" fmla="*/ 46627 h 46626"/>
                <a:gd name="connsiteX9" fmla="*/ 3553 w 38481"/>
                <a:gd name="connsiteY9" fmla="*/ 41670 h 46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8481" h="46626">
                  <a:moveTo>
                    <a:pt x="3600" y="41623"/>
                  </a:moveTo>
                  <a:cubicBezTo>
                    <a:pt x="4956" y="41390"/>
                    <a:pt x="6265" y="40922"/>
                    <a:pt x="7621" y="40548"/>
                  </a:cubicBezTo>
                  <a:cubicBezTo>
                    <a:pt x="10661" y="36106"/>
                    <a:pt x="13232" y="29560"/>
                    <a:pt x="18703" y="37041"/>
                  </a:cubicBezTo>
                  <a:cubicBezTo>
                    <a:pt x="19685" y="36714"/>
                    <a:pt x="20667" y="36340"/>
                    <a:pt x="21649" y="36012"/>
                  </a:cubicBezTo>
                  <a:cubicBezTo>
                    <a:pt x="28849" y="35311"/>
                    <a:pt x="34787" y="37181"/>
                    <a:pt x="38481" y="43961"/>
                  </a:cubicBezTo>
                  <a:cubicBezTo>
                    <a:pt x="37920" y="27830"/>
                    <a:pt x="25904" y="18011"/>
                    <a:pt x="17300" y="6415"/>
                  </a:cubicBezTo>
                  <a:cubicBezTo>
                    <a:pt x="15149" y="3516"/>
                    <a:pt x="12952" y="-2329"/>
                    <a:pt x="6406" y="991"/>
                  </a:cubicBezTo>
                  <a:cubicBezTo>
                    <a:pt x="1403" y="3516"/>
                    <a:pt x="0" y="7537"/>
                    <a:pt x="0" y="12306"/>
                  </a:cubicBezTo>
                  <a:cubicBezTo>
                    <a:pt x="0" y="23715"/>
                    <a:pt x="281" y="35171"/>
                    <a:pt x="467" y="46627"/>
                  </a:cubicBezTo>
                  <a:cubicBezTo>
                    <a:pt x="608" y="44382"/>
                    <a:pt x="1683" y="42792"/>
                    <a:pt x="3553" y="4167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B5D75B2A-DE4E-2005-BAEE-FB3E946DF25B}"/>
                </a:ext>
              </a:extLst>
            </p:cNvPr>
            <p:cNvSpPr/>
            <p:nvPr/>
          </p:nvSpPr>
          <p:spPr>
            <a:xfrm flipH="1">
              <a:off x="4005850" y="12100376"/>
              <a:ext cx="7107" cy="6078"/>
            </a:xfrm>
            <a:custGeom>
              <a:avLst/>
              <a:gdLst>
                <a:gd name="connsiteX0" fmla="*/ 1683 w 7107"/>
                <a:gd name="connsiteY0" fmla="*/ 4582 h 6078"/>
                <a:gd name="connsiteX1" fmla="*/ 3273 w 7107"/>
                <a:gd name="connsiteY1" fmla="*/ 2992 h 6078"/>
                <a:gd name="connsiteX2" fmla="*/ 7107 w 7107"/>
                <a:gd name="connsiteY2" fmla="*/ 0 h 6078"/>
                <a:gd name="connsiteX3" fmla="*/ 3086 w 7107"/>
                <a:gd name="connsiteY3" fmla="*/ 1122 h 6078"/>
                <a:gd name="connsiteX4" fmla="*/ 0 w 7107"/>
                <a:gd name="connsiteY4" fmla="*/ 6078 h 6078"/>
                <a:gd name="connsiteX5" fmla="*/ 1683 w 7107"/>
                <a:gd name="connsiteY5" fmla="*/ 4582 h 60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7107" h="6078">
                  <a:moveTo>
                    <a:pt x="1683" y="4582"/>
                  </a:moveTo>
                  <a:lnTo>
                    <a:pt x="3273" y="2992"/>
                  </a:lnTo>
                  <a:cubicBezTo>
                    <a:pt x="4723" y="2946"/>
                    <a:pt x="5938" y="1636"/>
                    <a:pt x="7107" y="0"/>
                  </a:cubicBezTo>
                  <a:cubicBezTo>
                    <a:pt x="5751" y="374"/>
                    <a:pt x="4489" y="842"/>
                    <a:pt x="3086" y="1122"/>
                  </a:cubicBezTo>
                  <a:cubicBezTo>
                    <a:pt x="1169" y="2244"/>
                    <a:pt x="93" y="3881"/>
                    <a:pt x="0" y="6078"/>
                  </a:cubicBezTo>
                  <a:lnTo>
                    <a:pt x="1683" y="4582"/>
                  </a:lnTo>
                  <a:close/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9CEE4F77-6C9D-0F73-5DB9-587B4B136F97}"/>
                </a:ext>
              </a:extLst>
            </p:cNvPr>
            <p:cNvSpPr/>
            <p:nvPr/>
          </p:nvSpPr>
          <p:spPr>
            <a:xfrm flipH="1">
              <a:off x="3975037" y="12095749"/>
              <a:ext cx="19731" cy="8040"/>
            </a:xfrm>
            <a:custGeom>
              <a:avLst/>
              <a:gdLst>
                <a:gd name="connsiteX0" fmla="*/ 2946 w 19731"/>
                <a:gd name="connsiteY0" fmla="*/ 91 h 8040"/>
                <a:gd name="connsiteX1" fmla="*/ 0 w 19731"/>
                <a:gd name="connsiteY1" fmla="*/ 1120 h 8040"/>
                <a:gd name="connsiteX2" fmla="*/ 2011 w 19731"/>
                <a:gd name="connsiteY2" fmla="*/ 4159 h 8040"/>
                <a:gd name="connsiteX3" fmla="*/ 19732 w 19731"/>
                <a:gd name="connsiteY3" fmla="*/ 8040 h 8040"/>
                <a:gd name="connsiteX4" fmla="*/ 2899 w 19731"/>
                <a:gd name="connsiteY4" fmla="*/ 138 h 8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731" h="8040">
                  <a:moveTo>
                    <a:pt x="2946" y="91"/>
                  </a:moveTo>
                  <a:cubicBezTo>
                    <a:pt x="1964" y="419"/>
                    <a:pt x="982" y="793"/>
                    <a:pt x="0" y="1120"/>
                  </a:cubicBezTo>
                  <a:cubicBezTo>
                    <a:pt x="655" y="2009"/>
                    <a:pt x="1309" y="2757"/>
                    <a:pt x="2011" y="4159"/>
                  </a:cubicBezTo>
                  <a:cubicBezTo>
                    <a:pt x="7949" y="5469"/>
                    <a:pt x="13840" y="6731"/>
                    <a:pt x="19732" y="8040"/>
                  </a:cubicBezTo>
                  <a:cubicBezTo>
                    <a:pt x="16038" y="1307"/>
                    <a:pt x="10099" y="-563"/>
                    <a:pt x="2899" y="138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A5DA1E52-549D-5C96-1EAF-534DB949663D}"/>
                </a:ext>
              </a:extLst>
            </p:cNvPr>
            <p:cNvSpPr/>
            <p:nvPr/>
          </p:nvSpPr>
          <p:spPr>
            <a:xfrm flipH="1">
              <a:off x="1228740" y="10287682"/>
              <a:ext cx="105157" cy="74018"/>
            </a:xfrm>
            <a:custGeom>
              <a:avLst/>
              <a:gdLst>
                <a:gd name="connsiteX0" fmla="*/ 0 w 105157"/>
                <a:gd name="connsiteY0" fmla="*/ 7155 h 74018"/>
                <a:gd name="connsiteX1" fmla="*/ 14401 w 105157"/>
                <a:gd name="connsiteY1" fmla="*/ 7810 h 74018"/>
                <a:gd name="connsiteX2" fmla="*/ 50171 w 105157"/>
                <a:gd name="connsiteY2" fmla="*/ 37407 h 74018"/>
                <a:gd name="connsiteX3" fmla="*/ 105158 w 105157"/>
                <a:gd name="connsiteY3" fmla="*/ 74018 h 74018"/>
                <a:gd name="connsiteX4" fmla="*/ 16692 w 105157"/>
                <a:gd name="connsiteY4" fmla="*/ 6968 h 74018"/>
                <a:gd name="connsiteX5" fmla="*/ 0 w 105157"/>
                <a:gd name="connsiteY5" fmla="*/ 7202 h 740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5157" h="74018">
                  <a:moveTo>
                    <a:pt x="0" y="7155"/>
                  </a:moveTo>
                  <a:cubicBezTo>
                    <a:pt x="5003" y="3181"/>
                    <a:pt x="9398" y="3461"/>
                    <a:pt x="14401" y="7810"/>
                  </a:cubicBezTo>
                  <a:cubicBezTo>
                    <a:pt x="26044" y="17956"/>
                    <a:pt x="37500" y="28523"/>
                    <a:pt x="50171" y="37407"/>
                  </a:cubicBezTo>
                  <a:cubicBezTo>
                    <a:pt x="68219" y="49985"/>
                    <a:pt x="81545" y="69810"/>
                    <a:pt x="105158" y="74018"/>
                  </a:cubicBezTo>
                  <a:cubicBezTo>
                    <a:pt x="71352" y="57326"/>
                    <a:pt x="47178" y="28056"/>
                    <a:pt x="16692" y="6968"/>
                  </a:cubicBezTo>
                  <a:cubicBezTo>
                    <a:pt x="10754" y="2807"/>
                    <a:pt x="5424" y="-6498"/>
                    <a:pt x="0" y="720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ABDF9776-24A2-802A-5A8F-1950B9E6CDA4}"/>
                </a:ext>
              </a:extLst>
            </p:cNvPr>
            <p:cNvSpPr/>
            <p:nvPr/>
          </p:nvSpPr>
          <p:spPr>
            <a:xfrm flipH="1">
              <a:off x="1228786" y="10281421"/>
              <a:ext cx="108066" cy="80279"/>
            </a:xfrm>
            <a:custGeom>
              <a:avLst/>
              <a:gdLst>
                <a:gd name="connsiteX0" fmla="*/ 3096 w 108066"/>
                <a:gd name="connsiteY0" fmla="*/ 1446 h 80279"/>
                <a:gd name="connsiteX1" fmla="*/ 2956 w 108066"/>
                <a:gd name="connsiteY1" fmla="*/ 13416 h 80279"/>
                <a:gd name="connsiteX2" fmla="*/ 19602 w 108066"/>
                <a:gd name="connsiteY2" fmla="*/ 13182 h 80279"/>
                <a:gd name="connsiteX3" fmla="*/ 108067 w 108066"/>
                <a:gd name="connsiteY3" fmla="*/ 80279 h 80279"/>
                <a:gd name="connsiteX4" fmla="*/ 15206 w 108066"/>
                <a:gd name="connsiteY4" fmla="*/ 4532 h 80279"/>
                <a:gd name="connsiteX5" fmla="*/ 3096 w 108066"/>
                <a:gd name="connsiteY5" fmla="*/ 1446 h 802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08066" h="80279">
                  <a:moveTo>
                    <a:pt x="3096" y="1446"/>
                  </a:moveTo>
                  <a:cubicBezTo>
                    <a:pt x="-1533" y="4906"/>
                    <a:pt x="-457" y="9395"/>
                    <a:pt x="2956" y="13416"/>
                  </a:cubicBezTo>
                  <a:cubicBezTo>
                    <a:pt x="8380" y="-284"/>
                    <a:pt x="13663" y="9068"/>
                    <a:pt x="19602" y="13182"/>
                  </a:cubicBezTo>
                  <a:cubicBezTo>
                    <a:pt x="50087" y="34317"/>
                    <a:pt x="74261" y="63587"/>
                    <a:pt x="108067" y="80279"/>
                  </a:cubicBezTo>
                  <a:cubicBezTo>
                    <a:pt x="77113" y="55030"/>
                    <a:pt x="46160" y="29781"/>
                    <a:pt x="15206" y="4532"/>
                  </a:cubicBezTo>
                  <a:cubicBezTo>
                    <a:pt x="11559" y="1540"/>
                    <a:pt x="7772" y="-2061"/>
                    <a:pt x="3096" y="1446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5DA72C6-6A04-02C2-C1D2-4DDAD9ED6AAA}"/>
                </a:ext>
              </a:extLst>
            </p:cNvPr>
            <p:cNvSpPr/>
            <p:nvPr/>
          </p:nvSpPr>
          <p:spPr>
            <a:xfrm flipH="1">
              <a:off x="2392859" y="8823755"/>
              <a:ext cx="49282" cy="24574"/>
            </a:xfrm>
            <a:custGeom>
              <a:avLst/>
              <a:gdLst>
                <a:gd name="connsiteX0" fmla="*/ 49282 w 49282"/>
                <a:gd name="connsiteY0" fmla="*/ 24080 h 24574"/>
                <a:gd name="connsiteX1" fmla="*/ 26044 w 49282"/>
                <a:gd name="connsiteY1" fmla="*/ 3741 h 24574"/>
                <a:gd name="connsiteX2" fmla="*/ 22490 w 49282"/>
                <a:gd name="connsiteY2" fmla="*/ 4068 h 24574"/>
                <a:gd name="connsiteX3" fmla="*/ 12905 w 49282"/>
                <a:gd name="connsiteY3" fmla="*/ 5284 h 24574"/>
                <a:gd name="connsiteX4" fmla="*/ 9632 w 49282"/>
                <a:gd name="connsiteY4" fmla="*/ 5798 h 24574"/>
                <a:gd name="connsiteX5" fmla="*/ 0 w 49282"/>
                <a:gd name="connsiteY5" fmla="*/ 0 h 24574"/>
                <a:gd name="connsiteX6" fmla="*/ 49235 w 49282"/>
                <a:gd name="connsiteY6" fmla="*/ 24174 h 245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9282" h="24574">
                  <a:moveTo>
                    <a:pt x="49282" y="24080"/>
                  </a:moveTo>
                  <a:cubicBezTo>
                    <a:pt x="36751" y="22677"/>
                    <a:pt x="29223" y="15617"/>
                    <a:pt x="26044" y="3741"/>
                  </a:cubicBezTo>
                  <a:cubicBezTo>
                    <a:pt x="24828" y="3647"/>
                    <a:pt x="23706" y="3974"/>
                    <a:pt x="22490" y="4068"/>
                  </a:cubicBezTo>
                  <a:cubicBezTo>
                    <a:pt x="19638" y="6453"/>
                    <a:pt x="16505" y="7154"/>
                    <a:pt x="12905" y="5284"/>
                  </a:cubicBezTo>
                  <a:cubicBezTo>
                    <a:pt x="11829" y="5424"/>
                    <a:pt x="10754" y="5704"/>
                    <a:pt x="9632" y="5798"/>
                  </a:cubicBezTo>
                  <a:cubicBezTo>
                    <a:pt x="5564" y="5284"/>
                    <a:pt x="1543" y="4676"/>
                    <a:pt x="0" y="0"/>
                  </a:cubicBezTo>
                  <a:cubicBezTo>
                    <a:pt x="7902" y="25436"/>
                    <a:pt x="28288" y="25389"/>
                    <a:pt x="49235" y="24174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E272D580-C6BA-0512-59A6-EDC8FC5C39ED}"/>
                </a:ext>
              </a:extLst>
            </p:cNvPr>
            <p:cNvSpPr/>
            <p:nvPr/>
          </p:nvSpPr>
          <p:spPr>
            <a:xfrm flipH="1">
              <a:off x="2429190" y="8823708"/>
              <a:ext cx="12904" cy="5797"/>
            </a:xfrm>
            <a:custGeom>
              <a:avLst/>
              <a:gdLst>
                <a:gd name="connsiteX0" fmla="*/ 9632 w 12904"/>
                <a:gd name="connsiteY0" fmla="*/ 5798 h 5797"/>
                <a:gd name="connsiteX1" fmla="*/ 12905 w 12904"/>
                <a:gd name="connsiteY1" fmla="*/ 5284 h 5797"/>
                <a:gd name="connsiteX2" fmla="*/ 9866 w 12904"/>
                <a:gd name="connsiteY2" fmla="*/ 3413 h 5797"/>
                <a:gd name="connsiteX3" fmla="*/ 0 w 12904"/>
                <a:gd name="connsiteY3" fmla="*/ 0 h 5797"/>
                <a:gd name="connsiteX4" fmla="*/ 9585 w 12904"/>
                <a:gd name="connsiteY4" fmla="*/ 5798 h 5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904" h="5797">
                  <a:moveTo>
                    <a:pt x="9632" y="5798"/>
                  </a:moveTo>
                  <a:cubicBezTo>
                    <a:pt x="10754" y="5798"/>
                    <a:pt x="11829" y="5471"/>
                    <a:pt x="12905" y="5284"/>
                  </a:cubicBezTo>
                  <a:cubicBezTo>
                    <a:pt x="11923" y="4769"/>
                    <a:pt x="10941" y="4395"/>
                    <a:pt x="9866" y="3413"/>
                  </a:cubicBezTo>
                  <a:cubicBezTo>
                    <a:pt x="6593" y="2291"/>
                    <a:pt x="3320" y="1122"/>
                    <a:pt x="0" y="0"/>
                  </a:cubicBezTo>
                  <a:cubicBezTo>
                    <a:pt x="1496" y="4723"/>
                    <a:pt x="5564" y="5284"/>
                    <a:pt x="9585" y="5798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7DCAA08B-F07D-DAB2-FB73-9255487C4F2D}"/>
                </a:ext>
              </a:extLst>
            </p:cNvPr>
            <p:cNvSpPr/>
            <p:nvPr/>
          </p:nvSpPr>
          <p:spPr>
            <a:xfrm flipH="1">
              <a:off x="2392906" y="8819931"/>
              <a:ext cx="26745" cy="27951"/>
            </a:xfrm>
            <a:custGeom>
              <a:avLst/>
              <a:gdLst>
                <a:gd name="connsiteX0" fmla="*/ 14916 w 26745"/>
                <a:gd name="connsiteY0" fmla="*/ 2048 h 27951"/>
                <a:gd name="connsiteX1" fmla="*/ 3460 w 26745"/>
                <a:gd name="connsiteY1" fmla="*/ 4385 h 27951"/>
                <a:gd name="connsiteX2" fmla="*/ 0 w 26745"/>
                <a:gd name="connsiteY2" fmla="*/ 7892 h 27951"/>
                <a:gd name="connsiteX3" fmla="*/ 3554 w 26745"/>
                <a:gd name="connsiteY3" fmla="*/ 7565 h 27951"/>
                <a:gd name="connsiteX4" fmla="*/ 26745 w 26745"/>
                <a:gd name="connsiteY4" fmla="*/ 27951 h 27951"/>
                <a:gd name="connsiteX5" fmla="*/ 14869 w 26745"/>
                <a:gd name="connsiteY5" fmla="*/ 2048 h 27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6745" h="27951">
                  <a:moveTo>
                    <a:pt x="14916" y="2048"/>
                  </a:moveTo>
                  <a:cubicBezTo>
                    <a:pt x="18469" y="-3189"/>
                    <a:pt x="7668" y="3123"/>
                    <a:pt x="3460" y="4385"/>
                  </a:cubicBezTo>
                  <a:cubicBezTo>
                    <a:pt x="2338" y="5741"/>
                    <a:pt x="1216" y="6910"/>
                    <a:pt x="0" y="7892"/>
                  </a:cubicBezTo>
                  <a:cubicBezTo>
                    <a:pt x="1169" y="7799"/>
                    <a:pt x="2338" y="7471"/>
                    <a:pt x="3554" y="7565"/>
                  </a:cubicBezTo>
                  <a:cubicBezTo>
                    <a:pt x="6733" y="19488"/>
                    <a:pt x="14261" y="26548"/>
                    <a:pt x="26745" y="27951"/>
                  </a:cubicBezTo>
                  <a:cubicBezTo>
                    <a:pt x="24968" y="18880"/>
                    <a:pt x="2057" y="21078"/>
                    <a:pt x="14869" y="2048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28DAA56-1AFD-CA08-9E37-1C5A38F85C3B}"/>
                </a:ext>
              </a:extLst>
            </p:cNvPr>
            <p:cNvSpPr/>
            <p:nvPr/>
          </p:nvSpPr>
          <p:spPr>
            <a:xfrm flipH="1">
              <a:off x="2165878" y="9686931"/>
              <a:ext cx="46824" cy="19787"/>
            </a:xfrm>
            <a:custGeom>
              <a:avLst/>
              <a:gdLst>
                <a:gd name="connsiteX0" fmla="*/ 44373 w 46824"/>
                <a:gd name="connsiteY0" fmla="*/ 17827 h 19787"/>
                <a:gd name="connsiteX1" fmla="*/ 40585 w 46824"/>
                <a:gd name="connsiteY1" fmla="*/ 4314 h 19787"/>
                <a:gd name="connsiteX2" fmla="*/ 41100 w 46824"/>
                <a:gd name="connsiteY2" fmla="*/ 13339 h 19787"/>
                <a:gd name="connsiteX3" fmla="*/ 26698 w 46824"/>
                <a:gd name="connsiteY3" fmla="*/ 11422 h 19787"/>
                <a:gd name="connsiteX4" fmla="*/ 0 w 46824"/>
                <a:gd name="connsiteY4" fmla="*/ 293 h 19787"/>
                <a:gd name="connsiteX5" fmla="*/ 25483 w 46824"/>
                <a:gd name="connsiteY5" fmla="*/ 14321 h 19787"/>
                <a:gd name="connsiteX6" fmla="*/ 44373 w 46824"/>
                <a:gd name="connsiteY6" fmla="*/ 17781 h 197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6824" h="19787">
                  <a:moveTo>
                    <a:pt x="44373" y="17827"/>
                  </a:moveTo>
                  <a:cubicBezTo>
                    <a:pt x="50685" y="12450"/>
                    <a:pt x="43110" y="8943"/>
                    <a:pt x="40585" y="4314"/>
                  </a:cubicBezTo>
                  <a:cubicBezTo>
                    <a:pt x="41427" y="7962"/>
                    <a:pt x="42502" y="11749"/>
                    <a:pt x="41100" y="13339"/>
                  </a:cubicBezTo>
                  <a:cubicBezTo>
                    <a:pt x="36845" y="18155"/>
                    <a:pt x="31234" y="13432"/>
                    <a:pt x="26698" y="11422"/>
                  </a:cubicBezTo>
                  <a:cubicBezTo>
                    <a:pt x="17861" y="7541"/>
                    <a:pt x="11362" y="-1764"/>
                    <a:pt x="0" y="293"/>
                  </a:cubicBezTo>
                  <a:cubicBezTo>
                    <a:pt x="9211" y="3707"/>
                    <a:pt x="17113" y="9317"/>
                    <a:pt x="25483" y="14321"/>
                  </a:cubicBezTo>
                  <a:cubicBezTo>
                    <a:pt x="30860" y="17547"/>
                    <a:pt x="38715" y="22643"/>
                    <a:pt x="44373" y="17781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CAB60D2-2576-9F44-0542-21CD18F981B8}"/>
                </a:ext>
              </a:extLst>
            </p:cNvPr>
            <p:cNvSpPr/>
            <p:nvPr/>
          </p:nvSpPr>
          <p:spPr>
            <a:xfrm flipH="1">
              <a:off x="2161793" y="9687271"/>
              <a:ext cx="50909" cy="26558"/>
            </a:xfrm>
            <a:custGeom>
              <a:avLst/>
              <a:gdLst>
                <a:gd name="connsiteX0" fmla="*/ 39837 w 50909"/>
                <a:gd name="connsiteY0" fmla="*/ 327 h 26558"/>
                <a:gd name="connsiteX1" fmla="*/ 40585 w 50909"/>
                <a:gd name="connsiteY1" fmla="*/ 3974 h 26558"/>
                <a:gd name="connsiteX2" fmla="*/ 44373 w 50909"/>
                <a:gd name="connsiteY2" fmla="*/ 17487 h 26558"/>
                <a:gd name="connsiteX3" fmla="*/ 25483 w 50909"/>
                <a:gd name="connsiteY3" fmla="*/ 14027 h 26558"/>
                <a:gd name="connsiteX4" fmla="*/ 0 w 50909"/>
                <a:gd name="connsiteY4" fmla="*/ 0 h 26558"/>
                <a:gd name="connsiteX5" fmla="*/ 49329 w 50909"/>
                <a:gd name="connsiteY5" fmla="*/ 26558 h 26558"/>
                <a:gd name="connsiteX6" fmla="*/ 39837 w 50909"/>
                <a:gd name="connsiteY6" fmla="*/ 374 h 26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0909" h="26558">
                  <a:moveTo>
                    <a:pt x="39837" y="327"/>
                  </a:moveTo>
                  <a:cubicBezTo>
                    <a:pt x="39978" y="1449"/>
                    <a:pt x="40305" y="2712"/>
                    <a:pt x="40585" y="3974"/>
                  </a:cubicBezTo>
                  <a:cubicBezTo>
                    <a:pt x="43110" y="8603"/>
                    <a:pt x="50685" y="12063"/>
                    <a:pt x="44373" y="17487"/>
                  </a:cubicBezTo>
                  <a:cubicBezTo>
                    <a:pt x="38715" y="22350"/>
                    <a:pt x="30860" y="17207"/>
                    <a:pt x="25483" y="14027"/>
                  </a:cubicBezTo>
                  <a:cubicBezTo>
                    <a:pt x="17113" y="9024"/>
                    <a:pt x="9258" y="3413"/>
                    <a:pt x="0" y="0"/>
                  </a:cubicBezTo>
                  <a:cubicBezTo>
                    <a:pt x="14401" y="12391"/>
                    <a:pt x="30953" y="20714"/>
                    <a:pt x="49329" y="26558"/>
                  </a:cubicBezTo>
                  <a:cubicBezTo>
                    <a:pt x="54005" y="14167"/>
                    <a:pt x="47552" y="7014"/>
                    <a:pt x="39837" y="374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C328949E-7345-7EEE-6623-5FD99642FC8B}"/>
                </a:ext>
              </a:extLst>
            </p:cNvPr>
            <p:cNvSpPr/>
            <p:nvPr/>
          </p:nvSpPr>
          <p:spPr>
            <a:xfrm flipH="1">
              <a:off x="1977226" y="9640652"/>
              <a:ext cx="40498" cy="25874"/>
            </a:xfrm>
            <a:custGeom>
              <a:avLst/>
              <a:gdLst>
                <a:gd name="connsiteX0" fmla="*/ 24033 w 40498"/>
                <a:gd name="connsiteY0" fmla="*/ 20528 h 25874"/>
                <a:gd name="connsiteX1" fmla="*/ 38294 w 40498"/>
                <a:gd name="connsiteY1" fmla="*/ 24222 h 25874"/>
                <a:gd name="connsiteX2" fmla="*/ 36471 w 40498"/>
                <a:gd name="connsiteY2" fmla="*/ 9774 h 25874"/>
                <a:gd name="connsiteX3" fmla="*/ 23566 w 40498"/>
                <a:gd name="connsiteY3" fmla="*/ 16414 h 25874"/>
                <a:gd name="connsiteX4" fmla="*/ 0 w 40498"/>
                <a:gd name="connsiteY4" fmla="*/ 95 h 25874"/>
                <a:gd name="connsiteX5" fmla="*/ 24033 w 40498"/>
                <a:gd name="connsiteY5" fmla="*/ 20528 h 258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0498" h="25874">
                  <a:moveTo>
                    <a:pt x="24033" y="20528"/>
                  </a:moveTo>
                  <a:cubicBezTo>
                    <a:pt x="28335" y="23755"/>
                    <a:pt x="33058" y="28384"/>
                    <a:pt x="38294" y="24222"/>
                  </a:cubicBezTo>
                  <a:cubicBezTo>
                    <a:pt x="44279" y="19406"/>
                    <a:pt x="36144" y="14824"/>
                    <a:pt x="36471" y="9774"/>
                  </a:cubicBezTo>
                  <a:cubicBezTo>
                    <a:pt x="36237" y="19920"/>
                    <a:pt x="33946" y="24736"/>
                    <a:pt x="23566" y="16414"/>
                  </a:cubicBezTo>
                  <a:cubicBezTo>
                    <a:pt x="16131" y="10429"/>
                    <a:pt x="12391" y="-1167"/>
                    <a:pt x="0" y="95"/>
                  </a:cubicBezTo>
                  <a:cubicBezTo>
                    <a:pt x="11175" y="3134"/>
                    <a:pt x="15664" y="14123"/>
                    <a:pt x="24033" y="20528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634FE24E-9F46-7B89-8D19-CAA60D72CE86}"/>
                </a:ext>
              </a:extLst>
            </p:cNvPr>
            <p:cNvSpPr/>
            <p:nvPr/>
          </p:nvSpPr>
          <p:spPr>
            <a:xfrm flipH="1">
              <a:off x="1972071" y="9640794"/>
              <a:ext cx="45653" cy="32735"/>
            </a:xfrm>
            <a:custGeom>
              <a:avLst/>
              <a:gdLst>
                <a:gd name="connsiteX0" fmla="*/ 42175 w 45653"/>
                <a:gd name="connsiteY0" fmla="*/ 30907 h 32735"/>
                <a:gd name="connsiteX1" fmla="*/ 36471 w 45653"/>
                <a:gd name="connsiteY1" fmla="*/ 9679 h 32735"/>
                <a:gd name="connsiteX2" fmla="*/ 38294 w 45653"/>
                <a:gd name="connsiteY2" fmla="*/ 24127 h 32735"/>
                <a:gd name="connsiteX3" fmla="*/ 24033 w 45653"/>
                <a:gd name="connsiteY3" fmla="*/ 20433 h 32735"/>
                <a:gd name="connsiteX4" fmla="*/ 0 w 45653"/>
                <a:gd name="connsiteY4" fmla="*/ 0 h 32735"/>
                <a:gd name="connsiteX5" fmla="*/ 23192 w 45653"/>
                <a:gd name="connsiteY5" fmla="*/ 22444 h 32735"/>
                <a:gd name="connsiteX6" fmla="*/ 42175 w 45653"/>
                <a:gd name="connsiteY6" fmla="*/ 30953 h 327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45653" h="32735">
                  <a:moveTo>
                    <a:pt x="42175" y="30907"/>
                  </a:moveTo>
                  <a:cubicBezTo>
                    <a:pt x="50077" y="23987"/>
                    <a:pt x="42924" y="15664"/>
                    <a:pt x="36471" y="9679"/>
                  </a:cubicBezTo>
                  <a:cubicBezTo>
                    <a:pt x="36144" y="14729"/>
                    <a:pt x="44279" y="19311"/>
                    <a:pt x="38294" y="24127"/>
                  </a:cubicBezTo>
                  <a:cubicBezTo>
                    <a:pt x="33104" y="28288"/>
                    <a:pt x="28288" y="23659"/>
                    <a:pt x="24033" y="20433"/>
                  </a:cubicBezTo>
                  <a:cubicBezTo>
                    <a:pt x="15664" y="14074"/>
                    <a:pt x="11175" y="3086"/>
                    <a:pt x="0" y="0"/>
                  </a:cubicBezTo>
                  <a:cubicBezTo>
                    <a:pt x="7715" y="7528"/>
                    <a:pt x="15150" y="15336"/>
                    <a:pt x="23192" y="22444"/>
                  </a:cubicBezTo>
                  <a:cubicBezTo>
                    <a:pt x="28662" y="27260"/>
                    <a:pt x="35583" y="36658"/>
                    <a:pt x="42175" y="30953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E93A644-4706-EA11-FEF2-2E0861013408}"/>
                </a:ext>
              </a:extLst>
            </p:cNvPr>
            <p:cNvSpPr/>
            <p:nvPr/>
          </p:nvSpPr>
          <p:spPr>
            <a:xfrm flipH="1">
              <a:off x="4156971" y="12317190"/>
              <a:ext cx="19965" cy="28101"/>
            </a:xfrm>
            <a:custGeom>
              <a:avLst/>
              <a:gdLst>
                <a:gd name="connsiteX0" fmla="*/ 19966 w 19965"/>
                <a:gd name="connsiteY0" fmla="*/ 28101 h 28101"/>
                <a:gd name="connsiteX1" fmla="*/ 0 w 19965"/>
                <a:gd name="connsiteY1" fmla="*/ 0 h 28101"/>
                <a:gd name="connsiteX2" fmla="*/ 19966 w 19965"/>
                <a:gd name="connsiteY2" fmla="*/ 28101 h 281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9965" h="28101">
                  <a:moveTo>
                    <a:pt x="19966" y="28101"/>
                  </a:moveTo>
                  <a:cubicBezTo>
                    <a:pt x="15150" y="17394"/>
                    <a:pt x="11222" y="6125"/>
                    <a:pt x="0" y="0"/>
                  </a:cubicBezTo>
                  <a:cubicBezTo>
                    <a:pt x="561" y="13700"/>
                    <a:pt x="12625" y="19217"/>
                    <a:pt x="19966" y="28101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80F17E01-6855-2741-265E-25B4E9133B24}"/>
                </a:ext>
              </a:extLst>
            </p:cNvPr>
            <p:cNvSpPr/>
            <p:nvPr/>
          </p:nvSpPr>
          <p:spPr>
            <a:xfrm flipH="1">
              <a:off x="4156971" y="12317237"/>
              <a:ext cx="27238" cy="28100"/>
            </a:xfrm>
            <a:custGeom>
              <a:avLst/>
              <a:gdLst>
                <a:gd name="connsiteX0" fmla="*/ 6432 w 27238"/>
                <a:gd name="connsiteY0" fmla="*/ 15430 h 28100"/>
                <a:gd name="connsiteX1" fmla="*/ 27239 w 27238"/>
                <a:gd name="connsiteY1" fmla="*/ 28101 h 28100"/>
                <a:gd name="connsiteX2" fmla="*/ 7273 w 27238"/>
                <a:gd name="connsiteY2" fmla="*/ 0 h 28100"/>
                <a:gd name="connsiteX3" fmla="*/ 6432 w 27238"/>
                <a:gd name="connsiteY3" fmla="*/ 15477 h 2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238" h="28100">
                  <a:moveTo>
                    <a:pt x="6432" y="15430"/>
                  </a:moveTo>
                  <a:cubicBezTo>
                    <a:pt x="13539" y="18890"/>
                    <a:pt x="18869" y="26090"/>
                    <a:pt x="27239" y="28101"/>
                  </a:cubicBezTo>
                  <a:cubicBezTo>
                    <a:pt x="19851" y="19217"/>
                    <a:pt x="7834" y="13700"/>
                    <a:pt x="7273" y="0"/>
                  </a:cubicBezTo>
                  <a:cubicBezTo>
                    <a:pt x="6058" y="4956"/>
                    <a:pt x="-7923" y="8510"/>
                    <a:pt x="6432" y="15477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2B81B7C0-865C-C812-ABC0-4890EB41839E}"/>
                </a:ext>
              </a:extLst>
            </p:cNvPr>
            <p:cNvSpPr/>
            <p:nvPr/>
          </p:nvSpPr>
          <p:spPr>
            <a:xfrm flipH="1">
              <a:off x="1935626" y="8888607"/>
              <a:ext cx="22155" cy="25564"/>
            </a:xfrm>
            <a:custGeom>
              <a:avLst/>
              <a:gdLst>
                <a:gd name="connsiteX0" fmla="*/ 0 w 22155"/>
                <a:gd name="connsiteY0" fmla="*/ 22163 h 25564"/>
                <a:gd name="connsiteX1" fmla="*/ 20854 w 22155"/>
                <a:gd name="connsiteY1" fmla="*/ 21041 h 25564"/>
                <a:gd name="connsiteX2" fmla="*/ 10661 w 22155"/>
                <a:gd name="connsiteY2" fmla="*/ 0 h 25564"/>
                <a:gd name="connsiteX3" fmla="*/ 0 w 22155"/>
                <a:gd name="connsiteY3" fmla="*/ 22163 h 25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55" h="25564">
                  <a:moveTo>
                    <a:pt x="0" y="22163"/>
                  </a:moveTo>
                  <a:cubicBezTo>
                    <a:pt x="7248" y="25015"/>
                    <a:pt x="16506" y="28616"/>
                    <a:pt x="20854" y="21041"/>
                  </a:cubicBezTo>
                  <a:cubicBezTo>
                    <a:pt x="26184" y="11830"/>
                    <a:pt x="13607" y="7434"/>
                    <a:pt x="10661" y="0"/>
                  </a:cubicBezTo>
                  <a:cubicBezTo>
                    <a:pt x="9398" y="8510"/>
                    <a:pt x="15851" y="20714"/>
                    <a:pt x="0" y="22163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8B67B2BA-5DA8-E8B7-C0BC-83AEFB2349C9}"/>
                </a:ext>
              </a:extLst>
            </p:cNvPr>
            <p:cNvSpPr/>
            <p:nvPr/>
          </p:nvSpPr>
          <p:spPr>
            <a:xfrm flipH="1">
              <a:off x="1946785" y="8888607"/>
              <a:ext cx="10949" cy="22163"/>
            </a:xfrm>
            <a:custGeom>
              <a:avLst/>
              <a:gdLst>
                <a:gd name="connsiteX0" fmla="*/ 10661 w 10949"/>
                <a:gd name="connsiteY0" fmla="*/ 0 h 22163"/>
                <a:gd name="connsiteX1" fmla="*/ 10661 w 10949"/>
                <a:gd name="connsiteY1" fmla="*/ 0 h 22163"/>
                <a:gd name="connsiteX2" fmla="*/ 0 w 10949"/>
                <a:gd name="connsiteY2" fmla="*/ 22163 h 22163"/>
                <a:gd name="connsiteX3" fmla="*/ 10661 w 10949"/>
                <a:gd name="connsiteY3" fmla="*/ 0 h 221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49" h="22163">
                  <a:moveTo>
                    <a:pt x="10661" y="0"/>
                  </a:moveTo>
                  <a:lnTo>
                    <a:pt x="10661" y="0"/>
                  </a:lnTo>
                  <a:cubicBezTo>
                    <a:pt x="6172" y="6920"/>
                    <a:pt x="8884" y="17347"/>
                    <a:pt x="0" y="22163"/>
                  </a:cubicBezTo>
                  <a:cubicBezTo>
                    <a:pt x="15851" y="20667"/>
                    <a:pt x="9445" y="8510"/>
                    <a:pt x="10661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47622F17-1723-7E35-2DB8-07A527915CAC}"/>
                </a:ext>
              </a:extLst>
            </p:cNvPr>
            <p:cNvSpPr/>
            <p:nvPr/>
          </p:nvSpPr>
          <p:spPr>
            <a:xfrm flipH="1">
              <a:off x="2121203" y="9058571"/>
              <a:ext cx="7162" cy="16739"/>
            </a:xfrm>
            <a:custGeom>
              <a:avLst/>
              <a:gdLst>
                <a:gd name="connsiteX0" fmla="*/ 4548 w 7162"/>
                <a:gd name="connsiteY0" fmla="*/ 16739 h 16739"/>
                <a:gd name="connsiteX1" fmla="*/ 5857 w 7162"/>
                <a:gd name="connsiteY1" fmla="*/ 0 h 16739"/>
                <a:gd name="connsiteX2" fmla="*/ 4548 w 7162"/>
                <a:gd name="connsiteY2" fmla="*/ 16739 h 167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162" h="16739">
                  <a:moveTo>
                    <a:pt x="4548" y="16739"/>
                  </a:moveTo>
                  <a:cubicBezTo>
                    <a:pt x="6605" y="11269"/>
                    <a:pt x="8522" y="5845"/>
                    <a:pt x="5857" y="0"/>
                  </a:cubicBezTo>
                  <a:cubicBezTo>
                    <a:pt x="1462" y="5284"/>
                    <a:pt x="-4102" y="10474"/>
                    <a:pt x="4548" y="16739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B4850696-2970-EFA0-94F0-80D8905A18F3}"/>
                </a:ext>
              </a:extLst>
            </p:cNvPr>
            <p:cNvSpPr/>
            <p:nvPr/>
          </p:nvSpPr>
          <p:spPr>
            <a:xfrm flipH="1">
              <a:off x="2122508" y="9058226"/>
              <a:ext cx="16060" cy="19244"/>
            </a:xfrm>
            <a:custGeom>
              <a:avLst/>
              <a:gdLst>
                <a:gd name="connsiteX0" fmla="*/ 70 w 16060"/>
                <a:gd name="connsiteY0" fmla="*/ 12642 h 19244"/>
                <a:gd name="connsiteX1" fmla="*/ 14751 w 16060"/>
                <a:gd name="connsiteY1" fmla="*/ 17131 h 19244"/>
                <a:gd name="connsiteX2" fmla="*/ 16061 w 16060"/>
                <a:gd name="connsiteY2" fmla="*/ 392 h 19244"/>
                <a:gd name="connsiteX3" fmla="*/ 23 w 16060"/>
                <a:gd name="connsiteY3" fmla="*/ 12642 h 19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60" h="19244">
                  <a:moveTo>
                    <a:pt x="70" y="12642"/>
                  </a:moveTo>
                  <a:cubicBezTo>
                    <a:pt x="677" y="26342"/>
                    <a:pt x="10356" y="13951"/>
                    <a:pt x="14751" y="17131"/>
                  </a:cubicBezTo>
                  <a:cubicBezTo>
                    <a:pt x="6148" y="10865"/>
                    <a:pt x="11619" y="5675"/>
                    <a:pt x="16061" y="392"/>
                  </a:cubicBezTo>
                  <a:cubicBezTo>
                    <a:pt x="6335" y="-1198"/>
                    <a:pt x="-445" y="1888"/>
                    <a:pt x="23" y="1264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9A338350-A327-260F-A819-273B56E7AFEC}"/>
                </a:ext>
              </a:extLst>
            </p:cNvPr>
            <p:cNvSpPr/>
            <p:nvPr/>
          </p:nvSpPr>
          <p:spPr>
            <a:xfrm flipH="1">
              <a:off x="2291380" y="8811879"/>
              <a:ext cx="25264" cy="32977"/>
            </a:xfrm>
            <a:custGeom>
              <a:avLst/>
              <a:gdLst>
                <a:gd name="connsiteX0" fmla="*/ 9351 w 25264"/>
                <a:gd name="connsiteY0" fmla="*/ 11830 h 32977"/>
                <a:gd name="connsiteX1" fmla="*/ 6546 w 25264"/>
                <a:gd name="connsiteY1" fmla="*/ 11736 h 32977"/>
                <a:gd name="connsiteX2" fmla="*/ 6499 w 25264"/>
                <a:gd name="connsiteY2" fmla="*/ 13373 h 32977"/>
                <a:gd name="connsiteX3" fmla="*/ 6032 w 25264"/>
                <a:gd name="connsiteY3" fmla="*/ 20012 h 32977"/>
                <a:gd name="connsiteX4" fmla="*/ 18376 w 25264"/>
                <a:gd name="connsiteY4" fmla="*/ 21789 h 32977"/>
                <a:gd name="connsiteX5" fmla="*/ 12999 w 25264"/>
                <a:gd name="connsiteY5" fmla="*/ 32964 h 32977"/>
                <a:gd name="connsiteX6" fmla="*/ 24875 w 25264"/>
                <a:gd name="connsiteY6" fmla="*/ 23051 h 32977"/>
                <a:gd name="connsiteX7" fmla="*/ 0 w 25264"/>
                <a:gd name="connsiteY7" fmla="*/ 0 h 32977"/>
                <a:gd name="connsiteX8" fmla="*/ 9351 w 25264"/>
                <a:gd name="connsiteY8" fmla="*/ 11830 h 32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264" h="32977">
                  <a:moveTo>
                    <a:pt x="9351" y="11830"/>
                  </a:moveTo>
                  <a:cubicBezTo>
                    <a:pt x="8183" y="11736"/>
                    <a:pt x="7435" y="11736"/>
                    <a:pt x="6546" y="11736"/>
                  </a:cubicBezTo>
                  <a:cubicBezTo>
                    <a:pt x="6546" y="12297"/>
                    <a:pt x="6686" y="12765"/>
                    <a:pt x="6499" y="13373"/>
                  </a:cubicBezTo>
                  <a:cubicBezTo>
                    <a:pt x="6359" y="15617"/>
                    <a:pt x="6219" y="17815"/>
                    <a:pt x="6032" y="20012"/>
                  </a:cubicBezTo>
                  <a:cubicBezTo>
                    <a:pt x="10427" y="18890"/>
                    <a:pt x="15617" y="16833"/>
                    <a:pt x="18376" y="21789"/>
                  </a:cubicBezTo>
                  <a:cubicBezTo>
                    <a:pt x="21368" y="27073"/>
                    <a:pt x="15570" y="29551"/>
                    <a:pt x="12999" y="32964"/>
                  </a:cubicBezTo>
                  <a:cubicBezTo>
                    <a:pt x="20199" y="33291"/>
                    <a:pt x="26979" y="27587"/>
                    <a:pt x="24875" y="23051"/>
                  </a:cubicBezTo>
                  <a:cubicBezTo>
                    <a:pt x="20059" y="12671"/>
                    <a:pt x="13560" y="1870"/>
                    <a:pt x="0" y="0"/>
                  </a:cubicBezTo>
                  <a:cubicBezTo>
                    <a:pt x="5845" y="1777"/>
                    <a:pt x="10147" y="4769"/>
                    <a:pt x="9351" y="1183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2358D9BE-F084-153D-B03F-825497BA5B25}"/>
                </a:ext>
              </a:extLst>
            </p:cNvPr>
            <p:cNvSpPr/>
            <p:nvPr/>
          </p:nvSpPr>
          <p:spPr>
            <a:xfrm flipH="1">
              <a:off x="2307235" y="8811832"/>
              <a:ext cx="9456" cy="11876"/>
            </a:xfrm>
            <a:custGeom>
              <a:avLst/>
              <a:gdLst>
                <a:gd name="connsiteX0" fmla="*/ 6546 w 9456"/>
                <a:gd name="connsiteY0" fmla="*/ 11783 h 11876"/>
                <a:gd name="connsiteX1" fmla="*/ 9351 w 9456"/>
                <a:gd name="connsiteY1" fmla="*/ 11876 h 11876"/>
                <a:gd name="connsiteX2" fmla="*/ 0 w 9456"/>
                <a:gd name="connsiteY2" fmla="*/ 0 h 11876"/>
                <a:gd name="connsiteX3" fmla="*/ 6499 w 9456"/>
                <a:gd name="connsiteY3" fmla="*/ 11783 h 118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456" h="11876">
                  <a:moveTo>
                    <a:pt x="6546" y="11783"/>
                  </a:moveTo>
                  <a:cubicBezTo>
                    <a:pt x="7434" y="11783"/>
                    <a:pt x="8229" y="11736"/>
                    <a:pt x="9351" y="11876"/>
                  </a:cubicBezTo>
                  <a:cubicBezTo>
                    <a:pt x="10193" y="4816"/>
                    <a:pt x="5891" y="1824"/>
                    <a:pt x="0" y="0"/>
                  </a:cubicBezTo>
                  <a:cubicBezTo>
                    <a:pt x="2899" y="3554"/>
                    <a:pt x="6873" y="6640"/>
                    <a:pt x="6499" y="11783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1D5AD57E-85C3-901E-355D-5D3D1A90ED3B}"/>
                </a:ext>
              </a:extLst>
            </p:cNvPr>
            <p:cNvSpPr/>
            <p:nvPr/>
          </p:nvSpPr>
          <p:spPr>
            <a:xfrm flipH="1">
              <a:off x="2303693" y="8832873"/>
              <a:ext cx="13325" cy="12063"/>
            </a:xfrm>
            <a:custGeom>
              <a:avLst/>
              <a:gdLst>
                <a:gd name="connsiteX0" fmla="*/ 5330 w 13325"/>
                <a:gd name="connsiteY0" fmla="*/ 0 h 12063"/>
                <a:gd name="connsiteX1" fmla="*/ 3273 w 13325"/>
                <a:gd name="connsiteY1" fmla="*/ 1870 h 12063"/>
                <a:gd name="connsiteX2" fmla="*/ 4021 w 13325"/>
                <a:gd name="connsiteY2" fmla="*/ 4115 h 12063"/>
                <a:gd name="connsiteX3" fmla="*/ 0 w 13325"/>
                <a:gd name="connsiteY3" fmla="*/ 12063 h 12063"/>
                <a:gd name="connsiteX4" fmla="*/ 13326 w 13325"/>
                <a:gd name="connsiteY4" fmla="*/ 11970 h 12063"/>
                <a:gd name="connsiteX5" fmla="*/ 5330 w 13325"/>
                <a:gd name="connsiteY5" fmla="*/ 0 h 120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3325" h="12063">
                  <a:moveTo>
                    <a:pt x="5330" y="0"/>
                  </a:moveTo>
                  <a:cubicBezTo>
                    <a:pt x="4676" y="608"/>
                    <a:pt x="3974" y="1262"/>
                    <a:pt x="3273" y="1870"/>
                  </a:cubicBezTo>
                  <a:cubicBezTo>
                    <a:pt x="3600" y="2665"/>
                    <a:pt x="3881" y="3460"/>
                    <a:pt x="4021" y="4115"/>
                  </a:cubicBezTo>
                  <a:cubicBezTo>
                    <a:pt x="4208" y="7528"/>
                    <a:pt x="3881" y="10754"/>
                    <a:pt x="0" y="12063"/>
                  </a:cubicBezTo>
                  <a:cubicBezTo>
                    <a:pt x="4442" y="12063"/>
                    <a:pt x="8884" y="12017"/>
                    <a:pt x="13326" y="11970"/>
                  </a:cubicBezTo>
                  <a:cubicBezTo>
                    <a:pt x="12017" y="7060"/>
                    <a:pt x="9351" y="3086"/>
                    <a:pt x="5330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723A294D-8A4E-7954-8365-1890BD6134B9}"/>
                </a:ext>
              </a:extLst>
            </p:cNvPr>
            <p:cNvSpPr/>
            <p:nvPr/>
          </p:nvSpPr>
          <p:spPr>
            <a:xfrm flipH="1">
              <a:off x="2312957" y="8834743"/>
              <a:ext cx="4061" cy="10239"/>
            </a:xfrm>
            <a:custGeom>
              <a:avLst/>
              <a:gdLst>
                <a:gd name="connsiteX0" fmla="*/ 4021 w 4061"/>
                <a:gd name="connsiteY0" fmla="*/ 2244 h 10239"/>
                <a:gd name="connsiteX1" fmla="*/ 3273 w 4061"/>
                <a:gd name="connsiteY1" fmla="*/ 0 h 10239"/>
                <a:gd name="connsiteX2" fmla="*/ 0 w 4061"/>
                <a:gd name="connsiteY2" fmla="*/ 2992 h 10239"/>
                <a:gd name="connsiteX3" fmla="*/ 0 w 4061"/>
                <a:gd name="connsiteY3" fmla="*/ 10240 h 10239"/>
                <a:gd name="connsiteX4" fmla="*/ 4021 w 4061"/>
                <a:gd name="connsiteY4" fmla="*/ 2291 h 1023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061" h="10239">
                  <a:moveTo>
                    <a:pt x="4021" y="2244"/>
                  </a:moveTo>
                  <a:cubicBezTo>
                    <a:pt x="3881" y="1543"/>
                    <a:pt x="3600" y="795"/>
                    <a:pt x="3273" y="0"/>
                  </a:cubicBezTo>
                  <a:cubicBezTo>
                    <a:pt x="2197" y="982"/>
                    <a:pt x="1075" y="1964"/>
                    <a:pt x="0" y="2992"/>
                  </a:cubicBezTo>
                  <a:cubicBezTo>
                    <a:pt x="0" y="5377"/>
                    <a:pt x="0" y="7809"/>
                    <a:pt x="0" y="10240"/>
                  </a:cubicBezTo>
                  <a:cubicBezTo>
                    <a:pt x="3881" y="8884"/>
                    <a:pt x="4208" y="5704"/>
                    <a:pt x="4021" y="2291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B8E92D4A-27FE-DBE1-9400-A3CF22738105}"/>
                </a:ext>
              </a:extLst>
            </p:cNvPr>
            <p:cNvSpPr/>
            <p:nvPr/>
          </p:nvSpPr>
          <p:spPr>
            <a:xfrm flipH="1">
              <a:off x="2297479" y="8830522"/>
              <a:ext cx="14209" cy="14320"/>
            </a:xfrm>
            <a:custGeom>
              <a:avLst/>
              <a:gdLst>
                <a:gd name="connsiteX0" fmla="*/ 13419 w 14209"/>
                <a:gd name="connsiteY0" fmla="*/ 3146 h 14320"/>
                <a:gd name="connsiteX1" fmla="*/ 1029 w 14209"/>
                <a:gd name="connsiteY1" fmla="*/ 1416 h 14320"/>
                <a:gd name="connsiteX2" fmla="*/ 0 w 14209"/>
                <a:gd name="connsiteY2" fmla="*/ 2351 h 14320"/>
                <a:gd name="connsiteX3" fmla="*/ 7996 w 14209"/>
                <a:gd name="connsiteY3" fmla="*/ 14321 h 14320"/>
                <a:gd name="connsiteX4" fmla="*/ 13373 w 14209"/>
                <a:gd name="connsiteY4" fmla="*/ 3146 h 1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4209" h="14320">
                  <a:moveTo>
                    <a:pt x="13419" y="3146"/>
                  </a:moveTo>
                  <a:cubicBezTo>
                    <a:pt x="10614" y="-1764"/>
                    <a:pt x="5471" y="247"/>
                    <a:pt x="1029" y="1416"/>
                  </a:cubicBezTo>
                  <a:cubicBezTo>
                    <a:pt x="701" y="1743"/>
                    <a:pt x="327" y="2023"/>
                    <a:pt x="0" y="2351"/>
                  </a:cubicBezTo>
                  <a:cubicBezTo>
                    <a:pt x="4021" y="5437"/>
                    <a:pt x="6687" y="9411"/>
                    <a:pt x="7996" y="14321"/>
                  </a:cubicBezTo>
                  <a:cubicBezTo>
                    <a:pt x="10567" y="10907"/>
                    <a:pt x="16365" y="8429"/>
                    <a:pt x="13373" y="3146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CBAF1722-9036-92DA-AAC1-76BB040828E0}"/>
                </a:ext>
              </a:extLst>
            </p:cNvPr>
            <p:cNvSpPr/>
            <p:nvPr/>
          </p:nvSpPr>
          <p:spPr>
            <a:xfrm flipH="1">
              <a:off x="2129007" y="9008821"/>
              <a:ext cx="15336" cy="29363"/>
            </a:xfrm>
            <a:custGeom>
              <a:avLst/>
              <a:gdLst>
                <a:gd name="connsiteX0" fmla="*/ 15336 w 15336"/>
                <a:gd name="connsiteY0" fmla="*/ 29364 h 29363"/>
                <a:gd name="connsiteX1" fmla="*/ 0 w 15336"/>
                <a:gd name="connsiteY1" fmla="*/ 0 h 29363"/>
                <a:gd name="connsiteX2" fmla="*/ 15336 w 15336"/>
                <a:gd name="connsiteY2" fmla="*/ 29364 h 2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336" h="29363">
                  <a:moveTo>
                    <a:pt x="15336" y="29364"/>
                  </a:moveTo>
                  <a:cubicBezTo>
                    <a:pt x="10427" y="19498"/>
                    <a:pt x="13934" y="5143"/>
                    <a:pt x="0" y="0"/>
                  </a:cubicBezTo>
                  <a:cubicBezTo>
                    <a:pt x="7995" y="8276"/>
                    <a:pt x="7014" y="21228"/>
                    <a:pt x="15336" y="29364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C43E0DC5-2E1D-A849-BBD1-840FD5B2DB34}"/>
                </a:ext>
              </a:extLst>
            </p:cNvPr>
            <p:cNvSpPr/>
            <p:nvPr/>
          </p:nvSpPr>
          <p:spPr>
            <a:xfrm flipH="1">
              <a:off x="2129007" y="9008821"/>
              <a:ext cx="15336" cy="29363"/>
            </a:xfrm>
            <a:custGeom>
              <a:avLst/>
              <a:gdLst>
                <a:gd name="connsiteX0" fmla="*/ 15336 w 15336"/>
                <a:gd name="connsiteY0" fmla="*/ 29364 h 29363"/>
                <a:gd name="connsiteX1" fmla="*/ 0 w 15336"/>
                <a:gd name="connsiteY1" fmla="*/ 0 h 29363"/>
                <a:gd name="connsiteX2" fmla="*/ 15336 w 15336"/>
                <a:gd name="connsiteY2" fmla="*/ 29364 h 29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336" h="29363">
                  <a:moveTo>
                    <a:pt x="15336" y="29364"/>
                  </a:moveTo>
                  <a:cubicBezTo>
                    <a:pt x="7014" y="21228"/>
                    <a:pt x="7995" y="8276"/>
                    <a:pt x="0" y="0"/>
                  </a:cubicBezTo>
                  <a:cubicBezTo>
                    <a:pt x="2525" y="11128"/>
                    <a:pt x="2338" y="23706"/>
                    <a:pt x="15336" y="29364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EE00C50C-408E-D681-F373-B39CCF57915F}"/>
                </a:ext>
              </a:extLst>
            </p:cNvPr>
            <p:cNvSpPr/>
            <p:nvPr/>
          </p:nvSpPr>
          <p:spPr>
            <a:xfrm flipH="1">
              <a:off x="4060697" y="12412154"/>
              <a:ext cx="6691" cy="13232"/>
            </a:xfrm>
            <a:custGeom>
              <a:avLst/>
              <a:gdLst>
                <a:gd name="connsiteX0" fmla="*/ 1080 w 6691"/>
                <a:gd name="connsiteY0" fmla="*/ 13232 h 13232"/>
                <a:gd name="connsiteX1" fmla="*/ 6691 w 6691"/>
                <a:gd name="connsiteY1" fmla="*/ 0 h 13232"/>
                <a:gd name="connsiteX2" fmla="*/ 1080 w 6691"/>
                <a:gd name="connsiteY2" fmla="*/ 13232 h 132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91" h="13232">
                  <a:moveTo>
                    <a:pt x="1080" y="13232"/>
                  </a:moveTo>
                  <a:cubicBezTo>
                    <a:pt x="5663" y="9959"/>
                    <a:pt x="5663" y="4769"/>
                    <a:pt x="6691" y="0"/>
                  </a:cubicBezTo>
                  <a:cubicBezTo>
                    <a:pt x="1080" y="2805"/>
                    <a:pt x="-1678" y="6873"/>
                    <a:pt x="1080" y="1323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8D4683A5-AE10-DA46-7B97-FFE8087D99DF}"/>
                </a:ext>
              </a:extLst>
            </p:cNvPr>
            <p:cNvSpPr/>
            <p:nvPr/>
          </p:nvSpPr>
          <p:spPr>
            <a:xfrm flipH="1">
              <a:off x="4056547" y="12412154"/>
              <a:ext cx="9807" cy="15781"/>
            </a:xfrm>
            <a:custGeom>
              <a:avLst/>
              <a:gdLst>
                <a:gd name="connsiteX0" fmla="*/ 7621 w 9807"/>
                <a:gd name="connsiteY0" fmla="*/ 15617 h 15781"/>
                <a:gd name="connsiteX1" fmla="*/ 5658 w 9807"/>
                <a:gd name="connsiteY1" fmla="*/ 0 h 15781"/>
                <a:gd name="connsiteX2" fmla="*/ 0 w 9807"/>
                <a:gd name="connsiteY2" fmla="*/ 13232 h 15781"/>
                <a:gd name="connsiteX3" fmla="*/ 7621 w 9807"/>
                <a:gd name="connsiteY3" fmla="*/ 15617 h 157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807" h="15781">
                  <a:moveTo>
                    <a:pt x="7621" y="15617"/>
                  </a:moveTo>
                  <a:cubicBezTo>
                    <a:pt x="12625" y="10053"/>
                    <a:pt x="7762" y="5096"/>
                    <a:pt x="5658" y="0"/>
                  </a:cubicBezTo>
                  <a:cubicBezTo>
                    <a:pt x="4582" y="4769"/>
                    <a:pt x="4629" y="9959"/>
                    <a:pt x="0" y="13232"/>
                  </a:cubicBezTo>
                  <a:cubicBezTo>
                    <a:pt x="2619" y="14121"/>
                    <a:pt x="6873" y="16412"/>
                    <a:pt x="7621" y="15617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2F0520A4-B54A-C1FC-A40D-2C2F20DEF965}"/>
                </a:ext>
              </a:extLst>
            </p:cNvPr>
            <p:cNvSpPr/>
            <p:nvPr/>
          </p:nvSpPr>
          <p:spPr>
            <a:xfrm flipH="1">
              <a:off x="3943242" y="12615456"/>
              <a:ext cx="8121" cy="6733"/>
            </a:xfrm>
            <a:custGeom>
              <a:avLst/>
              <a:gdLst>
                <a:gd name="connsiteX0" fmla="*/ 8121 w 8121"/>
                <a:gd name="connsiteY0" fmla="*/ 6733 h 6733"/>
                <a:gd name="connsiteX1" fmla="*/ 3305 w 8121"/>
                <a:gd name="connsiteY1" fmla="*/ 0 h 6733"/>
                <a:gd name="connsiteX2" fmla="*/ 8121 w 8121"/>
                <a:gd name="connsiteY2" fmla="*/ 6733 h 67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8121" h="6733">
                  <a:moveTo>
                    <a:pt x="8121" y="6733"/>
                  </a:moveTo>
                  <a:cubicBezTo>
                    <a:pt x="7794" y="3881"/>
                    <a:pt x="5269" y="2104"/>
                    <a:pt x="3305" y="0"/>
                  </a:cubicBezTo>
                  <a:cubicBezTo>
                    <a:pt x="-5345" y="7247"/>
                    <a:pt x="5409" y="5003"/>
                    <a:pt x="8121" y="6733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16C7EC69-1964-1CE5-EC76-03C065743F16}"/>
                </a:ext>
              </a:extLst>
            </p:cNvPr>
            <p:cNvSpPr/>
            <p:nvPr/>
          </p:nvSpPr>
          <p:spPr>
            <a:xfrm flipH="1">
              <a:off x="3943188" y="12615456"/>
              <a:ext cx="19411" cy="10873"/>
            </a:xfrm>
            <a:custGeom>
              <a:avLst/>
              <a:gdLst>
                <a:gd name="connsiteX0" fmla="*/ 0 w 19411"/>
                <a:gd name="connsiteY0" fmla="*/ 10848 h 10873"/>
                <a:gd name="connsiteX1" fmla="*/ 19124 w 19411"/>
                <a:gd name="connsiteY1" fmla="*/ 9445 h 10873"/>
                <a:gd name="connsiteX2" fmla="*/ 19358 w 19411"/>
                <a:gd name="connsiteY2" fmla="*/ 6733 h 10873"/>
                <a:gd name="connsiteX3" fmla="*/ 14542 w 19411"/>
                <a:gd name="connsiteY3" fmla="*/ 0 h 10873"/>
                <a:gd name="connsiteX4" fmla="*/ 0 w 19411"/>
                <a:gd name="connsiteY4" fmla="*/ 10848 h 1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11" h="10873">
                  <a:moveTo>
                    <a:pt x="0" y="10848"/>
                  </a:moveTo>
                  <a:cubicBezTo>
                    <a:pt x="6640" y="11315"/>
                    <a:pt x="12671" y="5284"/>
                    <a:pt x="19124" y="9445"/>
                  </a:cubicBezTo>
                  <a:cubicBezTo>
                    <a:pt x="19451" y="8416"/>
                    <a:pt x="19451" y="7575"/>
                    <a:pt x="19358" y="6733"/>
                  </a:cubicBezTo>
                  <a:cubicBezTo>
                    <a:pt x="16646" y="5050"/>
                    <a:pt x="5891" y="7294"/>
                    <a:pt x="14542" y="0"/>
                  </a:cubicBezTo>
                  <a:cubicBezTo>
                    <a:pt x="8557" y="1730"/>
                    <a:pt x="2572" y="3413"/>
                    <a:pt x="0" y="10848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73302A5B-65D4-0B0A-F869-4D5E4C90BAC4}"/>
                </a:ext>
              </a:extLst>
            </p:cNvPr>
            <p:cNvSpPr/>
            <p:nvPr/>
          </p:nvSpPr>
          <p:spPr>
            <a:xfrm flipH="1">
              <a:off x="2152320" y="9044403"/>
              <a:ext cx="4227" cy="13746"/>
            </a:xfrm>
            <a:custGeom>
              <a:avLst/>
              <a:gdLst>
                <a:gd name="connsiteX0" fmla="*/ 0 w 4227"/>
                <a:gd name="connsiteY0" fmla="*/ 0 h 13746"/>
                <a:gd name="connsiteX1" fmla="*/ 1075 w 4227"/>
                <a:gd name="connsiteY1" fmla="*/ 13747 h 13746"/>
                <a:gd name="connsiteX2" fmla="*/ 0 w 4227"/>
                <a:gd name="connsiteY2" fmla="*/ 0 h 13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227" h="13746">
                  <a:moveTo>
                    <a:pt x="0" y="0"/>
                  </a:moveTo>
                  <a:cubicBezTo>
                    <a:pt x="374" y="4582"/>
                    <a:pt x="701" y="9164"/>
                    <a:pt x="1075" y="13747"/>
                  </a:cubicBezTo>
                  <a:cubicBezTo>
                    <a:pt x="6499" y="8697"/>
                    <a:pt x="4114" y="4302"/>
                    <a:pt x="0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158576F8-CAF4-66C5-F3CE-B30F21406623}"/>
                </a:ext>
              </a:extLst>
            </p:cNvPr>
            <p:cNvSpPr/>
            <p:nvPr/>
          </p:nvSpPr>
          <p:spPr>
            <a:xfrm flipH="1">
              <a:off x="2142800" y="9044356"/>
              <a:ext cx="13700" cy="13746"/>
            </a:xfrm>
            <a:custGeom>
              <a:avLst/>
              <a:gdLst>
                <a:gd name="connsiteX0" fmla="*/ 13700 w 13700"/>
                <a:gd name="connsiteY0" fmla="*/ 8603 h 13746"/>
                <a:gd name="connsiteX1" fmla="*/ 0 w 13700"/>
                <a:gd name="connsiteY1" fmla="*/ 0 h 13746"/>
                <a:gd name="connsiteX2" fmla="*/ 1076 w 13700"/>
                <a:gd name="connsiteY2" fmla="*/ 13747 h 13746"/>
                <a:gd name="connsiteX3" fmla="*/ 13700 w 13700"/>
                <a:gd name="connsiteY3" fmla="*/ 8603 h 13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00" h="13746">
                  <a:moveTo>
                    <a:pt x="13700" y="8603"/>
                  </a:moveTo>
                  <a:cubicBezTo>
                    <a:pt x="13794" y="1637"/>
                    <a:pt x="4816" y="2759"/>
                    <a:pt x="0" y="0"/>
                  </a:cubicBezTo>
                  <a:cubicBezTo>
                    <a:pt x="4068" y="4302"/>
                    <a:pt x="6499" y="8697"/>
                    <a:pt x="1076" y="13747"/>
                  </a:cubicBezTo>
                  <a:cubicBezTo>
                    <a:pt x="4956" y="10754"/>
                    <a:pt x="13607" y="14635"/>
                    <a:pt x="13700" y="8603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F112916E-0715-0373-F442-5D77B3CDC446}"/>
                </a:ext>
              </a:extLst>
            </p:cNvPr>
            <p:cNvSpPr/>
            <p:nvPr/>
          </p:nvSpPr>
          <p:spPr>
            <a:xfrm flipH="1">
              <a:off x="4145773" y="12223207"/>
              <a:ext cx="7755" cy="13185"/>
            </a:xfrm>
            <a:custGeom>
              <a:avLst/>
              <a:gdLst>
                <a:gd name="connsiteX0" fmla="*/ 7640 w 7755"/>
                <a:gd name="connsiteY0" fmla="*/ 13186 h 13185"/>
                <a:gd name="connsiteX1" fmla="*/ 7640 w 7755"/>
                <a:gd name="connsiteY1" fmla="*/ 13186 h 13185"/>
                <a:gd name="connsiteX2" fmla="*/ 206 w 7755"/>
                <a:gd name="connsiteY2" fmla="*/ 0 h 13185"/>
                <a:gd name="connsiteX3" fmla="*/ 7640 w 7755"/>
                <a:gd name="connsiteY3" fmla="*/ 13186 h 1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755" h="13185">
                  <a:moveTo>
                    <a:pt x="7640" y="13186"/>
                  </a:moveTo>
                  <a:lnTo>
                    <a:pt x="7640" y="13186"/>
                  </a:lnTo>
                  <a:cubicBezTo>
                    <a:pt x="8715" y="6780"/>
                    <a:pt x="1982" y="4769"/>
                    <a:pt x="206" y="0"/>
                  </a:cubicBezTo>
                  <a:cubicBezTo>
                    <a:pt x="-1104" y="6546"/>
                    <a:pt x="4133" y="9398"/>
                    <a:pt x="7640" y="13186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73E45622-DDEA-10BD-1096-578320264A83}"/>
                </a:ext>
              </a:extLst>
            </p:cNvPr>
            <p:cNvSpPr/>
            <p:nvPr/>
          </p:nvSpPr>
          <p:spPr>
            <a:xfrm flipH="1">
              <a:off x="4142949" y="12223207"/>
              <a:ext cx="10374" cy="13185"/>
            </a:xfrm>
            <a:custGeom>
              <a:avLst/>
              <a:gdLst>
                <a:gd name="connsiteX0" fmla="*/ 0 w 10374"/>
                <a:gd name="connsiteY0" fmla="*/ 0 h 13185"/>
                <a:gd name="connsiteX1" fmla="*/ 7434 w 10374"/>
                <a:gd name="connsiteY1" fmla="*/ 13186 h 13185"/>
                <a:gd name="connsiteX2" fmla="*/ 0 w 10374"/>
                <a:gd name="connsiteY2" fmla="*/ 0 h 1318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374" h="13185">
                  <a:moveTo>
                    <a:pt x="0" y="0"/>
                  </a:moveTo>
                  <a:cubicBezTo>
                    <a:pt x="1777" y="4769"/>
                    <a:pt x="8510" y="6780"/>
                    <a:pt x="7434" y="13186"/>
                  </a:cubicBezTo>
                  <a:cubicBezTo>
                    <a:pt x="15243" y="2993"/>
                    <a:pt x="5658" y="2572"/>
                    <a:pt x="0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12671E3E-BB05-6686-AFDA-6A805D8DAEF6}"/>
                </a:ext>
              </a:extLst>
            </p:cNvPr>
            <p:cNvSpPr/>
            <p:nvPr/>
          </p:nvSpPr>
          <p:spPr>
            <a:xfrm flipH="1">
              <a:off x="3643294" y="12397510"/>
              <a:ext cx="15990" cy="4621"/>
            </a:xfrm>
            <a:custGeom>
              <a:avLst/>
              <a:gdLst>
                <a:gd name="connsiteX0" fmla="*/ 15991 w 15990"/>
                <a:gd name="connsiteY0" fmla="*/ 1692 h 4621"/>
                <a:gd name="connsiteX1" fmla="*/ 0 w 15990"/>
                <a:gd name="connsiteY1" fmla="*/ 2020 h 4621"/>
                <a:gd name="connsiteX2" fmla="*/ 15991 w 15990"/>
                <a:gd name="connsiteY2" fmla="*/ 1692 h 4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990" h="4621">
                  <a:moveTo>
                    <a:pt x="15991" y="1692"/>
                  </a:moveTo>
                  <a:cubicBezTo>
                    <a:pt x="10567" y="-2142"/>
                    <a:pt x="5330" y="1692"/>
                    <a:pt x="0" y="2020"/>
                  </a:cubicBezTo>
                  <a:cubicBezTo>
                    <a:pt x="5471" y="8753"/>
                    <a:pt x="10614" y="102"/>
                    <a:pt x="15991" y="169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7878A4FB-310B-0414-106F-278BCE79F601}"/>
                </a:ext>
              </a:extLst>
            </p:cNvPr>
            <p:cNvSpPr/>
            <p:nvPr/>
          </p:nvSpPr>
          <p:spPr>
            <a:xfrm flipH="1">
              <a:off x="3643247" y="12399014"/>
              <a:ext cx="16037" cy="7281"/>
            </a:xfrm>
            <a:custGeom>
              <a:avLst/>
              <a:gdLst>
                <a:gd name="connsiteX0" fmla="*/ 15991 w 16037"/>
                <a:gd name="connsiteY0" fmla="*/ 188 h 7281"/>
                <a:gd name="connsiteX1" fmla="*/ 0 w 16037"/>
                <a:gd name="connsiteY1" fmla="*/ 516 h 7281"/>
                <a:gd name="connsiteX2" fmla="*/ 0 w 16037"/>
                <a:gd name="connsiteY2" fmla="*/ 516 h 7281"/>
                <a:gd name="connsiteX3" fmla="*/ 16038 w 16037"/>
                <a:gd name="connsiteY3" fmla="*/ 188 h 72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037" h="7281">
                  <a:moveTo>
                    <a:pt x="15991" y="188"/>
                  </a:moveTo>
                  <a:cubicBezTo>
                    <a:pt x="10614" y="-1355"/>
                    <a:pt x="5471" y="7296"/>
                    <a:pt x="0" y="516"/>
                  </a:cubicBezTo>
                  <a:lnTo>
                    <a:pt x="0" y="516"/>
                  </a:lnTo>
                  <a:cubicBezTo>
                    <a:pt x="5564" y="12065"/>
                    <a:pt x="10801" y="6688"/>
                    <a:pt x="16038" y="188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5D33BEFC-3FB7-FDCE-0360-E080B56BB15B}"/>
                </a:ext>
              </a:extLst>
            </p:cNvPr>
            <p:cNvSpPr/>
            <p:nvPr/>
          </p:nvSpPr>
          <p:spPr>
            <a:xfrm flipH="1">
              <a:off x="3862633" y="12490052"/>
              <a:ext cx="33244" cy="18865"/>
            </a:xfrm>
            <a:custGeom>
              <a:avLst/>
              <a:gdLst>
                <a:gd name="connsiteX0" fmla="*/ 0 w 33244"/>
                <a:gd name="connsiteY0" fmla="*/ 2618 h 18865"/>
                <a:gd name="connsiteX1" fmla="*/ 33244 w 33244"/>
                <a:gd name="connsiteY1" fmla="*/ 18236 h 18865"/>
                <a:gd name="connsiteX2" fmla="*/ 9538 w 33244"/>
                <a:gd name="connsiteY2" fmla="*/ 0 h 18865"/>
                <a:gd name="connsiteX3" fmla="*/ 0 w 33244"/>
                <a:gd name="connsiteY3" fmla="*/ 2572 h 188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3244" h="18865">
                  <a:moveTo>
                    <a:pt x="0" y="2618"/>
                  </a:moveTo>
                  <a:cubicBezTo>
                    <a:pt x="7808" y="11081"/>
                    <a:pt x="14495" y="21555"/>
                    <a:pt x="33244" y="18236"/>
                  </a:cubicBezTo>
                  <a:cubicBezTo>
                    <a:pt x="23332" y="10614"/>
                    <a:pt x="16459" y="5330"/>
                    <a:pt x="9538" y="0"/>
                  </a:cubicBezTo>
                  <a:cubicBezTo>
                    <a:pt x="7902" y="6546"/>
                    <a:pt x="3647" y="3460"/>
                    <a:pt x="0" y="257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4ACB6DD7-EC6B-5E99-214F-0E2A7C900392}"/>
                </a:ext>
              </a:extLst>
            </p:cNvPr>
            <p:cNvSpPr/>
            <p:nvPr/>
          </p:nvSpPr>
          <p:spPr>
            <a:xfrm flipH="1">
              <a:off x="3886339" y="12490099"/>
              <a:ext cx="9538" cy="4060"/>
            </a:xfrm>
            <a:custGeom>
              <a:avLst/>
              <a:gdLst>
                <a:gd name="connsiteX0" fmla="*/ 9538 w 9538"/>
                <a:gd name="connsiteY0" fmla="*/ 0 h 4060"/>
                <a:gd name="connsiteX1" fmla="*/ 0 w 9538"/>
                <a:gd name="connsiteY1" fmla="*/ 2572 h 4060"/>
                <a:gd name="connsiteX2" fmla="*/ 9538 w 9538"/>
                <a:gd name="connsiteY2" fmla="*/ 0 h 40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38" h="4060">
                  <a:moveTo>
                    <a:pt x="9538" y="0"/>
                  </a:moveTo>
                  <a:cubicBezTo>
                    <a:pt x="6312" y="842"/>
                    <a:pt x="3179" y="1683"/>
                    <a:pt x="0" y="2572"/>
                  </a:cubicBezTo>
                  <a:cubicBezTo>
                    <a:pt x="3647" y="3413"/>
                    <a:pt x="7902" y="6546"/>
                    <a:pt x="9538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B3CEB91F-85F3-8924-9F19-8FC7759CC019}"/>
                </a:ext>
              </a:extLst>
            </p:cNvPr>
            <p:cNvSpPr/>
            <p:nvPr/>
          </p:nvSpPr>
          <p:spPr>
            <a:xfrm flipH="1">
              <a:off x="3991294" y="12475176"/>
              <a:ext cx="9074" cy="6818"/>
            </a:xfrm>
            <a:custGeom>
              <a:avLst/>
              <a:gdLst>
                <a:gd name="connsiteX0" fmla="*/ 7797 w 9074"/>
                <a:gd name="connsiteY0" fmla="*/ 1597 h 6818"/>
                <a:gd name="connsiteX1" fmla="*/ 1999 w 9074"/>
                <a:gd name="connsiteY1" fmla="*/ 101 h 6818"/>
                <a:gd name="connsiteX2" fmla="*/ 1625 w 9074"/>
                <a:gd name="connsiteY2" fmla="*/ 5665 h 6818"/>
                <a:gd name="connsiteX3" fmla="*/ 6956 w 9074"/>
                <a:gd name="connsiteY3" fmla="*/ 6694 h 6818"/>
                <a:gd name="connsiteX4" fmla="*/ 7797 w 9074"/>
                <a:gd name="connsiteY4" fmla="*/ 1644 h 6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074" h="6818">
                  <a:moveTo>
                    <a:pt x="7797" y="1597"/>
                  </a:moveTo>
                  <a:cubicBezTo>
                    <a:pt x="6395" y="428"/>
                    <a:pt x="3776" y="-273"/>
                    <a:pt x="1999" y="101"/>
                  </a:cubicBezTo>
                  <a:cubicBezTo>
                    <a:pt x="-1320" y="849"/>
                    <a:pt x="176" y="3140"/>
                    <a:pt x="1625" y="5665"/>
                  </a:cubicBezTo>
                  <a:cubicBezTo>
                    <a:pt x="3121" y="5993"/>
                    <a:pt x="5272" y="7208"/>
                    <a:pt x="6956" y="6694"/>
                  </a:cubicBezTo>
                  <a:cubicBezTo>
                    <a:pt x="9621" y="5899"/>
                    <a:pt x="9621" y="3140"/>
                    <a:pt x="7797" y="1644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E17D492E-598C-142C-67D8-9BEFCA66537B}"/>
                </a:ext>
              </a:extLst>
            </p:cNvPr>
            <p:cNvSpPr/>
            <p:nvPr/>
          </p:nvSpPr>
          <p:spPr>
            <a:xfrm flipH="1">
              <a:off x="2135762" y="8771059"/>
              <a:ext cx="21767" cy="20666"/>
            </a:xfrm>
            <a:custGeom>
              <a:avLst/>
              <a:gdLst>
                <a:gd name="connsiteX0" fmla="*/ 21602 w 21767"/>
                <a:gd name="connsiteY0" fmla="*/ 0 h 20666"/>
                <a:gd name="connsiteX1" fmla="*/ 0 w 21767"/>
                <a:gd name="connsiteY1" fmla="*/ 20667 h 20666"/>
                <a:gd name="connsiteX2" fmla="*/ 21602 w 21767"/>
                <a:gd name="connsiteY2" fmla="*/ 0 h 20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767" h="20666">
                  <a:moveTo>
                    <a:pt x="21602" y="0"/>
                  </a:moveTo>
                  <a:cubicBezTo>
                    <a:pt x="11689" y="2665"/>
                    <a:pt x="7014" y="8697"/>
                    <a:pt x="0" y="20667"/>
                  </a:cubicBezTo>
                  <a:cubicBezTo>
                    <a:pt x="14355" y="17066"/>
                    <a:pt x="23098" y="14916"/>
                    <a:pt x="21602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6CB1812A-64F5-96DA-9EE3-DF986F6BFA71}"/>
                </a:ext>
              </a:extLst>
            </p:cNvPr>
            <p:cNvSpPr/>
            <p:nvPr/>
          </p:nvSpPr>
          <p:spPr>
            <a:xfrm flipH="1">
              <a:off x="2164693" y="8780154"/>
              <a:ext cx="10846" cy="10346"/>
            </a:xfrm>
            <a:custGeom>
              <a:avLst/>
              <a:gdLst>
                <a:gd name="connsiteX0" fmla="*/ 9220 w 10846"/>
                <a:gd name="connsiteY0" fmla="*/ 8019 h 10346"/>
                <a:gd name="connsiteX1" fmla="*/ 7817 w 10846"/>
                <a:gd name="connsiteY1" fmla="*/ 444 h 10346"/>
                <a:gd name="connsiteX2" fmla="*/ 1598 w 10846"/>
                <a:gd name="connsiteY2" fmla="*/ 912 h 10346"/>
                <a:gd name="connsiteX3" fmla="*/ 1926 w 10846"/>
                <a:gd name="connsiteY3" fmla="*/ 8907 h 10346"/>
                <a:gd name="connsiteX4" fmla="*/ 9220 w 10846"/>
                <a:gd name="connsiteY4" fmla="*/ 7972 h 103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846" h="10346">
                  <a:moveTo>
                    <a:pt x="9220" y="8019"/>
                  </a:moveTo>
                  <a:cubicBezTo>
                    <a:pt x="11745" y="4559"/>
                    <a:pt x="11371" y="1707"/>
                    <a:pt x="7817" y="444"/>
                  </a:cubicBezTo>
                  <a:cubicBezTo>
                    <a:pt x="5947" y="-210"/>
                    <a:pt x="2767" y="-210"/>
                    <a:pt x="1598" y="912"/>
                  </a:cubicBezTo>
                  <a:cubicBezTo>
                    <a:pt x="-740" y="3156"/>
                    <a:pt x="-412" y="6616"/>
                    <a:pt x="1926" y="8907"/>
                  </a:cubicBezTo>
                  <a:cubicBezTo>
                    <a:pt x="4778" y="11759"/>
                    <a:pt x="7303" y="9796"/>
                    <a:pt x="9220" y="797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B91FE5F7-15CA-5B47-5DD3-D057ECE9F98B}"/>
                </a:ext>
              </a:extLst>
            </p:cNvPr>
            <p:cNvSpPr/>
            <p:nvPr/>
          </p:nvSpPr>
          <p:spPr>
            <a:xfrm flipH="1">
              <a:off x="2196057" y="8846872"/>
              <a:ext cx="9465" cy="12069"/>
            </a:xfrm>
            <a:custGeom>
              <a:avLst/>
              <a:gdLst>
                <a:gd name="connsiteX0" fmla="*/ 7361 w 9465"/>
                <a:gd name="connsiteY0" fmla="*/ 9519 h 12069"/>
                <a:gd name="connsiteX1" fmla="*/ 9465 w 9465"/>
                <a:gd name="connsiteY1" fmla="*/ 3909 h 12069"/>
                <a:gd name="connsiteX2" fmla="*/ 1095 w 9465"/>
                <a:gd name="connsiteY2" fmla="*/ 1524 h 12069"/>
                <a:gd name="connsiteX3" fmla="*/ 581 w 9465"/>
                <a:gd name="connsiteY3" fmla="*/ 9800 h 12069"/>
                <a:gd name="connsiteX4" fmla="*/ 7361 w 9465"/>
                <a:gd name="connsiteY4" fmla="*/ 9519 h 12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65" h="12069">
                  <a:moveTo>
                    <a:pt x="7361" y="9519"/>
                  </a:moveTo>
                  <a:cubicBezTo>
                    <a:pt x="8857" y="7041"/>
                    <a:pt x="9418" y="4002"/>
                    <a:pt x="9465" y="3909"/>
                  </a:cubicBezTo>
                  <a:cubicBezTo>
                    <a:pt x="4602" y="-580"/>
                    <a:pt x="2077" y="-954"/>
                    <a:pt x="1095" y="1524"/>
                  </a:cubicBezTo>
                  <a:cubicBezTo>
                    <a:pt x="67" y="4049"/>
                    <a:pt x="-494" y="7649"/>
                    <a:pt x="581" y="9800"/>
                  </a:cubicBezTo>
                  <a:cubicBezTo>
                    <a:pt x="2171" y="13073"/>
                    <a:pt x="5537" y="12652"/>
                    <a:pt x="7361" y="9519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9C9DE142-F256-D62A-ED66-9CFE7B485BF1}"/>
                </a:ext>
              </a:extLst>
            </p:cNvPr>
            <p:cNvSpPr/>
            <p:nvPr/>
          </p:nvSpPr>
          <p:spPr>
            <a:xfrm flipH="1">
              <a:off x="2110364" y="8883885"/>
              <a:ext cx="9385" cy="13175"/>
            </a:xfrm>
            <a:custGeom>
              <a:avLst/>
              <a:gdLst>
                <a:gd name="connsiteX0" fmla="*/ 0 w 9385"/>
                <a:gd name="connsiteY0" fmla="*/ 9305 h 13175"/>
                <a:gd name="connsiteX1" fmla="*/ 8650 w 9385"/>
                <a:gd name="connsiteY1" fmla="*/ 10661 h 13175"/>
                <a:gd name="connsiteX2" fmla="*/ 2946 w 9385"/>
                <a:gd name="connsiteY2" fmla="*/ 0 h 13175"/>
                <a:gd name="connsiteX3" fmla="*/ 0 w 9385"/>
                <a:gd name="connsiteY3" fmla="*/ 9305 h 131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385" h="13175">
                  <a:moveTo>
                    <a:pt x="0" y="9305"/>
                  </a:moveTo>
                  <a:cubicBezTo>
                    <a:pt x="2618" y="11876"/>
                    <a:pt x="5938" y="15804"/>
                    <a:pt x="8650" y="10661"/>
                  </a:cubicBezTo>
                  <a:cubicBezTo>
                    <a:pt x="11222" y="5845"/>
                    <a:pt x="6499" y="2759"/>
                    <a:pt x="2946" y="0"/>
                  </a:cubicBezTo>
                  <a:cubicBezTo>
                    <a:pt x="3366" y="3554"/>
                    <a:pt x="5704" y="7715"/>
                    <a:pt x="0" y="9305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3A6740CE-8842-1A0C-61AC-22D28785A92A}"/>
                </a:ext>
              </a:extLst>
            </p:cNvPr>
            <p:cNvSpPr/>
            <p:nvPr/>
          </p:nvSpPr>
          <p:spPr>
            <a:xfrm flipH="1">
              <a:off x="2115951" y="8883885"/>
              <a:ext cx="3798" cy="9304"/>
            </a:xfrm>
            <a:custGeom>
              <a:avLst/>
              <a:gdLst>
                <a:gd name="connsiteX0" fmla="*/ 2992 w 3798"/>
                <a:gd name="connsiteY0" fmla="*/ 0 h 9304"/>
                <a:gd name="connsiteX1" fmla="*/ 0 w 3798"/>
                <a:gd name="connsiteY1" fmla="*/ 9305 h 9304"/>
                <a:gd name="connsiteX2" fmla="*/ 2992 w 3798"/>
                <a:gd name="connsiteY2" fmla="*/ 0 h 9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798" h="9304">
                  <a:moveTo>
                    <a:pt x="2992" y="0"/>
                  </a:moveTo>
                  <a:cubicBezTo>
                    <a:pt x="2011" y="3133"/>
                    <a:pt x="1029" y="6219"/>
                    <a:pt x="0" y="9305"/>
                  </a:cubicBezTo>
                  <a:cubicBezTo>
                    <a:pt x="5751" y="7668"/>
                    <a:pt x="3366" y="3507"/>
                    <a:pt x="2992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: Shape 118">
              <a:extLst>
                <a:ext uri="{FF2B5EF4-FFF2-40B4-BE49-F238E27FC236}">
                  <a16:creationId xmlns:a16="http://schemas.microsoft.com/office/drawing/2014/main" id="{C477F562-0CBD-596F-9B3B-2ABE476AF20C}"/>
                </a:ext>
              </a:extLst>
            </p:cNvPr>
            <p:cNvSpPr/>
            <p:nvPr/>
          </p:nvSpPr>
          <p:spPr>
            <a:xfrm flipH="1">
              <a:off x="3759602" y="12421132"/>
              <a:ext cx="13490" cy="12627"/>
            </a:xfrm>
            <a:custGeom>
              <a:avLst/>
              <a:gdLst>
                <a:gd name="connsiteX0" fmla="*/ 2198 w 13490"/>
                <a:gd name="connsiteY0" fmla="*/ 9913 h 12627"/>
                <a:gd name="connsiteX1" fmla="*/ 9866 w 13490"/>
                <a:gd name="connsiteY1" fmla="*/ 11830 h 12627"/>
                <a:gd name="connsiteX2" fmla="*/ 11783 w 13490"/>
                <a:gd name="connsiteY2" fmla="*/ 5330 h 12627"/>
                <a:gd name="connsiteX3" fmla="*/ 0 w 13490"/>
                <a:gd name="connsiteY3" fmla="*/ 0 h 12627"/>
                <a:gd name="connsiteX4" fmla="*/ 2198 w 13490"/>
                <a:gd name="connsiteY4" fmla="*/ 9913 h 126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490" h="12627">
                  <a:moveTo>
                    <a:pt x="2198" y="9913"/>
                  </a:moveTo>
                  <a:cubicBezTo>
                    <a:pt x="3741" y="13653"/>
                    <a:pt x="7154" y="12718"/>
                    <a:pt x="9866" y="11830"/>
                  </a:cubicBezTo>
                  <a:cubicBezTo>
                    <a:pt x="13186" y="10707"/>
                    <a:pt x="15056" y="7949"/>
                    <a:pt x="11783" y="5330"/>
                  </a:cubicBezTo>
                  <a:cubicBezTo>
                    <a:pt x="9071" y="3133"/>
                    <a:pt x="5284" y="2291"/>
                    <a:pt x="0" y="0"/>
                  </a:cubicBezTo>
                  <a:cubicBezTo>
                    <a:pt x="982" y="4629"/>
                    <a:pt x="1169" y="7435"/>
                    <a:pt x="2198" y="9913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Freeform: Shape 119">
              <a:extLst>
                <a:ext uri="{FF2B5EF4-FFF2-40B4-BE49-F238E27FC236}">
                  <a16:creationId xmlns:a16="http://schemas.microsoft.com/office/drawing/2014/main" id="{7CE3A0A1-7776-C136-CEE0-9AE91CDE07DB}"/>
                </a:ext>
              </a:extLst>
            </p:cNvPr>
            <p:cNvSpPr/>
            <p:nvPr/>
          </p:nvSpPr>
          <p:spPr>
            <a:xfrm flipH="1">
              <a:off x="3681339" y="12430688"/>
              <a:ext cx="12312" cy="6963"/>
            </a:xfrm>
            <a:custGeom>
              <a:avLst/>
              <a:gdLst>
                <a:gd name="connsiteX0" fmla="*/ 0 w 12312"/>
                <a:gd name="connsiteY0" fmla="*/ 169 h 6963"/>
                <a:gd name="connsiteX1" fmla="*/ 10006 w 12312"/>
                <a:gd name="connsiteY1" fmla="*/ 6902 h 6963"/>
                <a:gd name="connsiteX2" fmla="*/ 12297 w 12312"/>
                <a:gd name="connsiteY2" fmla="*/ 4284 h 6963"/>
                <a:gd name="connsiteX3" fmla="*/ 47 w 12312"/>
                <a:gd name="connsiteY3" fmla="*/ 169 h 69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312" h="6963">
                  <a:moveTo>
                    <a:pt x="0" y="169"/>
                  </a:moveTo>
                  <a:cubicBezTo>
                    <a:pt x="1917" y="5172"/>
                    <a:pt x="5143" y="7370"/>
                    <a:pt x="10006" y="6902"/>
                  </a:cubicBezTo>
                  <a:cubicBezTo>
                    <a:pt x="10894" y="6809"/>
                    <a:pt x="12484" y="4564"/>
                    <a:pt x="12297" y="4284"/>
                  </a:cubicBezTo>
                  <a:cubicBezTo>
                    <a:pt x="9632" y="122"/>
                    <a:pt x="5471" y="-345"/>
                    <a:pt x="47" y="169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Freeform: Shape 120">
              <a:extLst>
                <a:ext uri="{FF2B5EF4-FFF2-40B4-BE49-F238E27FC236}">
                  <a16:creationId xmlns:a16="http://schemas.microsoft.com/office/drawing/2014/main" id="{24F13262-8930-05BC-69A3-AA00BCA19F2D}"/>
                </a:ext>
              </a:extLst>
            </p:cNvPr>
            <p:cNvSpPr/>
            <p:nvPr/>
          </p:nvSpPr>
          <p:spPr>
            <a:xfrm flipH="1">
              <a:off x="2310192" y="8823661"/>
              <a:ext cx="6425" cy="9538"/>
            </a:xfrm>
            <a:custGeom>
              <a:avLst/>
              <a:gdLst>
                <a:gd name="connsiteX0" fmla="*/ 2170 w 6425"/>
                <a:gd name="connsiteY0" fmla="*/ 9492 h 9538"/>
                <a:gd name="connsiteX1" fmla="*/ 4368 w 6425"/>
                <a:gd name="connsiteY1" fmla="*/ 8510 h 9538"/>
                <a:gd name="connsiteX2" fmla="*/ 6425 w 6425"/>
                <a:gd name="connsiteY2" fmla="*/ 1637 h 9538"/>
                <a:gd name="connsiteX3" fmla="*/ 4181 w 6425"/>
                <a:gd name="connsiteY3" fmla="*/ 0 h 9538"/>
                <a:gd name="connsiteX4" fmla="*/ 2170 w 6425"/>
                <a:gd name="connsiteY4" fmla="*/ 9539 h 95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425" h="9538">
                  <a:moveTo>
                    <a:pt x="2170" y="9492"/>
                  </a:moveTo>
                  <a:cubicBezTo>
                    <a:pt x="2778" y="9024"/>
                    <a:pt x="3526" y="8697"/>
                    <a:pt x="4368" y="8510"/>
                  </a:cubicBezTo>
                  <a:cubicBezTo>
                    <a:pt x="2872" y="5611"/>
                    <a:pt x="2544" y="3039"/>
                    <a:pt x="6425" y="1637"/>
                  </a:cubicBezTo>
                  <a:cubicBezTo>
                    <a:pt x="5677" y="935"/>
                    <a:pt x="4929" y="561"/>
                    <a:pt x="4181" y="0"/>
                  </a:cubicBezTo>
                  <a:cubicBezTo>
                    <a:pt x="-2272" y="655"/>
                    <a:pt x="160" y="5190"/>
                    <a:pt x="2170" y="9539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: Shape 121">
              <a:extLst>
                <a:ext uri="{FF2B5EF4-FFF2-40B4-BE49-F238E27FC236}">
                  <a16:creationId xmlns:a16="http://schemas.microsoft.com/office/drawing/2014/main" id="{D17E5860-796E-C78D-14E8-1CE7662A8574}"/>
                </a:ext>
              </a:extLst>
            </p:cNvPr>
            <p:cNvSpPr/>
            <p:nvPr/>
          </p:nvSpPr>
          <p:spPr>
            <a:xfrm flipH="1">
              <a:off x="2312436" y="8820609"/>
              <a:ext cx="18609" cy="17032"/>
            </a:xfrm>
            <a:custGeom>
              <a:avLst/>
              <a:gdLst>
                <a:gd name="connsiteX0" fmla="*/ 16599 w 18609"/>
                <a:gd name="connsiteY0" fmla="*/ 12544 h 17032"/>
                <a:gd name="connsiteX1" fmla="*/ 18609 w 18609"/>
                <a:gd name="connsiteY1" fmla="*/ 3005 h 17032"/>
                <a:gd name="connsiteX2" fmla="*/ 0 w 18609"/>
                <a:gd name="connsiteY2" fmla="*/ 6793 h 17032"/>
                <a:gd name="connsiteX3" fmla="*/ 14027 w 18609"/>
                <a:gd name="connsiteY3" fmla="*/ 17033 h 17032"/>
                <a:gd name="connsiteX4" fmla="*/ 16599 w 18609"/>
                <a:gd name="connsiteY4" fmla="*/ 12497 h 170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609" h="17032">
                  <a:moveTo>
                    <a:pt x="16599" y="12544"/>
                  </a:moveTo>
                  <a:cubicBezTo>
                    <a:pt x="14588" y="8242"/>
                    <a:pt x="12157" y="3660"/>
                    <a:pt x="18609" y="3005"/>
                  </a:cubicBezTo>
                  <a:cubicBezTo>
                    <a:pt x="13045" y="-1249"/>
                    <a:pt x="7247" y="-1811"/>
                    <a:pt x="0" y="6793"/>
                  </a:cubicBezTo>
                  <a:cubicBezTo>
                    <a:pt x="8369" y="6512"/>
                    <a:pt x="12952" y="10019"/>
                    <a:pt x="14027" y="17033"/>
                  </a:cubicBezTo>
                  <a:cubicBezTo>
                    <a:pt x="14495" y="15069"/>
                    <a:pt x="15289" y="13526"/>
                    <a:pt x="16599" y="12497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: Shape 122">
              <a:extLst>
                <a:ext uri="{FF2B5EF4-FFF2-40B4-BE49-F238E27FC236}">
                  <a16:creationId xmlns:a16="http://schemas.microsoft.com/office/drawing/2014/main" id="{4BDC7FAB-8FED-FC77-F4BD-B8E3CF45976A}"/>
                </a:ext>
              </a:extLst>
            </p:cNvPr>
            <p:cNvSpPr/>
            <p:nvPr/>
          </p:nvSpPr>
          <p:spPr>
            <a:xfrm flipH="1">
              <a:off x="2310193" y="8825298"/>
              <a:ext cx="3118" cy="6920"/>
            </a:xfrm>
            <a:custGeom>
              <a:avLst/>
              <a:gdLst>
                <a:gd name="connsiteX0" fmla="*/ 1061 w 3118"/>
                <a:gd name="connsiteY0" fmla="*/ 6873 h 6920"/>
                <a:gd name="connsiteX1" fmla="*/ 2651 w 3118"/>
                <a:gd name="connsiteY1" fmla="*/ 6640 h 6920"/>
                <a:gd name="connsiteX2" fmla="*/ 3119 w 3118"/>
                <a:gd name="connsiteY2" fmla="*/ 0 h 6920"/>
                <a:gd name="connsiteX3" fmla="*/ 1061 w 3118"/>
                <a:gd name="connsiteY3" fmla="*/ 6920 h 69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118" h="6920">
                  <a:moveTo>
                    <a:pt x="1061" y="6873"/>
                  </a:moveTo>
                  <a:cubicBezTo>
                    <a:pt x="1576" y="6780"/>
                    <a:pt x="2043" y="6593"/>
                    <a:pt x="2651" y="6640"/>
                  </a:cubicBezTo>
                  <a:cubicBezTo>
                    <a:pt x="2791" y="4395"/>
                    <a:pt x="2932" y="2198"/>
                    <a:pt x="3119" y="0"/>
                  </a:cubicBezTo>
                  <a:cubicBezTo>
                    <a:pt x="-762" y="1403"/>
                    <a:pt x="-481" y="4021"/>
                    <a:pt x="1061" y="692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: Shape 123">
              <a:extLst>
                <a:ext uri="{FF2B5EF4-FFF2-40B4-BE49-F238E27FC236}">
                  <a16:creationId xmlns:a16="http://schemas.microsoft.com/office/drawing/2014/main" id="{F4204851-1D8F-5276-726D-10A9920321CD}"/>
                </a:ext>
              </a:extLst>
            </p:cNvPr>
            <p:cNvSpPr/>
            <p:nvPr/>
          </p:nvSpPr>
          <p:spPr>
            <a:xfrm flipH="1">
              <a:off x="2311642" y="8832171"/>
              <a:ext cx="2805" cy="2571"/>
            </a:xfrm>
            <a:custGeom>
              <a:avLst/>
              <a:gdLst>
                <a:gd name="connsiteX0" fmla="*/ 2197 w 2805"/>
                <a:gd name="connsiteY0" fmla="*/ 0 h 2571"/>
                <a:gd name="connsiteX1" fmla="*/ 0 w 2805"/>
                <a:gd name="connsiteY1" fmla="*/ 982 h 2571"/>
                <a:gd name="connsiteX2" fmla="*/ 701 w 2805"/>
                <a:gd name="connsiteY2" fmla="*/ 2572 h 2571"/>
                <a:gd name="connsiteX3" fmla="*/ 2805 w 2805"/>
                <a:gd name="connsiteY3" fmla="*/ 701 h 2571"/>
                <a:gd name="connsiteX4" fmla="*/ 2338 w 2805"/>
                <a:gd name="connsiteY4" fmla="*/ 234 h 2571"/>
                <a:gd name="connsiteX5" fmla="*/ 2244 w 2805"/>
                <a:gd name="connsiteY5" fmla="*/ 47 h 25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805" h="2571">
                  <a:moveTo>
                    <a:pt x="2197" y="0"/>
                  </a:moveTo>
                  <a:cubicBezTo>
                    <a:pt x="1356" y="187"/>
                    <a:pt x="608" y="514"/>
                    <a:pt x="0" y="982"/>
                  </a:cubicBezTo>
                  <a:cubicBezTo>
                    <a:pt x="234" y="1496"/>
                    <a:pt x="514" y="2011"/>
                    <a:pt x="701" y="2572"/>
                  </a:cubicBezTo>
                  <a:cubicBezTo>
                    <a:pt x="1403" y="1917"/>
                    <a:pt x="2057" y="1309"/>
                    <a:pt x="2805" y="701"/>
                  </a:cubicBezTo>
                  <a:cubicBezTo>
                    <a:pt x="2572" y="561"/>
                    <a:pt x="2525" y="374"/>
                    <a:pt x="2338" y="234"/>
                  </a:cubicBezTo>
                  <a:cubicBezTo>
                    <a:pt x="2338" y="187"/>
                    <a:pt x="2291" y="94"/>
                    <a:pt x="2244" y="47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: Shape 124">
              <a:extLst>
                <a:ext uri="{FF2B5EF4-FFF2-40B4-BE49-F238E27FC236}">
                  <a16:creationId xmlns:a16="http://schemas.microsoft.com/office/drawing/2014/main" id="{96773C2C-6CDA-B6F2-FCC0-88089F9B3B0C}"/>
                </a:ext>
              </a:extLst>
            </p:cNvPr>
            <p:cNvSpPr/>
            <p:nvPr/>
          </p:nvSpPr>
          <p:spPr>
            <a:xfrm flipH="1">
              <a:off x="2313746" y="8833153"/>
              <a:ext cx="3272" cy="4535"/>
            </a:xfrm>
            <a:custGeom>
              <a:avLst/>
              <a:gdLst>
                <a:gd name="connsiteX0" fmla="*/ 2572 w 3272"/>
                <a:gd name="connsiteY0" fmla="*/ 0 h 4535"/>
                <a:gd name="connsiteX1" fmla="*/ 0 w 3272"/>
                <a:gd name="connsiteY1" fmla="*/ 4535 h 4535"/>
                <a:gd name="connsiteX2" fmla="*/ 3273 w 3272"/>
                <a:gd name="connsiteY2" fmla="*/ 1590 h 4535"/>
                <a:gd name="connsiteX3" fmla="*/ 2572 w 3272"/>
                <a:gd name="connsiteY3" fmla="*/ 47 h 45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2" h="4535">
                  <a:moveTo>
                    <a:pt x="2572" y="0"/>
                  </a:moveTo>
                  <a:cubicBezTo>
                    <a:pt x="1262" y="1029"/>
                    <a:pt x="467" y="2572"/>
                    <a:pt x="0" y="4535"/>
                  </a:cubicBezTo>
                  <a:cubicBezTo>
                    <a:pt x="1075" y="3554"/>
                    <a:pt x="2197" y="2572"/>
                    <a:pt x="3273" y="1590"/>
                  </a:cubicBezTo>
                  <a:cubicBezTo>
                    <a:pt x="3039" y="1075"/>
                    <a:pt x="2805" y="514"/>
                    <a:pt x="2572" y="47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: Shape 125">
              <a:extLst>
                <a:ext uri="{FF2B5EF4-FFF2-40B4-BE49-F238E27FC236}">
                  <a16:creationId xmlns:a16="http://schemas.microsoft.com/office/drawing/2014/main" id="{9A36419D-235D-2F3D-8D69-FA0FDA3A504E}"/>
                </a:ext>
              </a:extLst>
            </p:cNvPr>
            <p:cNvSpPr/>
            <p:nvPr/>
          </p:nvSpPr>
          <p:spPr>
            <a:xfrm flipH="1">
              <a:off x="2310660" y="8831937"/>
              <a:ext cx="1589" cy="935"/>
            </a:xfrm>
            <a:custGeom>
              <a:avLst/>
              <a:gdLst>
                <a:gd name="connsiteX0" fmla="*/ 94 w 1589"/>
                <a:gd name="connsiteY0" fmla="*/ 468 h 935"/>
                <a:gd name="connsiteX1" fmla="*/ 561 w 1589"/>
                <a:gd name="connsiteY1" fmla="*/ 935 h 935"/>
                <a:gd name="connsiteX2" fmla="*/ 1590 w 1589"/>
                <a:gd name="connsiteY2" fmla="*/ 0 h 935"/>
                <a:gd name="connsiteX3" fmla="*/ 0 w 1589"/>
                <a:gd name="connsiteY3" fmla="*/ 281 h 935"/>
                <a:gd name="connsiteX4" fmla="*/ 94 w 1589"/>
                <a:gd name="connsiteY4" fmla="*/ 468 h 9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589" h="935">
                  <a:moveTo>
                    <a:pt x="94" y="468"/>
                  </a:moveTo>
                  <a:cubicBezTo>
                    <a:pt x="94" y="468"/>
                    <a:pt x="374" y="795"/>
                    <a:pt x="561" y="935"/>
                  </a:cubicBezTo>
                  <a:cubicBezTo>
                    <a:pt x="888" y="655"/>
                    <a:pt x="1263" y="327"/>
                    <a:pt x="1590" y="0"/>
                  </a:cubicBezTo>
                  <a:cubicBezTo>
                    <a:pt x="982" y="0"/>
                    <a:pt x="515" y="187"/>
                    <a:pt x="0" y="281"/>
                  </a:cubicBezTo>
                  <a:cubicBezTo>
                    <a:pt x="0" y="327"/>
                    <a:pt x="47" y="374"/>
                    <a:pt x="94" y="468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3B7AF0E8-9390-26FC-245A-769713F9DC2A}"/>
                </a:ext>
              </a:extLst>
            </p:cNvPr>
            <p:cNvSpPr/>
            <p:nvPr/>
          </p:nvSpPr>
          <p:spPr>
            <a:xfrm flipH="1">
              <a:off x="2336657" y="8817308"/>
              <a:ext cx="10968" cy="10206"/>
            </a:xfrm>
            <a:custGeom>
              <a:avLst/>
              <a:gdLst>
                <a:gd name="connsiteX0" fmla="*/ 8537 w 10968"/>
                <a:gd name="connsiteY0" fmla="*/ 9159 h 10206"/>
                <a:gd name="connsiteX1" fmla="*/ 9519 w 10968"/>
                <a:gd name="connsiteY1" fmla="*/ 1397 h 10206"/>
                <a:gd name="connsiteX2" fmla="*/ 1337 w 10968"/>
                <a:gd name="connsiteY2" fmla="*/ 1865 h 10206"/>
                <a:gd name="connsiteX3" fmla="*/ 2552 w 10968"/>
                <a:gd name="connsiteY3" fmla="*/ 9720 h 10206"/>
                <a:gd name="connsiteX4" fmla="*/ 8537 w 10968"/>
                <a:gd name="connsiteY4" fmla="*/ 9205 h 102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968" h="10206">
                  <a:moveTo>
                    <a:pt x="8537" y="9159"/>
                  </a:moveTo>
                  <a:cubicBezTo>
                    <a:pt x="11249" y="7242"/>
                    <a:pt x="11857" y="4296"/>
                    <a:pt x="9519" y="1397"/>
                  </a:cubicBezTo>
                  <a:cubicBezTo>
                    <a:pt x="6667" y="-286"/>
                    <a:pt x="3534" y="-801"/>
                    <a:pt x="1337" y="1865"/>
                  </a:cubicBezTo>
                  <a:cubicBezTo>
                    <a:pt x="-908" y="4530"/>
                    <a:pt x="-207" y="7943"/>
                    <a:pt x="2552" y="9720"/>
                  </a:cubicBezTo>
                  <a:cubicBezTo>
                    <a:pt x="3955" y="10608"/>
                    <a:pt x="7041" y="10187"/>
                    <a:pt x="8537" y="9205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B492B878-BCF1-B5F1-89FC-2A7E0C08ADF5}"/>
                </a:ext>
              </a:extLst>
            </p:cNvPr>
            <p:cNvSpPr/>
            <p:nvPr/>
          </p:nvSpPr>
          <p:spPr>
            <a:xfrm flipH="1">
              <a:off x="2380199" y="8817957"/>
              <a:ext cx="7824" cy="7201"/>
            </a:xfrm>
            <a:custGeom>
              <a:avLst/>
              <a:gdLst>
                <a:gd name="connsiteX0" fmla="*/ 6713 w 7824"/>
                <a:gd name="connsiteY0" fmla="*/ 1730 h 7201"/>
                <a:gd name="connsiteX1" fmla="*/ 1430 w 7824"/>
                <a:gd name="connsiteY1" fmla="*/ 0 h 7201"/>
                <a:gd name="connsiteX2" fmla="*/ 167 w 7824"/>
                <a:gd name="connsiteY2" fmla="*/ 5097 h 7201"/>
                <a:gd name="connsiteX3" fmla="*/ 5684 w 7824"/>
                <a:gd name="connsiteY3" fmla="*/ 7154 h 7201"/>
                <a:gd name="connsiteX4" fmla="*/ 6713 w 7824"/>
                <a:gd name="connsiteY4" fmla="*/ 1683 h 72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824" h="7201">
                  <a:moveTo>
                    <a:pt x="6713" y="1730"/>
                  </a:moveTo>
                  <a:cubicBezTo>
                    <a:pt x="5310" y="1262"/>
                    <a:pt x="3346" y="655"/>
                    <a:pt x="1430" y="0"/>
                  </a:cubicBezTo>
                  <a:cubicBezTo>
                    <a:pt x="962" y="1730"/>
                    <a:pt x="-488" y="4395"/>
                    <a:pt x="167" y="5097"/>
                  </a:cubicBezTo>
                  <a:cubicBezTo>
                    <a:pt x="1383" y="6453"/>
                    <a:pt x="3908" y="7434"/>
                    <a:pt x="5684" y="7154"/>
                  </a:cubicBezTo>
                  <a:cubicBezTo>
                    <a:pt x="8490" y="6780"/>
                    <a:pt x="8209" y="4442"/>
                    <a:pt x="6713" y="1683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2998C5CB-0FE0-9C5C-2321-FB8EAE66BFD4}"/>
                </a:ext>
              </a:extLst>
            </p:cNvPr>
            <p:cNvSpPr/>
            <p:nvPr/>
          </p:nvSpPr>
          <p:spPr>
            <a:xfrm flipH="1">
              <a:off x="2416145" y="8822573"/>
              <a:ext cx="16084" cy="4686"/>
            </a:xfrm>
            <a:custGeom>
              <a:avLst/>
              <a:gdLst>
                <a:gd name="connsiteX0" fmla="*/ 0 w 16084"/>
                <a:gd name="connsiteY0" fmla="*/ 4549 h 4686"/>
                <a:gd name="connsiteX1" fmla="*/ 16085 w 16084"/>
                <a:gd name="connsiteY1" fmla="*/ 1790 h 4686"/>
                <a:gd name="connsiteX2" fmla="*/ 0 w 16084"/>
                <a:gd name="connsiteY2" fmla="*/ 4549 h 46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084" h="4686">
                  <a:moveTo>
                    <a:pt x="0" y="4549"/>
                  </a:moveTo>
                  <a:cubicBezTo>
                    <a:pt x="5658" y="5390"/>
                    <a:pt x="10614" y="2117"/>
                    <a:pt x="16085" y="1790"/>
                  </a:cubicBezTo>
                  <a:cubicBezTo>
                    <a:pt x="10053" y="-1202"/>
                    <a:pt x="4629" y="-548"/>
                    <a:pt x="0" y="4549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A0F55799-D18D-0CC4-50F4-20EA7A1C3FCD}"/>
                </a:ext>
              </a:extLst>
            </p:cNvPr>
            <p:cNvSpPr/>
            <p:nvPr/>
          </p:nvSpPr>
          <p:spPr>
            <a:xfrm flipH="1">
              <a:off x="2419605" y="8827823"/>
              <a:ext cx="9585" cy="2252"/>
            </a:xfrm>
            <a:custGeom>
              <a:avLst/>
              <a:gdLst>
                <a:gd name="connsiteX0" fmla="*/ 9586 w 9585"/>
                <a:gd name="connsiteY0" fmla="*/ 0 h 2252"/>
                <a:gd name="connsiteX1" fmla="*/ 0 w 9585"/>
                <a:gd name="connsiteY1" fmla="*/ 1169 h 2252"/>
                <a:gd name="connsiteX2" fmla="*/ 9586 w 9585"/>
                <a:gd name="connsiteY2" fmla="*/ 0 h 2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9585" h="2252">
                  <a:moveTo>
                    <a:pt x="9586" y="0"/>
                  </a:moveTo>
                  <a:cubicBezTo>
                    <a:pt x="6359" y="327"/>
                    <a:pt x="3180" y="701"/>
                    <a:pt x="0" y="1169"/>
                  </a:cubicBezTo>
                  <a:cubicBezTo>
                    <a:pt x="3600" y="3039"/>
                    <a:pt x="6733" y="2385"/>
                    <a:pt x="9586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AC1B6EEF-550A-8885-33B8-0F1A37546625}"/>
                </a:ext>
              </a:extLst>
            </p:cNvPr>
            <p:cNvSpPr/>
            <p:nvPr/>
          </p:nvSpPr>
          <p:spPr>
            <a:xfrm flipH="1">
              <a:off x="2416145" y="8824410"/>
              <a:ext cx="16084" cy="4628"/>
            </a:xfrm>
            <a:custGeom>
              <a:avLst/>
              <a:gdLst>
                <a:gd name="connsiteX0" fmla="*/ 0 w 16084"/>
                <a:gd name="connsiteY0" fmla="*/ 2712 h 4628"/>
                <a:gd name="connsiteX1" fmla="*/ 3039 w 16084"/>
                <a:gd name="connsiteY1" fmla="*/ 4629 h 4628"/>
                <a:gd name="connsiteX2" fmla="*/ 12625 w 16084"/>
                <a:gd name="connsiteY2" fmla="*/ 3460 h 4628"/>
                <a:gd name="connsiteX3" fmla="*/ 16085 w 16084"/>
                <a:gd name="connsiteY3" fmla="*/ 0 h 4628"/>
                <a:gd name="connsiteX4" fmla="*/ 0 w 16084"/>
                <a:gd name="connsiteY4" fmla="*/ 2759 h 4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84" h="4628">
                  <a:moveTo>
                    <a:pt x="0" y="2712"/>
                  </a:moveTo>
                  <a:cubicBezTo>
                    <a:pt x="1075" y="3741"/>
                    <a:pt x="2011" y="4115"/>
                    <a:pt x="3039" y="4629"/>
                  </a:cubicBezTo>
                  <a:cubicBezTo>
                    <a:pt x="6219" y="4161"/>
                    <a:pt x="9398" y="3741"/>
                    <a:pt x="12625" y="3460"/>
                  </a:cubicBezTo>
                  <a:cubicBezTo>
                    <a:pt x="13794" y="2525"/>
                    <a:pt x="14962" y="1309"/>
                    <a:pt x="16085" y="0"/>
                  </a:cubicBezTo>
                  <a:cubicBezTo>
                    <a:pt x="10614" y="327"/>
                    <a:pt x="5658" y="3647"/>
                    <a:pt x="0" y="2759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D385A959-E62E-E13D-88FF-E298386C1487}"/>
                </a:ext>
              </a:extLst>
            </p:cNvPr>
            <p:cNvSpPr/>
            <p:nvPr/>
          </p:nvSpPr>
          <p:spPr>
            <a:xfrm flipH="1">
              <a:off x="4196901" y="12334125"/>
              <a:ext cx="22490" cy="7218"/>
            </a:xfrm>
            <a:custGeom>
              <a:avLst/>
              <a:gdLst>
                <a:gd name="connsiteX0" fmla="*/ 22490 w 22490"/>
                <a:gd name="connsiteY0" fmla="*/ 3451 h 7218"/>
                <a:gd name="connsiteX1" fmla="*/ 0 w 22490"/>
                <a:gd name="connsiteY1" fmla="*/ 4994 h 7218"/>
                <a:gd name="connsiteX2" fmla="*/ 22490 w 22490"/>
                <a:gd name="connsiteY2" fmla="*/ 3451 h 72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2490" h="7218">
                  <a:moveTo>
                    <a:pt x="22490" y="3451"/>
                  </a:moveTo>
                  <a:cubicBezTo>
                    <a:pt x="12250" y="-1786"/>
                    <a:pt x="6453" y="-897"/>
                    <a:pt x="0" y="4994"/>
                  </a:cubicBezTo>
                  <a:cubicBezTo>
                    <a:pt x="6967" y="7987"/>
                    <a:pt x="12765" y="8407"/>
                    <a:pt x="22490" y="3451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238338C4-865F-67AA-492D-22C725B043D9}"/>
                </a:ext>
              </a:extLst>
            </p:cNvPr>
            <p:cNvSpPr/>
            <p:nvPr/>
          </p:nvSpPr>
          <p:spPr>
            <a:xfrm flipH="1">
              <a:off x="3972980" y="12126934"/>
              <a:ext cx="19404" cy="3207"/>
            </a:xfrm>
            <a:custGeom>
              <a:avLst/>
              <a:gdLst>
                <a:gd name="connsiteX0" fmla="*/ 2385 w 19404"/>
                <a:gd name="connsiteY0" fmla="*/ 2244 h 3207"/>
                <a:gd name="connsiteX1" fmla="*/ 19404 w 19404"/>
                <a:gd name="connsiteY1" fmla="*/ 0 h 3207"/>
                <a:gd name="connsiteX2" fmla="*/ 0 w 19404"/>
                <a:gd name="connsiteY2" fmla="*/ 1777 h 3207"/>
                <a:gd name="connsiteX3" fmla="*/ 2385 w 19404"/>
                <a:gd name="connsiteY3" fmla="*/ 2244 h 32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404" h="3207">
                  <a:moveTo>
                    <a:pt x="2385" y="2244"/>
                  </a:moveTo>
                  <a:cubicBezTo>
                    <a:pt x="7762" y="281"/>
                    <a:pt x="13794" y="1590"/>
                    <a:pt x="19404" y="0"/>
                  </a:cubicBezTo>
                  <a:cubicBezTo>
                    <a:pt x="12999" y="1169"/>
                    <a:pt x="6359" y="-187"/>
                    <a:pt x="0" y="1777"/>
                  </a:cubicBezTo>
                  <a:cubicBezTo>
                    <a:pt x="374" y="4255"/>
                    <a:pt x="608" y="2899"/>
                    <a:pt x="2385" y="2244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BF3A6A4C-4D08-4883-82EF-7DAA263AB9D8}"/>
                </a:ext>
              </a:extLst>
            </p:cNvPr>
            <p:cNvSpPr/>
            <p:nvPr/>
          </p:nvSpPr>
          <p:spPr>
            <a:xfrm flipH="1">
              <a:off x="3972186" y="12123566"/>
              <a:ext cx="27586" cy="12719"/>
            </a:xfrm>
            <a:custGeom>
              <a:avLst/>
              <a:gdLst>
                <a:gd name="connsiteX0" fmla="*/ 9772 w 27586"/>
                <a:gd name="connsiteY0" fmla="*/ 5613 h 12719"/>
                <a:gd name="connsiteX1" fmla="*/ 7388 w 27586"/>
                <a:gd name="connsiteY1" fmla="*/ 5145 h 12719"/>
                <a:gd name="connsiteX2" fmla="*/ 26792 w 27586"/>
                <a:gd name="connsiteY2" fmla="*/ 3368 h 12719"/>
                <a:gd name="connsiteX3" fmla="*/ 27540 w 27586"/>
                <a:gd name="connsiteY3" fmla="*/ 3228 h 12719"/>
                <a:gd name="connsiteX4" fmla="*/ 0 w 27586"/>
                <a:gd name="connsiteY4" fmla="*/ 12720 h 12719"/>
                <a:gd name="connsiteX5" fmla="*/ 27587 w 27586"/>
                <a:gd name="connsiteY5" fmla="*/ 3322 h 12719"/>
                <a:gd name="connsiteX6" fmla="*/ 26839 w 27586"/>
                <a:gd name="connsiteY6" fmla="*/ 3368 h 12719"/>
                <a:gd name="connsiteX7" fmla="*/ 9819 w 27586"/>
                <a:gd name="connsiteY7" fmla="*/ 5613 h 127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7586" h="12719">
                  <a:moveTo>
                    <a:pt x="9772" y="5613"/>
                  </a:moveTo>
                  <a:cubicBezTo>
                    <a:pt x="7995" y="6267"/>
                    <a:pt x="7762" y="7623"/>
                    <a:pt x="7388" y="5145"/>
                  </a:cubicBezTo>
                  <a:cubicBezTo>
                    <a:pt x="13747" y="3228"/>
                    <a:pt x="20386" y="4584"/>
                    <a:pt x="26792" y="3368"/>
                  </a:cubicBezTo>
                  <a:cubicBezTo>
                    <a:pt x="27026" y="3322"/>
                    <a:pt x="27260" y="3322"/>
                    <a:pt x="27540" y="3228"/>
                  </a:cubicBezTo>
                  <a:cubicBezTo>
                    <a:pt x="15524" y="-2850"/>
                    <a:pt x="6078" y="-699"/>
                    <a:pt x="0" y="12720"/>
                  </a:cubicBezTo>
                  <a:cubicBezTo>
                    <a:pt x="6593" y="1171"/>
                    <a:pt x="21275" y="15759"/>
                    <a:pt x="27587" y="3322"/>
                  </a:cubicBezTo>
                  <a:cubicBezTo>
                    <a:pt x="27306" y="3322"/>
                    <a:pt x="27072" y="3322"/>
                    <a:pt x="26839" y="3368"/>
                  </a:cubicBezTo>
                  <a:cubicBezTo>
                    <a:pt x="21228" y="4911"/>
                    <a:pt x="15243" y="3602"/>
                    <a:pt x="9819" y="5613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0B585F8F-6725-E006-EAE9-BE4B6E66312C}"/>
                </a:ext>
              </a:extLst>
            </p:cNvPr>
            <p:cNvSpPr/>
            <p:nvPr/>
          </p:nvSpPr>
          <p:spPr>
            <a:xfrm flipH="1">
              <a:off x="3972232" y="12126794"/>
              <a:ext cx="794" cy="140"/>
            </a:xfrm>
            <a:custGeom>
              <a:avLst/>
              <a:gdLst>
                <a:gd name="connsiteX0" fmla="*/ 748 w 794"/>
                <a:gd name="connsiteY0" fmla="*/ 0 h 140"/>
                <a:gd name="connsiteX1" fmla="*/ 0 w 794"/>
                <a:gd name="connsiteY1" fmla="*/ 140 h 140"/>
                <a:gd name="connsiteX2" fmla="*/ 748 w 794"/>
                <a:gd name="connsiteY2" fmla="*/ 94 h 140"/>
                <a:gd name="connsiteX3" fmla="*/ 795 w 794"/>
                <a:gd name="connsiteY3" fmla="*/ 47 h 140"/>
                <a:gd name="connsiteX4" fmla="*/ 748 w 794"/>
                <a:gd name="connsiteY4" fmla="*/ 47 h 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794" h="140">
                  <a:moveTo>
                    <a:pt x="748" y="0"/>
                  </a:moveTo>
                  <a:cubicBezTo>
                    <a:pt x="748" y="0"/>
                    <a:pt x="281" y="94"/>
                    <a:pt x="0" y="140"/>
                  </a:cubicBezTo>
                  <a:cubicBezTo>
                    <a:pt x="234" y="140"/>
                    <a:pt x="468" y="140"/>
                    <a:pt x="748" y="94"/>
                  </a:cubicBezTo>
                  <a:cubicBezTo>
                    <a:pt x="748" y="94"/>
                    <a:pt x="748" y="94"/>
                    <a:pt x="795" y="47"/>
                  </a:cubicBezTo>
                  <a:cubicBezTo>
                    <a:pt x="795" y="47"/>
                    <a:pt x="781" y="47"/>
                    <a:pt x="748" y="47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B0792DA7-4ED5-8E9F-0F14-6E449F37D665}"/>
                </a:ext>
              </a:extLst>
            </p:cNvPr>
            <p:cNvSpPr/>
            <p:nvPr/>
          </p:nvSpPr>
          <p:spPr>
            <a:xfrm flipH="1">
              <a:off x="3967510" y="12126840"/>
              <a:ext cx="4675" cy="4675"/>
            </a:xfrm>
            <a:custGeom>
              <a:avLst/>
              <a:gdLst>
                <a:gd name="connsiteX0" fmla="*/ 0 w 4675"/>
                <a:gd name="connsiteY0" fmla="*/ 0 h 4675"/>
                <a:gd name="connsiteX1" fmla="*/ 0 w 4675"/>
                <a:gd name="connsiteY1" fmla="*/ 0 h 4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4675" h="4675"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: Shape 136">
              <a:extLst>
                <a:ext uri="{FF2B5EF4-FFF2-40B4-BE49-F238E27FC236}">
                  <a16:creationId xmlns:a16="http://schemas.microsoft.com/office/drawing/2014/main" id="{31C520D2-E0D9-7777-F987-B832DCBF99D1}"/>
                </a:ext>
              </a:extLst>
            </p:cNvPr>
            <p:cNvSpPr/>
            <p:nvPr/>
          </p:nvSpPr>
          <p:spPr>
            <a:xfrm flipH="1">
              <a:off x="3972045" y="12126794"/>
              <a:ext cx="140" cy="93"/>
            </a:xfrm>
            <a:custGeom>
              <a:avLst/>
              <a:gdLst>
                <a:gd name="connsiteX0" fmla="*/ 140 w 140"/>
                <a:gd name="connsiteY0" fmla="*/ 94 h 93"/>
                <a:gd name="connsiteX1" fmla="*/ 0 w 140"/>
                <a:gd name="connsiteY1" fmla="*/ 0 h 93"/>
                <a:gd name="connsiteX2" fmla="*/ 0 w 140"/>
                <a:gd name="connsiteY2" fmla="*/ 0 h 93"/>
                <a:gd name="connsiteX3" fmla="*/ 140 w 140"/>
                <a:gd name="connsiteY3" fmla="*/ 94 h 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0" h="93">
                  <a:moveTo>
                    <a:pt x="140" y="94"/>
                  </a:moveTo>
                  <a:lnTo>
                    <a:pt x="0" y="0"/>
                  </a:lnTo>
                  <a:lnTo>
                    <a:pt x="0" y="0"/>
                  </a:lnTo>
                  <a:cubicBezTo>
                    <a:pt x="0" y="0"/>
                    <a:pt x="93" y="47"/>
                    <a:pt x="140" y="94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: Shape 137">
              <a:extLst>
                <a:ext uri="{FF2B5EF4-FFF2-40B4-BE49-F238E27FC236}">
                  <a16:creationId xmlns:a16="http://schemas.microsoft.com/office/drawing/2014/main" id="{6203F7F6-B551-E18D-B10B-C2867F235787}"/>
                </a:ext>
              </a:extLst>
            </p:cNvPr>
            <p:cNvSpPr/>
            <p:nvPr/>
          </p:nvSpPr>
          <p:spPr>
            <a:xfrm flipH="1">
              <a:off x="3992712" y="12099606"/>
              <a:ext cx="16972" cy="6483"/>
            </a:xfrm>
            <a:custGeom>
              <a:avLst/>
              <a:gdLst>
                <a:gd name="connsiteX0" fmla="*/ 0 w 16972"/>
                <a:gd name="connsiteY0" fmla="*/ 3762 h 6483"/>
                <a:gd name="connsiteX1" fmla="*/ 16973 w 16972"/>
                <a:gd name="connsiteY1" fmla="*/ 302 h 6483"/>
                <a:gd name="connsiteX2" fmla="*/ 0 w 16972"/>
                <a:gd name="connsiteY2" fmla="*/ 3762 h 64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6972" h="6483">
                  <a:moveTo>
                    <a:pt x="0" y="3762"/>
                  </a:moveTo>
                  <a:cubicBezTo>
                    <a:pt x="7014" y="9373"/>
                    <a:pt x="12110" y="5352"/>
                    <a:pt x="16973" y="302"/>
                  </a:cubicBezTo>
                  <a:cubicBezTo>
                    <a:pt x="10754" y="-1381"/>
                    <a:pt x="6078" y="4557"/>
                    <a:pt x="0" y="3762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: Shape 138">
              <a:extLst>
                <a:ext uri="{FF2B5EF4-FFF2-40B4-BE49-F238E27FC236}">
                  <a16:creationId xmlns:a16="http://schemas.microsoft.com/office/drawing/2014/main" id="{254C0D90-E055-04A6-5FDD-E5E19DFC8B81}"/>
                </a:ext>
              </a:extLst>
            </p:cNvPr>
            <p:cNvSpPr/>
            <p:nvPr/>
          </p:nvSpPr>
          <p:spPr>
            <a:xfrm flipH="1">
              <a:off x="3994722" y="12093465"/>
              <a:ext cx="11128" cy="6910"/>
            </a:xfrm>
            <a:custGeom>
              <a:avLst/>
              <a:gdLst>
                <a:gd name="connsiteX0" fmla="*/ 0 w 11128"/>
                <a:gd name="connsiteY0" fmla="*/ 6910 h 6910"/>
                <a:gd name="connsiteX1" fmla="*/ 11128 w 11128"/>
                <a:gd name="connsiteY1" fmla="*/ 3404 h 6910"/>
                <a:gd name="connsiteX2" fmla="*/ 0 w 11128"/>
                <a:gd name="connsiteY2" fmla="*/ 6910 h 69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128" h="6910">
                  <a:moveTo>
                    <a:pt x="0" y="6910"/>
                  </a:moveTo>
                  <a:cubicBezTo>
                    <a:pt x="3741" y="5882"/>
                    <a:pt x="7434" y="4713"/>
                    <a:pt x="11128" y="3404"/>
                  </a:cubicBezTo>
                  <a:cubicBezTo>
                    <a:pt x="5658" y="-4078"/>
                    <a:pt x="3039" y="2468"/>
                    <a:pt x="0" y="691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: Shape 139">
              <a:extLst>
                <a:ext uri="{FF2B5EF4-FFF2-40B4-BE49-F238E27FC236}">
                  <a16:creationId xmlns:a16="http://schemas.microsoft.com/office/drawing/2014/main" id="{8BDD2C9F-4732-F41B-D31A-9E6364B95097}"/>
                </a:ext>
              </a:extLst>
            </p:cNvPr>
            <p:cNvSpPr/>
            <p:nvPr/>
          </p:nvSpPr>
          <p:spPr>
            <a:xfrm flipH="1">
              <a:off x="3992712" y="12096869"/>
              <a:ext cx="16972" cy="6572"/>
            </a:xfrm>
            <a:custGeom>
              <a:avLst/>
              <a:gdLst>
                <a:gd name="connsiteX0" fmla="*/ 14916 w 16972"/>
                <a:gd name="connsiteY0" fmla="*/ 0 h 6572"/>
                <a:gd name="connsiteX1" fmla="*/ 3787 w 16972"/>
                <a:gd name="connsiteY1" fmla="*/ 3507 h 6572"/>
                <a:gd name="connsiteX2" fmla="*/ 0 w 16972"/>
                <a:gd name="connsiteY2" fmla="*/ 6499 h 6572"/>
                <a:gd name="connsiteX3" fmla="*/ 16973 w 16972"/>
                <a:gd name="connsiteY3" fmla="*/ 3039 h 6572"/>
                <a:gd name="connsiteX4" fmla="*/ 14916 w 16972"/>
                <a:gd name="connsiteY4" fmla="*/ 0 h 6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972" h="6572">
                  <a:moveTo>
                    <a:pt x="14916" y="0"/>
                  </a:moveTo>
                  <a:cubicBezTo>
                    <a:pt x="11222" y="1309"/>
                    <a:pt x="7575" y="2478"/>
                    <a:pt x="3787" y="3507"/>
                  </a:cubicBezTo>
                  <a:cubicBezTo>
                    <a:pt x="2665" y="5143"/>
                    <a:pt x="1403" y="6453"/>
                    <a:pt x="0" y="6499"/>
                  </a:cubicBezTo>
                  <a:cubicBezTo>
                    <a:pt x="6032" y="7294"/>
                    <a:pt x="10707" y="1356"/>
                    <a:pt x="16973" y="3039"/>
                  </a:cubicBezTo>
                  <a:cubicBezTo>
                    <a:pt x="16225" y="1683"/>
                    <a:pt x="15570" y="935"/>
                    <a:pt x="14916" y="0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: Shape 140">
              <a:extLst>
                <a:ext uri="{FF2B5EF4-FFF2-40B4-BE49-F238E27FC236}">
                  <a16:creationId xmlns:a16="http://schemas.microsoft.com/office/drawing/2014/main" id="{014F5825-B35C-4FF3-800C-16A8F45F5D23}"/>
                </a:ext>
              </a:extLst>
            </p:cNvPr>
            <p:cNvSpPr/>
            <p:nvPr/>
          </p:nvSpPr>
          <p:spPr>
            <a:xfrm flipH="1">
              <a:off x="2171620" y="8635509"/>
              <a:ext cx="9188" cy="15396"/>
            </a:xfrm>
            <a:custGeom>
              <a:avLst/>
              <a:gdLst>
                <a:gd name="connsiteX0" fmla="*/ 8223 w 9188"/>
                <a:gd name="connsiteY0" fmla="*/ 13747 h 15396"/>
                <a:gd name="connsiteX1" fmla="*/ 2192 w 9188"/>
                <a:gd name="connsiteY1" fmla="*/ 0 h 15396"/>
                <a:gd name="connsiteX2" fmla="*/ 3033 w 9188"/>
                <a:gd name="connsiteY2" fmla="*/ 15196 h 15396"/>
                <a:gd name="connsiteX3" fmla="*/ 8223 w 9188"/>
                <a:gd name="connsiteY3" fmla="*/ 13747 h 15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188" h="15396">
                  <a:moveTo>
                    <a:pt x="8223" y="13747"/>
                  </a:moveTo>
                  <a:cubicBezTo>
                    <a:pt x="10094" y="8603"/>
                    <a:pt x="9813" y="3647"/>
                    <a:pt x="2192" y="0"/>
                  </a:cubicBezTo>
                  <a:cubicBezTo>
                    <a:pt x="-427" y="6125"/>
                    <a:pt x="-1315" y="11082"/>
                    <a:pt x="3033" y="15196"/>
                  </a:cubicBezTo>
                  <a:cubicBezTo>
                    <a:pt x="3735" y="15851"/>
                    <a:pt x="7850" y="14775"/>
                    <a:pt x="8223" y="13747"/>
                  </a:cubicBezTo>
                </a:path>
              </a:pathLst>
            </a:custGeom>
            <a:grpFill/>
            <a:ln w="467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19116645-25AA-98FA-C6FC-88BE5D4414EB}"/>
              </a:ext>
            </a:extLst>
          </p:cNvPr>
          <p:cNvSpPr/>
          <p:nvPr/>
        </p:nvSpPr>
        <p:spPr>
          <a:xfrm rot="16200000" flipH="1">
            <a:off x="9473767" y="3961967"/>
            <a:ext cx="447325" cy="4989143"/>
          </a:xfrm>
          <a:custGeom>
            <a:avLst/>
            <a:gdLst>
              <a:gd name="connsiteX0" fmla="*/ 134529 w 447325"/>
              <a:gd name="connsiteY0" fmla="*/ 1 h 4989143"/>
              <a:gd name="connsiteX1" fmla="*/ 134529 w 447325"/>
              <a:gd name="connsiteY1" fmla="*/ 129380 h 4989143"/>
              <a:gd name="connsiteX2" fmla="*/ 134529 w 447325"/>
              <a:gd name="connsiteY2" fmla="*/ 706129 h 4989143"/>
              <a:gd name="connsiteX3" fmla="*/ 134529 w 447325"/>
              <a:gd name="connsiteY3" fmla="*/ 4989143 h 4989143"/>
              <a:gd name="connsiteX4" fmla="*/ 447324 w 447325"/>
              <a:gd name="connsiteY4" fmla="*/ 4989143 h 4989143"/>
              <a:gd name="connsiteX5" fmla="*/ 447325 w 447325"/>
              <a:gd name="connsiteY5" fmla="*/ 156399 h 4989143"/>
              <a:gd name="connsiteX6" fmla="*/ 290927 w 447325"/>
              <a:gd name="connsiteY6" fmla="*/ 1 h 4989143"/>
              <a:gd name="connsiteX7" fmla="*/ 0 w 447325"/>
              <a:gd name="connsiteY7" fmla="*/ 0 h 4989143"/>
              <a:gd name="connsiteX8" fmla="*/ 0 w 447325"/>
              <a:gd name="connsiteY8" fmla="*/ 4 h 4989143"/>
              <a:gd name="connsiteX9" fmla="*/ 5153 w 447325"/>
              <a:gd name="connsiteY9" fmla="*/ 4 h 4989143"/>
              <a:gd name="connsiteX10" fmla="*/ 124362 w 447325"/>
              <a:gd name="connsiteY10" fmla="*/ 79021 h 4989143"/>
              <a:gd name="connsiteX11" fmla="*/ 132994 w 447325"/>
              <a:gd name="connsiteY11" fmla="*/ 121775 h 4989143"/>
              <a:gd name="connsiteX12" fmla="*/ 134526 w 447325"/>
              <a:gd name="connsiteY12" fmla="*/ 121775 h 4989143"/>
              <a:gd name="connsiteX13" fmla="*/ 134526 w 447325"/>
              <a:gd name="connsiteY13" fmla="*/ 0 h 4989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447325" h="4989143">
                <a:moveTo>
                  <a:pt x="134529" y="1"/>
                </a:moveTo>
                <a:lnTo>
                  <a:pt x="134529" y="129380"/>
                </a:lnTo>
                <a:lnTo>
                  <a:pt x="134529" y="706129"/>
                </a:lnTo>
                <a:lnTo>
                  <a:pt x="134529" y="4989143"/>
                </a:lnTo>
                <a:lnTo>
                  <a:pt x="447324" y="4989143"/>
                </a:lnTo>
                <a:cubicBezTo>
                  <a:pt x="447324" y="3378227"/>
                  <a:pt x="447325" y="1767313"/>
                  <a:pt x="447325" y="156399"/>
                </a:cubicBezTo>
                <a:cubicBezTo>
                  <a:pt x="447325" y="70023"/>
                  <a:pt x="377303" y="1"/>
                  <a:pt x="290927" y="1"/>
                </a:cubicBezTo>
                <a:close/>
                <a:moveTo>
                  <a:pt x="0" y="0"/>
                </a:moveTo>
                <a:lnTo>
                  <a:pt x="0" y="4"/>
                </a:lnTo>
                <a:lnTo>
                  <a:pt x="5153" y="4"/>
                </a:lnTo>
                <a:cubicBezTo>
                  <a:pt x="58742" y="4"/>
                  <a:pt x="104722" y="32587"/>
                  <a:pt x="124362" y="79021"/>
                </a:cubicBezTo>
                <a:lnTo>
                  <a:pt x="132994" y="121775"/>
                </a:lnTo>
                <a:lnTo>
                  <a:pt x="134526" y="121775"/>
                </a:lnTo>
                <a:lnTo>
                  <a:pt x="134526" y="0"/>
                </a:lnTo>
                <a:close/>
              </a:path>
            </a:pathLst>
          </a:custGeom>
          <a:solidFill>
            <a:schemeClr val="accent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3FC4DF7B-6B11-FB86-8C09-9818B2D9F7DB}"/>
              </a:ext>
            </a:extLst>
          </p:cNvPr>
          <p:cNvGrpSpPr/>
          <p:nvPr/>
        </p:nvGrpSpPr>
        <p:grpSpPr>
          <a:xfrm>
            <a:off x="6342066" y="5742840"/>
            <a:ext cx="860797" cy="812771"/>
            <a:chOff x="6342066" y="5742840"/>
            <a:chExt cx="860797" cy="812771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DF6A97C-3EBC-4300-9E29-FBEFA52B2EF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843"/>
            <a:stretch>
              <a:fillRect/>
            </a:stretch>
          </p:blipFill>
          <p:spPr>
            <a:xfrm rot="5400000" flipH="1">
              <a:off x="6378725" y="5731474"/>
              <a:ext cx="812771" cy="835504"/>
            </a:xfrm>
            <a:custGeom>
              <a:avLst/>
              <a:gdLst>
                <a:gd name="connsiteX0" fmla="*/ 812771 w 812771"/>
                <a:gd name="connsiteY0" fmla="*/ 835504 h 835504"/>
                <a:gd name="connsiteX1" fmla="*/ 812771 w 812771"/>
                <a:gd name="connsiteY1" fmla="*/ 0 h 835504"/>
                <a:gd name="connsiteX2" fmla="*/ 0 w 812771"/>
                <a:gd name="connsiteY2" fmla="*/ 0 h 835504"/>
                <a:gd name="connsiteX3" fmla="*/ 4223 w 812771"/>
                <a:gd name="connsiteY3" fmla="*/ 1311 h 835504"/>
                <a:gd name="connsiteX4" fmla="*/ 184238 w 812771"/>
                <a:gd name="connsiteY4" fmla="*/ 272890 h 835504"/>
                <a:gd name="connsiteX5" fmla="*/ 184238 w 812771"/>
                <a:gd name="connsiteY5" fmla="*/ 376613 h 835504"/>
                <a:gd name="connsiteX6" fmla="*/ 184657 w 812771"/>
                <a:gd name="connsiteY6" fmla="*/ 376613 h 835504"/>
                <a:gd name="connsiteX7" fmla="*/ 184326 w 812771"/>
                <a:gd name="connsiteY7" fmla="*/ 575011 h 835504"/>
                <a:gd name="connsiteX8" fmla="*/ 184864 w 812771"/>
                <a:gd name="connsiteY8" fmla="*/ 575011 h 835504"/>
                <a:gd name="connsiteX9" fmla="*/ 184864 w 812771"/>
                <a:gd name="connsiteY9" fmla="*/ 835504 h 8355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812771" h="835504">
                  <a:moveTo>
                    <a:pt x="812771" y="835504"/>
                  </a:moveTo>
                  <a:lnTo>
                    <a:pt x="812771" y="0"/>
                  </a:lnTo>
                  <a:lnTo>
                    <a:pt x="0" y="0"/>
                  </a:lnTo>
                  <a:lnTo>
                    <a:pt x="4223" y="1311"/>
                  </a:lnTo>
                  <a:cubicBezTo>
                    <a:pt x="110010" y="46055"/>
                    <a:pt x="184238" y="150804"/>
                    <a:pt x="184238" y="272890"/>
                  </a:cubicBezTo>
                  <a:lnTo>
                    <a:pt x="184238" y="376613"/>
                  </a:lnTo>
                  <a:lnTo>
                    <a:pt x="184657" y="376613"/>
                  </a:lnTo>
                  <a:lnTo>
                    <a:pt x="184326" y="575011"/>
                  </a:lnTo>
                  <a:lnTo>
                    <a:pt x="184864" y="575011"/>
                  </a:lnTo>
                  <a:lnTo>
                    <a:pt x="184864" y="835504"/>
                  </a:lnTo>
                  <a:close/>
                </a:path>
              </a:pathLst>
            </a:custGeom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59CB915-8B70-9D2F-859D-767C5634B3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5400000" flipH="1">
              <a:off x="6342066" y="6040909"/>
              <a:ext cx="141570" cy="141570"/>
            </a:xfrm>
            <a:prstGeom prst="rect">
              <a:avLst/>
            </a:prstGeom>
          </p:spPr>
        </p:pic>
      </p:grpSp>
      <p:pic>
        <p:nvPicPr>
          <p:cNvPr id="8" name="Picture 7">
            <a:extLst>
              <a:ext uri="{FF2B5EF4-FFF2-40B4-BE49-F238E27FC236}">
                <a16:creationId xmlns:a16="http://schemas.microsoft.com/office/drawing/2014/main" id="{441549AF-4249-BB06-A052-F694C4F5FB3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3559DF84-E9EE-6D43-6885-F298DD265404}"/>
              </a:ext>
            </a:extLst>
          </p:cNvPr>
          <p:cNvSpPr txBox="1"/>
          <p:nvPr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EE3F35-5EAA-0344-B6FC-083E415BACD9}" type="slidenum">
              <a:rPr kumimoji="0" lang="en-US" sz="700" b="0" i="0" u="none" strike="noStrike" kern="1200" cap="none" spc="30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700" b="0" i="0" u="none" strike="noStrike" kern="1200" cap="none" spc="30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BE04AFE-A107-FEE4-E26A-75A13122E45F}"/>
              </a:ext>
            </a:extLst>
          </p:cNvPr>
          <p:cNvGrpSpPr/>
          <p:nvPr/>
        </p:nvGrpSpPr>
        <p:grpSpPr>
          <a:xfrm flipH="1">
            <a:off x="11273051" y="0"/>
            <a:ext cx="918948" cy="1078173"/>
            <a:chOff x="0" y="-1390"/>
            <a:chExt cx="5292946" cy="5446328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EEF7F47E-78BF-AF6A-FC33-CB0CFC4FDB0D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-1390"/>
              <a:ext cx="5292946" cy="5286305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04392F2-50C9-D338-81BB-AF141BA87CEE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65350" y="4549214"/>
              <a:ext cx="895724" cy="895724"/>
            </a:xfrm>
            <a:prstGeom prst="rect">
              <a:avLst/>
            </a:prstGeom>
          </p:spPr>
        </p:pic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4887BA33-E869-6BAC-8B8B-5A16F5A64066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45475" y="4632662"/>
            <a:ext cx="308770" cy="469326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D3C0BE0B-FBDD-B500-D0E4-D38C7336E5AB}"/>
              </a:ext>
            </a:extLst>
          </p:cNvPr>
          <p:cNvGrpSpPr/>
          <p:nvPr/>
        </p:nvGrpSpPr>
        <p:grpSpPr>
          <a:xfrm>
            <a:off x="-113341" y="107760"/>
            <a:ext cx="1660531" cy="741995"/>
            <a:chOff x="4744304" y="4019935"/>
            <a:chExt cx="2431183" cy="1194992"/>
          </a:xfrm>
        </p:grpSpPr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F259A285-C809-BDC4-1FA4-9E65C122ECC1}"/>
                </a:ext>
              </a:extLst>
            </p:cNvPr>
            <p:cNvSpPr txBox="1"/>
            <p:nvPr/>
          </p:nvSpPr>
          <p:spPr>
            <a:xfrm>
              <a:off x="4744304" y="4722484"/>
              <a:ext cx="2431183" cy="4924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OSITIVE</a:t>
              </a:r>
              <a:b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</a:b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VALUE CHAIN</a:t>
              </a:r>
            </a:p>
          </p:txBody>
        </p:sp>
        <p:pic>
          <p:nvPicPr>
            <p:cNvPr id="21" name="Picture 20" descr="A blue and green windmill with arrows around it&#10;&#10;Description automatically generated">
              <a:extLst>
                <a:ext uri="{FF2B5EF4-FFF2-40B4-BE49-F238E27FC236}">
                  <a16:creationId xmlns:a16="http://schemas.microsoft.com/office/drawing/2014/main" id="{9D42D165-4A05-C832-C5AD-8824766CCBA6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10575" y="4019935"/>
              <a:ext cx="656095" cy="6560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25002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7E998C5-5044-5407-2C1B-94DD3CBB581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E998C5-5044-5407-2C1B-94DD3CBB58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4F27B4AD-C7E9-160A-BDEF-5B524771DF0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0BE5F6CA-459C-B946-D911-84D48447A412}"/>
              </a:ext>
            </a:extLst>
          </p:cNvPr>
          <p:cNvSpPr>
            <a:spLocks/>
          </p:cNvSpPr>
          <p:nvPr/>
        </p:nvSpPr>
        <p:spPr>
          <a:xfrm>
            <a:off x="-13252" y="0"/>
            <a:ext cx="11834863" cy="3886200"/>
          </a:xfrm>
          <a:custGeom>
            <a:avLst/>
            <a:gdLst>
              <a:gd name="connsiteX0" fmla="*/ 0 w 11834863"/>
              <a:gd name="connsiteY0" fmla="*/ 0 h 3886200"/>
              <a:gd name="connsiteX1" fmla="*/ 6121801 w 11834863"/>
              <a:gd name="connsiteY1" fmla="*/ 0 h 3886200"/>
              <a:gd name="connsiteX2" fmla="*/ 7239000 w 11834863"/>
              <a:gd name="connsiteY2" fmla="*/ 0 h 3886200"/>
              <a:gd name="connsiteX3" fmla="*/ 7478763 w 11834863"/>
              <a:gd name="connsiteY3" fmla="*/ 0 h 3886200"/>
              <a:gd name="connsiteX4" fmla="*/ 9067800 w 11834863"/>
              <a:gd name="connsiteY4" fmla="*/ 0 h 3886200"/>
              <a:gd name="connsiteX5" fmla="*/ 9307563 w 11834863"/>
              <a:gd name="connsiteY5" fmla="*/ 0 h 3886200"/>
              <a:gd name="connsiteX6" fmla="*/ 9446283 w 11834863"/>
              <a:gd name="connsiteY6" fmla="*/ 0 h 3886200"/>
              <a:gd name="connsiteX7" fmla="*/ 9686046 w 11834863"/>
              <a:gd name="connsiteY7" fmla="*/ 0 h 3886200"/>
              <a:gd name="connsiteX8" fmla="*/ 11595100 w 11834863"/>
              <a:gd name="connsiteY8" fmla="*/ 0 h 3886200"/>
              <a:gd name="connsiteX9" fmla="*/ 11834863 w 11834863"/>
              <a:gd name="connsiteY9" fmla="*/ 0 h 3886200"/>
              <a:gd name="connsiteX10" fmla="*/ 11834863 w 11834863"/>
              <a:gd name="connsiteY10" fmla="*/ 495300 h 3886200"/>
              <a:gd name="connsiteX11" fmla="*/ 11834863 w 11834863"/>
              <a:gd name="connsiteY11" fmla="*/ 726417 h 3886200"/>
              <a:gd name="connsiteX12" fmla="*/ 11456380 w 11834863"/>
              <a:gd name="connsiteY12" fmla="*/ 1104900 h 3886200"/>
              <a:gd name="connsiteX13" fmla="*/ 11216617 w 11834863"/>
              <a:gd name="connsiteY13" fmla="*/ 1104900 h 3886200"/>
              <a:gd name="connsiteX14" fmla="*/ 9307563 w 11834863"/>
              <a:gd name="connsiteY14" fmla="*/ 1104900 h 3886200"/>
              <a:gd name="connsiteX15" fmla="*/ 9067800 w 11834863"/>
              <a:gd name="connsiteY15" fmla="*/ 1104900 h 3886200"/>
              <a:gd name="connsiteX16" fmla="*/ 7478763 w 11834863"/>
              <a:gd name="connsiteY16" fmla="*/ 1104900 h 3886200"/>
              <a:gd name="connsiteX17" fmla="*/ 7239000 w 11834863"/>
              <a:gd name="connsiteY17" fmla="*/ 1104900 h 3886200"/>
              <a:gd name="connsiteX18" fmla="*/ 6121801 w 11834863"/>
              <a:gd name="connsiteY18" fmla="*/ 1104900 h 3886200"/>
              <a:gd name="connsiteX19" fmla="*/ 764152 w 11834863"/>
              <a:gd name="connsiteY19" fmla="*/ 1104900 h 3886200"/>
              <a:gd name="connsiteX20" fmla="*/ 431800 w 11834863"/>
              <a:gd name="connsiteY20" fmla="*/ 1437252 h 3886200"/>
              <a:gd name="connsiteX21" fmla="*/ 431800 w 11834863"/>
              <a:gd name="connsiteY21" fmla="*/ 2260600 h 3886200"/>
              <a:gd name="connsiteX22" fmla="*/ 431800 w 11834863"/>
              <a:gd name="connsiteY22" fmla="*/ 2945606 h 3886200"/>
              <a:gd name="connsiteX23" fmla="*/ 431800 w 11834863"/>
              <a:gd name="connsiteY23" fmla="*/ 2946400 h 3886200"/>
              <a:gd name="connsiteX24" fmla="*/ 431800 w 11834863"/>
              <a:gd name="connsiteY24" fmla="*/ 3670300 h 3886200"/>
              <a:gd name="connsiteX25" fmla="*/ 215900 w 11834863"/>
              <a:gd name="connsiteY25" fmla="*/ 3886200 h 3886200"/>
              <a:gd name="connsiteX26" fmla="*/ 1 w 11834863"/>
              <a:gd name="connsiteY26" fmla="*/ 3886200 h 3886200"/>
              <a:gd name="connsiteX27" fmla="*/ 1 w 11834863"/>
              <a:gd name="connsiteY27" fmla="*/ 3670305 h 3886200"/>
              <a:gd name="connsiteX28" fmla="*/ 0 w 11834863"/>
              <a:gd name="connsiteY28" fmla="*/ 3670300 h 3886200"/>
              <a:gd name="connsiteX29" fmla="*/ 0 w 11834863"/>
              <a:gd name="connsiteY29" fmla="*/ 2946400 h 3886200"/>
              <a:gd name="connsiteX30" fmla="*/ 0 w 11834863"/>
              <a:gd name="connsiteY30" fmla="*/ 2945606 h 3886200"/>
              <a:gd name="connsiteX31" fmla="*/ 0 w 11834863"/>
              <a:gd name="connsiteY31" fmla="*/ 2260600 h 3886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11834863" h="3886200">
                <a:moveTo>
                  <a:pt x="0" y="0"/>
                </a:moveTo>
                <a:lnTo>
                  <a:pt x="6121801" y="0"/>
                </a:lnTo>
                <a:lnTo>
                  <a:pt x="7239000" y="0"/>
                </a:lnTo>
                <a:lnTo>
                  <a:pt x="7478763" y="0"/>
                </a:lnTo>
                <a:lnTo>
                  <a:pt x="9067800" y="0"/>
                </a:lnTo>
                <a:lnTo>
                  <a:pt x="9307563" y="0"/>
                </a:lnTo>
                <a:lnTo>
                  <a:pt x="9446283" y="0"/>
                </a:lnTo>
                <a:lnTo>
                  <a:pt x="9686046" y="0"/>
                </a:lnTo>
                <a:lnTo>
                  <a:pt x="11595100" y="0"/>
                </a:lnTo>
                <a:lnTo>
                  <a:pt x="11834863" y="0"/>
                </a:lnTo>
                <a:lnTo>
                  <a:pt x="11834863" y="495300"/>
                </a:lnTo>
                <a:lnTo>
                  <a:pt x="11834863" y="726417"/>
                </a:lnTo>
                <a:cubicBezTo>
                  <a:pt x="11834863" y="935447"/>
                  <a:pt x="11665410" y="1104900"/>
                  <a:pt x="11456380" y="1104900"/>
                </a:cubicBezTo>
                <a:lnTo>
                  <a:pt x="11216617" y="1104900"/>
                </a:lnTo>
                <a:lnTo>
                  <a:pt x="9307563" y="1104900"/>
                </a:lnTo>
                <a:lnTo>
                  <a:pt x="9067800" y="1104900"/>
                </a:lnTo>
                <a:lnTo>
                  <a:pt x="7478763" y="1104900"/>
                </a:lnTo>
                <a:lnTo>
                  <a:pt x="7239000" y="1104900"/>
                </a:lnTo>
                <a:lnTo>
                  <a:pt x="6121801" y="1104900"/>
                </a:lnTo>
                <a:lnTo>
                  <a:pt x="764152" y="1104900"/>
                </a:lnTo>
                <a:cubicBezTo>
                  <a:pt x="580599" y="1104900"/>
                  <a:pt x="431800" y="1253699"/>
                  <a:pt x="431800" y="1437252"/>
                </a:cubicBezTo>
                <a:lnTo>
                  <a:pt x="431800" y="2260600"/>
                </a:lnTo>
                <a:lnTo>
                  <a:pt x="431800" y="2945606"/>
                </a:lnTo>
                <a:lnTo>
                  <a:pt x="431800" y="2946400"/>
                </a:lnTo>
                <a:lnTo>
                  <a:pt x="431800" y="3670300"/>
                </a:lnTo>
                <a:cubicBezTo>
                  <a:pt x="431800" y="3789538"/>
                  <a:pt x="335138" y="3886200"/>
                  <a:pt x="215900" y="3886200"/>
                </a:cubicBezTo>
                <a:lnTo>
                  <a:pt x="1" y="3886200"/>
                </a:lnTo>
                <a:lnTo>
                  <a:pt x="1" y="3670305"/>
                </a:lnTo>
                <a:cubicBezTo>
                  <a:pt x="1" y="3670303"/>
                  <a:pt x="0" y="3670302"/>
                  <a:pt x="0" y="3670300"/>
                </a:cubicBezTo>
                <a:lnTo>
                  <a:pt x="0" y="2946400"/>
                </a:lnTo>
                <a:lnTo>
                  <a:pt x="0" y="2945606"/>
                </a:lnTo>
                <a:lnTo>
                  <a:pt x="0" y="2260600"/>
                </a:lnTo>
                <a:close/>
              </a:path>
            </a:pathLst>
          </a:custGeom>
          <a:solidFill>
            <a:srgbClr val="092188"/>
          </a:solidFill>
          <a:ln>
            <a:noFill/>
          </a:ln>
          <a:effectLst>
            <a:innerShdw blurRad="177800" dist="50800" dir="2700000">
              <a:prstClr val="black">
                <a:alpha val="20000"/>
              </a:prstClr>
            </a:innerShdw>
          </a:effectLst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F601A45-CCF6-3A09-2518-D09616EB756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alphaModFix amt="4000"/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9804" t="11595" r="15370" b="44492"/>
          <a:stretch/>
        </p:blipFill>
        <p:spPr>
          <a:xfrm rot="5400000">
            <a:off x="-57313" y="64007"/>
            <a:ext cx="6289182" cy="6161170"/>
          </a:xfrm>
          <a:custGeom>
            <a:avLst/>
            <a:gdLst>
              <a:gd name="connsiteX0" fmla="*/ 0 w 6289182"/>
              <a:gd name="connsiteY0" fmla="*/ 6161170 h 6161170"/>
              <a:gd name="connsiteX1" fmla="*/ 0 w 6289182"/>
              <a:gd name="connsiteY1" fmla="*/ 0 h 6161170"/>
              <a:gd name="connsiteX2" fmla="*/ 6289182 w 6289182"/>
              <a:gd name="connsiteY2" fmla="*/ 0 h 6161170"/>
              <a:gd name="connsiteX3" fmla="*/ 6289182 w 6289182"/>
              <a:gd name="connsiteY3" fmla="*/ 6161170 h 61611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89182" h="6161170">
                <a:moveTo>
                  <a:pt x="0" y="6161170"/>
                </a:moveTo>
                <a:lnTo>
                  <a:pt x="0" y="0"/>
                </a:lnTo>
                <a:lnTo>
                  <a:pt x="6289182" y="0"/>
                </a:lnTo>
                <a:lnTo>
                  <a:pt x="6289182" y="6161170"/>
                </a:lnTo>
                <a:close/>
              </a:path>
            </a:pathLst>
          </a:cu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C6FC1151-4504-9AB1-BD84-31BD0EC3CDEC}"/>
              </a:ext>
            </a:extLst>
          </p:cNvPr>
          <p:cNvSpPr/>
          <p:nvPr/>
        </p:nvSpPr>
        <p:spPr>
          <a:xfrm>
            <a:off x="609232" y="1306286"/>
            <a:ext cx="2987408" cy="5132614"/>
          </a:xfrm>
          <a:prstGeom prst="roundRect">
            <a:avLst>
              <a:gd name="adj" fmla="val 7629"/>
            </a:avLst>
          </a:prstGeom>
          <a:solidFill>
            <a:srgbClr val="011875">
              <a:alpha val="85000"/>
            </a:srgbClr>
          </a:solidFill>
          <a:ln w="6350"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27432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Recycling bins are optimized for beverage container recycling with round disposal holes and come with labeling for various waste streams such as: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Bottles Onl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Cans Onl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Calibri"/>
                <a:cs typeface="Calibri"/>
              </a:rPr>
              <a:t>Bottles &amp; Cans Onl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prstClr val="black"/>
              </a:buClr>
              <a:buSzPts val="800"/>
              <a:buFontTx/>
              <a:buNone/>
              <a:tabLst/>
              <a:defRPr/>
            </a:pPr>
            <a:endParaRPr kumimoji="0" lang="en-US" sz="10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Poppins SemiBold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prstClr val="black"/>
              </a:buClr>
              <a:buSzPts val="800"/>
              <a:buFont typeface="Arial"/>
              <a:buNone/>
              <a:tabLst/>
              <a:defRPr/>
            </a:pPr>
            <a:r>
              <a:rPr kumimoji="0" lang="en-US" sz="1200" b="0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Customization for some bins may be available upon request</a:t>
            </a:r>
          </a:p>
        </p:txBody>
      </p:sp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2891C33B-F1B6-F1B1-5069-A667DE6C7DED}"/>
              </a:ext>
            </a:extLst>
          </p:cNvPr>
          <p:cNvSpPr/>
          <p:nvPr/>
        </p:nvSpPr>
        <p:spPr>
          <a:xfrm>
            <a:off x="3403600" y="1630322"/>
            <a:ext cx="8191500" cy="4484543"/>
          </a:xfrm>
          <a:prstGeom prst="roundRect">
            <a:avLst>
              <a:gd name="adj" fmla="val 2715"/>
            </a:avLst>
          </a:prstGeom>
          <a:solidFill>
            <a:srgbClr val="133CCF"/>
          </a:solidFill>
          <a:ln w="6350">
            <a:solidFill>
              <a:schemeClr val="accent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Poppins SemiBold"/>
            </a:endParaRP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72B83430-52E9-41DD-8CDD-D3D8815CBF10}"/>
              </a:ext>
            </a:extLst>
          </p:cNvPr>
          <p:cNvPicPr>
            <a:picLocks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576" r="11576"/>
          <a:stretch/>
        </p:blipFill>
        <p:spPr>
          <a:xfrm>
            <a:off x="5537558" y="1751158"/>
            <a:ext cx="1904238" cy="2477942"/>
          </a:xfrm>
          <a:prstGeom prst="roundRect">
            <a:avLst>
              <a:gd name="adj" fmla="val 4000"/>
            </a:avLst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408F8BD-D616-8486-B5EE-5B8D0B7413FA}"/>
              </a:ext>
            </a:extLst>
          </p:cNvPr>
          <p:cNvPicPr>
            <a:picLocks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576" r="11576"/>
          <a:stretch/>
        </p:blipFill>
        <p:spPr>
          <a:xfrm>
            <a:off x="7556904" y="1751158"/>
            <a:ext cx="1904238" cy="2477942"/>
          </a:xfrm>
          <a:prstGeom prst="roundRect">
            <a:avLst>
              <a:gd name="adj" fmla="val 4000"/>
            </a:avLst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897AC78-D469-FE77-E593-24222981F0FD}"/>
              </a:ext>
            </a:extLst>
          </p:cNvPr>
          <p:cNvPicPr>
            <a:picLocks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576" r="11576"/>
          <a:stretch/>
        </p:blipFill>
        <p:spPr>
          <a:xfrm>
            <a:off x="9576251" y="1751158"/>
            <a:ext cx="1904238" cy="2477942"/>
          </a:xfrm>
          <a:prstGeom prst="roundRect">
            <a:avLst>
              <a:gd name="adj" fmla="val 4000"/>
            </a:avLst>
          </a:pr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726EC7AC-1561-91C1-DA75-940F3BD473C4}"/>
              </a:ext>
            </a:extLst>
          </p:cNvPr>
          <p:cNvSpPr>
            <a:spLocks/>
          </p:cNvSpPr>
          <p:nvPr/>
        </p:nvSpPr>
        <p:spPr>
          <a:xfrm>
            <a:off x="7600703" y="4295217"/>
            <a:ext cx="1863018" cy="177307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Pts val="800"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FE2F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Bottle</a:t>
            </a:r>
            <a:b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FE2F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FE2F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Collection Bins</a:t>
            </a:r>
          </a:p>
          <a:p>
            <a:pPr marL="2857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Indoor or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Outdoor Use</a:t>
            </a:r>
          </a:p>
          <a:p>
            <a:pPr marL="2857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Made of 100% recycled materia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0E2CB5A-F343-79CC-F419-DF5022978CA0}"/>
              </a:ext>
            </a:extLst>
          </p:cNvPr>
          <p:cNvSpPr>
            <a:spLocks/>
          </p:cNvSpPr>
          <p:nvPr/>
        </p:nvSpPr>
        <p:spPr>
          <a:xfrm>
            <a:off x="5559458" y="4295217"/>
            <a:ext cx="1863018" cy="177307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800"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FE2F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Can</a:t>
            </a:r>
            <a:b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FE2F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FE2F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Collection Bins</a:t>
            </a:r>
          </a:p>
          <a:p>
            <a:pPr marL="2857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Indoor or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Outdoor Use</a:t>
            </a:r>
          </a:p>
          <a:p>
            <a:pPr marL="2857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Made of 100% recycled materia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C09BB5B-A0E4-4F98-D8D1-393E416FADA4}"/>
              </a:ext>
            </a:extLst>
          </p:cNvPr>
          <p:cNvSpPr>
            <a:spLocks/>
          </p:cNvSpPr>
          <p:nvPr/>
        </p:nvSpPr>
        <p:spPr>
          <a:xfrm>
            <a:off x="3532067" y="4295217"/>
            <a:ext cx="1863018" cy="177307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800"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FE2F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Durable, Reusable Event Recycling Bin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Poppins SemiBold"/>
            </a:endParaRPr>
          </a:p>
          <a:p>
            <a:pPr marL="2857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Available upon request for special events</a:t>
            </a: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Calibri"/>
              <a:cs typeface="Calibri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5817EFD-731C-ED90-F925-B41BF4AB7959}"/>
              </a:ext>
            </a:extLst>
          </p:cNvPr>
          <p:cNvSpPr>
            <a:spLocks/>
          </p:cNvSpPr>
          <p:nvPr/>
        </p:nvSpPr>
        <p:spPr>
          <a:xfrm>
            <a:off x="9641950" y="4295217"/>
            <a:ext cx="1863018" cy="1773073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prstClr val="black"/>
              </a:buClr>
              <a:buSzPts val="800"/>
              <a:buFont typeface="Arial"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FE2F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96</a:t>
            </a:r>
            <a:b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FE2F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</a:b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4FE2F3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Gallon Toter</a:t>
            </a:r>
          </a:p>
          <a:p>
            <a:pPr marL="2857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Best for</a:t>
            </a:r>
            <a:b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</a:b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Outdoor Use</a:t>
            </a:r>
          </a:p>
          <a:p>
            <a:pPr marL="2857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sym typeface="Poppins SemiBold"/>
              </a:rPr>
              <a:t>Made of 100% recycled material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1D51D38-017B-7C0B-473E-937966732ECD}"/>
              </a:ext>
            </a:extLst>
          </p:cNvPr>
          <p:cNvCxnSpPr>
            <a:cxnSpLocks/>
          </p:cNvCxnSpPr>
          <p:nvPr/>
        </p:nvCxnSpPr>
        <p:spPr>
          <a:xfrm>
            <a:off x="5470344" y="4295217"/>
            <a:ext cx="0" cy="1773073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77BA6CF5-091F-F86E-46BE-1B8182CE2A1C}"/>
              </a:ext>
            </a:extLst>
          </p:cNvPr>
          <p:cNvCxnSpPr>
            <a:cxnSpLocks/>
          </p:cNvCxnSpPr>
          <p:nvPr/>
        </p:nvCxnSpPr>
        <p:spPr>
          <a:xfrm>
            <a:off x="7511591" y="4295217"/>
            <a:ext cx="0" cy="1773073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A5395151-A30F-7C7F-FF3A-671096556B8A}"/>
              </a:ext>
            </a:extLst>
          </p:cNvPr>
          <p:cNvCxnSpPr>
            <a:cxnSpLocks/>
          </p:cNvCxnSpPr>
          <p:nvPr/>
        </p:nvCxnSpPr>
        <p:spPr>
          <a:xfrm>
            <a:off x="9552838" y="4295217"/>
            <a:ext cx="0" cy="1773073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4FB586B4-4651-20D9-73FD-1CC410BBC91F}"/>
              </a:ext>
            </a:extLst>
          </p:cNvPr>
          <p:cNvSpPr txBox="1"/>
          <p:nvPr/>
        </p:nvSpPr>
        <p:spPr>
          <a:xfrm rot="16200000">
            <a:off x="4447471" y="1406678"/>
            <a:ext cx="45720" cy="4380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16200000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B0B06B86-48A7-370B-7A66-5E63D704AC89}"/>
              </a:ext>
            </a:extLst>
          </p:cNvPr>
          <p:cNvSpPr txBox="1"/>
          <p:nvPr/>
        </p:nvSpPr>
        <p:spPr>
          <a:xfrm rot="16200000">
            <a:off x="6466817" y="1406678"/>
            <a:ext cx="45720" cy="4380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16200000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4BCF8704-AB7A-9454-F0DC-359FB556E6B1}"/>
              </a:ext>
            </a:extLst>
          </p:cNvPr>
          <p:cNvSpPr txBox="1"/>
          <p:nvPr/>
        </p:nvSpPr>
        <p:spPr>
          <a:xfrm rot="16200000">
            <a:off x="8486163" y="1406678"/>
            <a:ext cx="45720" cy="4380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16200000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76E2A3E7-FEC9-72E9-9815-BAF37CEA21BD}"/>
              </a:ext>
            </a:extLst>
          </p:cNvPr>
          <p:cNvSpPr txBox="1"/>
          <p:nvPr/>
        </p:nvSpPr>
        <p:spPr>
          <a:xfrm rot="16200000">
            <a:off x="10505510" y="1406678"/>
            <a:ext cx="45720" cy="438013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  <a:effectLst>
            <a:outerShdw blurRad="50800" dist="38100" dir="16200000" rotWithShape="0">
              <a:schemeClr val="bg1">
                <a:lumMod val="75000"/>
                <a:alpha val="2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43D65871-F0B4-1EB6-F20C-C661A969B18F}"/>
              </a:ext>
            </a:extLst>
          </p:cNvPr>
          <p:cNvGrpSpPr/>
          <p:nvPr/>
        </p:nvGrpSpPr>
        <p:grpSpPr>
          <a:xfrm>
            <a:off x="0" y="5890192"/>
            <a:ext cx="1207287" cy="967808"/>
            <a:chOff x="0" y="5500379"/>
            <a:chExt cx="1693557" cy="1357621"/>
          </a:xfrm>
        </p:grpSpPr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91B9E3CB-4AE0-0713-71D5-CF461A7891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rcRect l="51684" b="61268"/>
            <a:stretch>
              <a:fillRect/>
            </a:stretch>
          </p:blipFill>
          <p:spPr>
            <a:xfrm>
              <a:off x="0" y="5500379"/>
              <a:ext cx="1693557" cy="1357621"/>
            </a:xfrm>
            <a:custGeom>
              <a:avLst/>
              <a:gdLst>
                <a:gd name="connsiteX0" fmla="*/ 0 w 1693557"/>
                <a:gd name="connsiteY0" fmla="*/ 0 h 1357621"/>
                <a:gd name="connsiteX1" fmla="*/ 1693557 w 1693557"/>
                <a:gd name="connsiteY1" fmla="*/ 0 h 1357621"/>
                <a:gd name="connsiteX2" fmla="*/ 1693557 w 1693557"/>
                <a:gd name="connsiteY2" fmla="*/ 1357621 h 1357621"/>
                <a:gd name="connsiteX3" fmla="*/ 0 w 1693557"/>
                <a:gd name="connsiteY3" fmla="*/ 1357621 h 13576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693557" h="1357621">
                  <a:moveTo>
                    <a:pt x="0" y="0"/>
                  </a:moveTo>
                  <a:lnTo>
                    <a:pt x="1693557" y="0"/>
                  </a:lnTo>
                  <a:lnTo>
                    <a:pt x="1693557" y="1357621"/>
                  </a:lnTo>
                  <a:lnTo>
                    <a:pt x="0" y="1357621"/>
                  </a:lnTo>
                  <a:close/>
                </a:path>
              </a:pathLst>
            </a:custGeom>
          </p:spPr>
        </p:pic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1C6D0C7-F51C-F2FE-FEBE-1082048A8C76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9390" y="6125366"/>
              <a:ext cx="727871" cy="727871"/>
            </a:xfrm>
            <a:custGeom>
              <a:avLst/>
              <a:gdLst>
                <a:gd name="T0" fmla="*/ 2000 w 2000"/>
                <a:gd name="T1" fmla="*/ 2000 h 2000"/>
                <a:gd name="T2" fmla="*/ 2000 w 2000"/>
                <a:gd name="T3" fmla="*/ 2000 h 2000"/>
                <a:gd name="T4" fmla="*/ 0 w 2000"/>
                <a:gd name="T5" fmla="*/ 0 h 2000"/>
                <a:gd name="T6" fmla="*/ 0 w 2000"/>
                <a:gd name="T7" fmla="*/ 0 h 2000"/>
                <a:gd name="T8" fmla="*/ 2000 w 2000"/>
                <a:gd name="T9" fmla="*/ 2000 h 2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00" h="2000">
                  <a:moveTo>
                    <a:pt x="2000" y="2000"/>
                  </a:moveTo>
                  <a:lnTo>
                    <a:pt x="2000" y="2000"/>
                  </a:lnTo>
                  <a:cubicBezTo>
                    <a:pt x="2000" y="895"/>
                    <a:pt x="1104" y="0"/>
                    <a:pt x="0" y="0"/>
                  </a:cubicBezTo>
                  <a:lnTo>
                    <a:pt x="0" y="0"/>
                  </a:lnTo>
                  <a:cubicBezTo>
                    <a:pt x="0" y="1104"/>
                    <a:pt x="895" y="2000"/>
                    <a:pt x="2000" y="2000"/>
                  </a:cubicBezTo>
                  <a:close/>
                </a:path>
              </a:pathLst>
            </a:custGeom>
            <a:solidFill>
              <a:srgbClr val="00C04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40">
              <a:extLst>
                <a:ext uri="{FF2B5EF4-FFF2-40B4-BE49-F238E27FC236}">
                  <a16:creationId xmlns:a16="http://schemas.microsoft.com/office/drawing/2014/main" id="{B2C71C27-04E7-6B94-26D8-C11769E3B4D2}"/>
                </a:ext>
              </a:extLst>
            </p:cNvPr>
            <p:cNvSpPr>
              <a:spLocks/>
            </p:cNvSpPr>
            <p:nvPr/>
          </p:nvSpPr>
          <p:spPr bwMode="auto">
            <a:xfrm flipH="1">
              <a:off x="545880" y="5889203"/>
              <a:ext cx="401542" cy="402755"/>
            </a:xfrm>
            <a:custGeom>
              <a:avLst/>
              <a:gdLst>
                <a:gd name="T0" fmla="*/ 1105 w 1105"/>
                <a:gd name="T1" fmla="*/ 624 h 1105"/>
                <a:gd name="T2" fmla="*/ 1105 w 1105"/>
                <a:gd name="T3" fmla="*/ 624 h 1105"/>
                <a:gd name="T4" fmla="*/ 1105 w 1105"/>
                <a:gd name="T5" fmla="*/ 481 h 1105"/>
                <a:gd name="T6" fmla="*/ 1036 w 1105"/>
                <a:gd name="T7" fmla="*/ 411 h 1105"/>
                <a:gd name="T8" fmla="*/ 694 w 1105"/>
                <a:gd name="T9" fmla="*/ 411 h 1105"/>
                <a:gd name="T10" fmla="*/ 694 w 1105"/>
                <a:gd name="T11" fmla="*/ 69 h 1105"/>
                <a:gd name="T12" fmla="*/ 625 w 1105"/>
                <a:gd name="T13" fmla="*/ 0 h 1105"/>
                <a:gd name="T14" fmla="*/ 481 w 1105"/>
                <a:gd name="T15" fmla="*/ 0 h 1105"/>
                <a:gd name="T16" fmla="*/ 412 w 1105"/>
                <a:gd name="T17" fmla="*/ 69 h 1105"/>
                <a:gd name="T18" fmla="*/ 412 w 1105"/>
                <a:gd name="T19" fmla="*/ 411 h 1105"/>
                <a:gd name="T20" fmla="*/ 69 w 1105"/>
                <a:gd name="T21" fmla="*/ 411 h 1105"/>
                <a:gd name="T22" fmla="*/ 0 w 1105"/>
                <a:gd name="T23" fmla="*/ 481 h 1105"/>
                <a:gd name="T24" fmla="*/ 0 w 1105"/>
                <a:gd name="T25" fmla="*/ 624 h 1105"/>
                <a:gd name="T26" fmla="*/ 69 w 1105"/>
                <a:gd name="T27" fmla="*/ 693 h 1105"/>
                <a:gd name="T28" fmla="*/ 412 w 1105"/>
                <a:gd name="T29" fmla="*/ 693 h 1105"/>
                <a:gd name="T30" fmla="*/ 412 w 1105"/>
                <a:gd name="T31" fmla="*/ 1036 h 1105"/>
                <a:gd name="T32" fmla="*/ 481 w 1105"/>
                <a:gd name="T33" fmla="*/ 1105 h 1105"/>
                <a:gd name="T34" fmla="*/ 625 w 1105"/>
                <a:gd name="T35" fmla="*/ 1105 h 1105"/>
                <a:gd name="T36" fmla="*/ 694 w 1105"/>
                <a:gd name="T37" fmla="*/ 1036 h 1105"/>
                <a:gd name="T38" fmla="*/ 694 w 1105"/>
                <a:gd name="T39" fmla="*/ 693 h 1105"/>
                <a:gd name="T40" fmla="*/ 1036 w 1105"/>
                <a:gd name="T41" fmla="*/ 693 h 1105"/>
                <a:gd name="T42" fmla="*/ 1105 w 1105"/>
                <a:gd name="T43" fmla="*/ 624 h 1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105" h="1105">
                  <a:moveTo>
                    <a:pt x="1105" y="624"/>
                  </a:moveTo>
                  <a:lnTo>
                    <a:pt x="1105" y="624"/>
                  </a:lnTo>
                  <a:lnTo>
                    <a:pt x="1105" y="481"/>
                  </a:lnTo>
                  <a:cubicBezTo>
                    <a:pt x="1105" y="443"/>
                    <a:pt x="1074" y="411"/>
                    <a:pt x="1036" y="411"/>
                  </a:cubicBezTo>
                  <a:lnTo>
                    <a:pt x="694" y="411"/>
                  </a:lnTo>
                  <a:lnTo>
                    <a:pt x="694" y="69"/>
                  </a:lnTo>
                  <a:cubicBezTo>
                    <a:pt x="694" y="31"/>
                    <a:pt x="662" y="0"/>
                    <a:pt x="625" y="0"/>
                  </a:cubicBezTo>
                  <a:lnTo>
                    <a:pt x="481" y="0"/>
                  </a:lnTo>
                  <a:cubicBezTo>
                    <a:pt x="443" y="0"/>
                    <a:pt x="412" y="31"/>
                    <a:pt x="412" y="69"/>
                  </a:cubicBezTo>
                  <a:lnTo>
                    <a:pt x="412" y="411"/>
                  </a:lnTo>
                  <a:lnTo>
                    <a:pt x="69" y="411"/>
                  </a:lnTo>
                  <a:cubicBezTo>
                    <a:pt x="31" y="411"/>
                    <a:pt x="0" y="443"/>
                    <a:pt x="0" y="481"/>
                  </a:cubicBezTo>
                  <a:lnTo>
                    <a:pt x="0" y="624"/>
                  </a:lnTo>
                  <a:cubicBezTo>
                    <a:pt x="0" y="662"/>
                    <a:pt x="31" y="693"/>
                    <a:pt x="69" y="693"/>
                  </a:cubicBezTo>
                  <a:lnTo>
                    <a:pt x="412" y="693"/>
                  </a:lnTo>
                  <a:lnTo>
                    <a:pt x="412" y="1036"/>
                  </a:lnTo>
                  <a:cubicBezTo>
                    <a:pt x="412" y="1074"/>
                    <a:pt x="443" y="1105"/>
                    <a:pt x="481" y="1105"/>
                  </a:cubicBezTo>
                  <a:lnTo>
                    <a:pt x="625" y="1105"/>
                  </a:lnTo>
                  <a:cubicBezTo>
                    <a:pt x="662" y="1105"/>
                    <a:pt x="694" y="1074"/>
                    <a:pt x="694" y="1036"/>
                  </a:cubicBezTo>
                  <a:lnTo>
                    <a:pt x="694" y="693"/>
                  </a:lnTo>
                  <a:lnTo>
                    <a:pt x="1036" y="693"/>
                  </a:lnTo>
                  <a:cubicBezTo>
                    <a:pt x="1074" y="693"/>
                    <a:pt x="1105" y="662"/>
                    <a:pt x="1105" y="624"/>
                  </a:cubicBezTo>
                  <a:close/>
                </a:path>
              </a:pathLst>
            </a:custGeom>
            <a:solidFill>
              <a:srgbClr val="8EDB4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D4AA2AA7-8FE7-194F-3595-BA7ADA19E5BB}"/>
              </a:ext>
            </a:extLst>
          </p:cNvPr>
          <p:cNvGrpSpPr/>
          <p:nvPr/>
        </p:nvGrpSpPr>
        <p:grpSpPr>
          <a:xfrm>
            <a:off x="11441599" y="6167373"/>
            <a:ext cx="490943" cy="497085"/>
            <a:chOff x="10732103" y="6210946"/>
            <a:chExt cx="1006277" cy="1018869"/>
          </a:xfrm>
        </p:grpSpPr>
        <p:sp>
          <p:nvSpPr>
            <p:cNvPr id="60" name="Freeform: Shape 59">
              <a:extLst>
                <a:ext uri="{FF2B5EF4-FFF2-40B4-BE49-F238E27FC236}">
                  <a16:creationId xmlns:a16="http://schemas.microsoft.com/office/drawing/2014/main" id="{258AD54F-A943-3631-D289-E4125692A723}"/>
                </a:ext>
              </a:extLst>
            </p:cNvPr>
            <p:cNvSpPr/>
            <p:nvPr/>
          </p:nvSpPr>
          <p:spPr>
            <a:xfrm>
              <a:off x="10738446" y="6777435"/>
              <a:ext cx="368617" cy="452380"/>
            </a:xfrm>
            <a:custGeom>
              <a:avLst/>
              <a:gdLst>
                <a:gd name="connsiteX0" fmla="*/ 368618 w 368617"/>
                <a:gd name="connsiteY0" fmla="*/ 257842 h 452380"/>
                <a:gd name="connsiteX1" fmla="*/ 367951 w 368617"/>
                <a:gd name="connsiteY1" fmla="*/ 245459 h 452380"/>
                <a:gd name="connsiteX2" fmla="*/ 366808 w 368617"/>
                <a:gd name="connsiteY2" fmla="*/ 241745 h 452380"/>
                <a:gd name="connsiteX3" fmla="*/ 365284 w 368617"/>
                <a:gd name="connsiteY3" fmla="*/ 238601 h 452380"/>
                <a:gd name="connsiteX4" fmla="*/ 362426 w 368617"/>
                <a:gd name="connsiteY4" fmla="*/ 228124 h 452380"/>
                <a:gd name="connsiteX5" fmla="*/ 353854 w 368617"/>
                <a:gd name="connsiteY5" fmla="*/ 222028 h 452380"/>
                <a:gd name="connsiteX6" fmla="*/ 339281 w 368617"/>
                <a:gd name="connsiteY6" fmla="*/ 213360 h 452380"/>
                <a:gd name="connsiteX7" fmla="*/ 332708 w 368617"/>
                <a:gd name="connsiteY7" fmla="*/ 210979 h 452380"/>
                <a:gd name="connsiteX8" fmla="*/ 324517 w 368617"/>
                <a:gd name="connsiteY8" fmla="*/ 208312 h 452380"/>
                <a:gd name="connsiteX9" fmla="*/ 323183 w 368617"/>
                <a:gd name="connsiteY9" fmla="*/ 206121 h 452380"/>
                <a:gd name="connsiteX10" fmla="*/ 318707 w 368617"/>
                <a:gd name="connsiteY10" fmla="*/ 205073 h 452380"/>
                <a:gd name="connsiteX11" fmla="*/ 309944 w 368617"/>
                <a:gd name="connsiteY11" fmla="*/ 202502 h 452380"/>
                <a:gd name="connsiteX12" fmla="*/ 308800 w 368617"/>
                <a:gd name="connsiteY12" fmla="*/ 202692 h 452380"/>
                <a:gd name="connsiteX13" fmla="*/ 304705 w 368617"/>
                <a:gd name="connsiteY13" fmla="*/ 203930 h 452380"/>
                <a:gd name="connsiteX14" fmla="*/ 303086 w 368617"/>
                <a:gd name="connsiteY14" fmla="*/ 202787 h 452380"/>
                <a:gd name="connsiteX15" fmla="*/ 297370 w 368617"/>
                <a:gd name="connsiteY15" fmla="*/ 199358 h 452380"/>
                <a:gd name="connsiteX16" fmla="*/ 289274 w 368617"/>
                <a:gd name="connsiteY16" fmla="*/ 197644 h 452380"/>
                <a:gd name="connsiteX17" fmla="*/ 282797 w 368617"/>
                <a:gd name="connsiteY17" fmla="*/ 197644 h 452380"/>
                <a:gd name="connsiteX18" fmla="*/ 278701 w 368617"/>
                <a:gd name="connsiteY18" fmla="*/ 195929 h 452380"/>
                <a:gd name="connsiteX19" fmla="*/ 277940 w 368617"/>
                <a:gd name="connsiteY19" fmla="*/ 200692 h 452380"/>
                <a:gd name="connsiteX20" fmla="*/ 275558 w 368617"/>
                <a:gd name="connsiteY20" fmla="*/ 195453 h 452380"/>
                <a:gd name="connsiteX21" fmla="*/ 272606 w 368617"/>
                <a:gd name="connsiteY21" fmla="*/ 198025 h 452380"/>
                <a:gd name="connsiteX22" fmla="*/ 260223 w 368617"/>
                <a:gd name="connsiteY22" fmla="*/ 197453 h 452380"/>
                <a:gd name="connsiteX23" fmla="*/ 249555 w 368617"/>
                <a:gd name="connsiteY23" fmla="*/ 197072 h 452380"/>
                <a:gd name="connsiteX24" fmla="*/ 238411 w 368617"/>
                <a:gd name="connsiteY24" fmla="*/ 199263 h 452380"/>
                <a:gd name="connsiteX25" fmla="*/ 238316 w 368617"/>
                <a:gd name="connsiteY25" fmla="*/ 198787 h 452380"/>
                <a:gd name="connsiteX26" fmla="*/ 236982 w 368617"/>
                <a:gd name="connsiteY26" fmla="*/ 195548 h 452380"/>
                <a:gd name="connsiteX27" fmla="*/ 237744 w 368617"/>
                <a:gd name="connsiteY27" fmla="*/ 192596 h 452380"/>
                <a:gd name="connsiteX28" fmla="*/ 248031 w 368617"/>
                <a:gd name="connsiteY28" fmla="*/ 178498 h 452380"/>
                <a:gd name="connsiteX29" fmla="*/ 259175 w 368617"/>
                <a:gd name="connsiteY29" fmla="*/ 160782 h 452380"/>
                <a:gd name="connsiteX30" fmla="*/ 260699 w 368617"/>
                <a:gd name="connsiteY30" fmla="*/ 159829 h 452380"/>
                <a:gd name="connsiteX31" fmla="*/ 262604 w 368617"/>
                <a:gd name="connsiteY31" fmla="*/ 157829 h 452380"/>
                <a:gd name="connsiteX32" fmla="*/ 265747 w 368617"/>
                <a:gd name="connsiteY32" fmla="*/ 153734 h 452380"/>
                <a:gd name="connsiteX33" fmla="*/ 270986 w 368617"/>
                <a:gd name="connsiteY33" fmla="*/ 147542 h 452380"/>
                <a:gd name="connsiteX34" fmla="*/ 274320 w 368617"/>
                <a:gd name="connsiteY34" fmla="*/ 143066 h 452380"/>
                <a:gd name="connsiteX35" fmla="*/ 276416 w 368617"/>
                <a:gd name="connsiteY35" fmla="*/ 136398 h 452380"/>
                <a:gd name="connsiteX36" fmla="*/ 277654 w 368617"/>
                <a:gd name="connsiteY36" fmla="*/ 134207 h 452380"/>
                <a:gd name="connsiteX37" fmla="*/ 287084 w 368617"/>
                <a:gd name="connsiteY37" fmla="*/ 125349 h 452380"/>
                <a:gd name="connsiteX38" fmla="*/ 292322 w 368617"/>
                <a:gd name="connsiteY38" fmla="*/ 114491 h 452380"/>
                <a:gd name="connsiteX39" fmla="*/ 294418 w 368617"/>
                <a:gd name="connsiteY39" fmla="*/ 112681 h 452380"/>
                <a:gd name="connsiteX40" fmla="*/ 300133 w 368617"/>
                <a:gd name="connsiteY40" fmla="*/ 102108 h 452380"/>
                <a:gd name="connsiteX41" fmla="*/ 300895 w 368617"/>
                <a:gd name="connsiteY41" fmla="*/ 100870 h 452380"/>
                <a:gd name="connsiteX42" fmla="*/ 307372 w 368617"/>
                <a:gd name="connsiteY42" fmla="*/ 90488 h 452380"/>
                <a:gd name="connsiteX43" fmla="*/ 315373 w 368617"/>
                <a:gd name="connsiteY43" fmla="*/ 72676 h 452380"/>
                <a:gd name="connsiteX44" fmla="*/ 321564 w 368617"/>
                <a:gd name="connsiteY44" fmla="*/ 32480 h 452380"/>
                <a:gd name="connsiteX45" fmla="*/ 315182 w 368617"/>
                <a:gd name="connsiteY45" fmla="*/ 22003 h 452380"/>
                <a:gd name="connsiteX46" fmla="*/ 301371 w 368617"/>
                <a:gd name="connsiteY46" fmla="*/ 18193 h 452380"/>
                <a:gd name="connsiteX47" fmla="*/ 300799 w 368617"/>
                <a:gd name="connsiteY47" fmla="*/ 15907 h 452380"/>
                <a:gd name="connsiteX48" fmla="*/ 293751 w 368617"/>
                <a:gd name="connsiteY48" fmla="*/ 21527 h 452380"/>
                <a:gd name="connsiteX49" fmla="*/ 287465 w 368617"/>
                <a:gd name="connsiteY49" fmla="*/ 26860 h 452380"/>
                <a:gd name="connsiteX50" fmla="*/ 276606 w 368617"/>
                <a:gd name="connsiteY50" fmla="*/ 36671 h 452380"/>
                <a:gd name="connsiteX51" fmla="*/ 270796 w 368617"/>
                <a:gd name="connsiteY51" fmla="*/ 38005 h 452380"/>
                <a:gd name="connsiteX52" fmla="*/ 269367 w 368617"/>
                <a:gd name="connsiteY52" fmla="*/ 39148 h 452380"/>
                <a:gd name="connsiteX53" fmla="*/ 268129 w 368617"/>
                <a:gd name="connsiteY53" fmla="*/ 41815 h 452380"/>
                <a:gd name="connsiteX54" fmla="*/ 256794 w 368617"/>
                <a:gd name="connsiteY54" fmla="*/ 52673 h 452380"/>
                <a:gd name="connsiteX55" fmla="*/ 241173 w 368617"/>
                <a:gd name="connsiteY55" fmla="*/ 69056 h 452380"/>
                <a:gd name="connsiteX56" fmla="*/ 234696 w 368617"/>
                <a:gd name="connsiteY56" fmla="*/ 76010 h 452380"/>
                <a:gd name="connsiteX57" fmla="*/ 233934 w 368617"/>
                <a:gd name="connsiteY57" fmla="*/ 76581 h 452380"/>
                <a:gd name="connsiteX58" fmla="*/ 227838 w 368617"/>
                <a:gd name="connsiteY58" fmla="*/ 82010 h 452380"/>
                <a:gd name="connsiteX59" fmla="*/ 212408 w 368617"/>
                <a:gd name="connsiteY59" fmla="*/ 101346 h 452380"/>
                <a:gd name="connsiteX60" fmla="*/ 204216 w 368617"/>
                <a:gd name="connsiteY60" fmla="*/ 110109 h 452380"/>
                <a:gd name="connsiteX61" fmla="*/ 190976 w 368617"/>
                <a:gd name="connsiteY61" fmla="*/ 125254 h 452380"/>
                <a:gd name="connsiteX62" fmla="*/ 184975 w 368617"/>
                <a:gd name="connsiteY62" fmla="*/ 129254 h 452380"/>
                <a:gd name="connsiteX63" fmla="*/ 181451 w 368617"/>
                <a:gd name="connsiteY63" fmla="*/ 125158 h 452380"/>
                <a:gd name="connsiteX64" fmla="*/ 180499 w 368617"/>
                <a:gd name="connsiteY64" fmla="*/ 123349 h 452380"/>
                <a:gd name="connsiteX65" fmla="*/ 165068 w 368617"/>
                <a:gd name="connsiteY65" fmla="*/ 94393 h 452380"/>
                <a:gd name="connsiteX66" fmla="*/ 161925 w 368617"/>
                <a:gd name="connsiteY66" fmla="*/ 89725 h 452380"/>
                <a:gd name="connsiteX67" fmla="*/ 153162 w 368617"/>
                <a:gd name="connsiteY67" fmla="*/ 75819 h 452380"/>
                <a:gd name="connsiteX68" fmla="*/ 153734 w 368617"/>
                <a:gd name="connsiteY68" fmla="*/ 74962 h 452380"/>
                <a:gd name="connsiteX69" fmla="*/ 152876 w 368617"/>
                <a:gd name="connsiteY69" fmla="*/ 72771 h 452380"/>
                <a:gd name="connsiteX70" fmla="*/ 145637 w 368617"/>
                <a:gd name="connsiteY70" fmla="*/ 62484 h 452380"/>
                <a:gd name="connsiteX71" fmla="*/ 141161 w 368617"/>
                <a:gd name="connsiteY71" fmla="*/ 53531 h 452380"/>
                <a:gd name="connsiteX72" fmla="*/ 132016 w 368617"/>
                <a:gd name="connsiteY72" fmla="*/ 35719 h 452380"/>
                <a:gd name="connsiteX73" fmla="*/ 127921 w 368617"/>
                <a:gd name="connsiteY73" fmla="*/ 26194 h 452380"/>
                <a:gd name="connsiteX74" fmla="*/ 127064 w 368617"/>
                <a:gd name="connsiteY74" fmla="*/ 22384 h 452380"/>
                <a:gd name="connsiteX75" fmla="*/ 119729 w 368617"/>
                <a:gd name="connsiteY75" fmla="*/ 4286 h 452380"/>
                <a:gd name="connsiteX76" fmla="*/ 117824 w 368617"/>
                <a:gd name="connsiteY76" fmla="*/ 0 h 452380"/>
                <a:gd name="connsiteX77" fmla="*/ 113062 w 368617"/>
                <a:gd name="connsiteY77" fmla="*/ 2477 h 452380"/>
                <a:gd name="connsiteX78" fmla="*/ 105061 w 368617"/>
                <a:gd name="connsiteY78" fmla="*/ 15811 h 452380"/>
                <a:gd name="connsiteX79" fmla="*/ 102108 w 368617"/>
                <a:gd name="connsiteY79" fmla="*/ 20383 h 452380"/>
                <a:gd name="connsiteX80" fmla="*/ 97726 w 368617"/>
                <a:gd name="connsiteY80" fmla="*/ 26765 h 452380"/>
                <a:gd name="connsiteX81" fmla="*/ 95345 w 368617"/>
                <a:gd name="connsiteY81" fmla="*/ 37433 h 452380"/>
                <a:gd name="connsiteX82" fmla="*/ 100013 w 368617"/>
                <a:gd name="connsiteY82" fmla="*/ 53340 h 452380"/>
                <a:gd name="connsiteX83" fmla="*/ 102299 w 368617"/>
                <a:gd name="connsiteY83" fmla="*/ 58293 h 452380"/>
                <a:gd name="connsiteX84" fmla="*/ 103918 w 368617"/>
                <a:gd name="connsiteY84" fmla="*/ 60008 h 452380"/>
                <a:gd name="connsiteX85" fmla="*/ 105156 w 368617"/>
                <a:gd name="connsiteY85" fmla="*/ 72866 h 452380"/>
                <a:gd name="connsiteX86" fmla="*/ 107251 w 368617"/>
                <a:gd name="connsiteY86" fmla="*/ 80581 h 452380"/>
                <a:gd name="connsiteX87" fmla="*/ 108299 w 368617"/>
                <a:gd name="connsiteY87" fmla="*/ 83820 h 452380"/>
                <a:gd name="connsiteX88" fmla="*/ 110014 w 368617"/>
                <a:gd name="connsiteY88" fmla="*/ 101156 h 452380"/>
                <a:gd name="connsiteX89" fmla="*/ 112776 w 368617"/>
                <a:gd name="connsiteY89" fmla="*/ 114586 h 452380"/>
                <a:gd name="connsiteX90" fmla="*/ 118872 w 368617"/>
                <a:gd name="connsiteY90" fmla="*/ 142780 h 452380"/>
                <a:gd name="connsiteX91" fmla="*/ 123444 w 368617"/>
                <a:gd name="connsiteY91" fmla="*/ 160401 h 452380"/>
                <a:gd name="connsiteX92" fmla="*/ 128492 w 368617"/>
                <a:gd name="connsiteY92" fmla="*/ 178308 h 452380"/>
                <a:gd name="connsiteX93" fmla="*/ 128492 w 368617"/>
                <a:gd name="connsiteY93" fmla="*/ 182594 h 452380"/>
                <a:gd name="connsiteX94" fmla="*/ 124587 w 368617"/>
                <a:gd name="connsiteY94" fmla="*/ 183166 h 452380"/>
                <a:gd name="connsiteX95" fmla="*/ 115633 w 368617"/>
                <a:gd name="connsiteY95" fmla="*/ 179261 h 452380"/>
                <a:gd name="connsiteX96" fmla="*/ 110204 w 368617"/>
                <a:gd name="connsiteY96" fmla="*/ 175641 h 452380"/>
                <a:gd name="connsiteX97" fmla="*/ 99251 w 368617"/>
                <a:gd name="connsiteY97" fmla="*/ 171641 h 452380"/>
                <a:gd name="connsiteX98" fmla="*/ 89726 w 368617"/>
                <a:gd name="connsiteY98" fmla="*/ 169926 h 452380"/>
                <a:gd name="connsiteX99" fmla="*/ 88582 w 368617"/>
                <a:gd name="connsiteY99" fmla="*/ 170879 h 452380"/>
                <a:gd name="connsiteX100" fmla="*/ 88011 w 368617"/>
                <a:gd name="connsiteY100" fmla="*/ 168497 h 452380"/>
                <a:gd name="connsiteX101" fmla="*/ 87535 w 368617"/>
                <a:gd name="connsiteY101" fmla="*/ 171641 h 452380"/>
                <a:gd name="connsiteX102" fmla="*/ 79915 w 368617"/>
                <a:gd name="connsiteY102" fmla="*/ 169164 h 452380"/>
                <a:gd name="connsiteX103" fmla="*/ 66675 w 368617"/>
                <a:gd name="connsiteY103" fmla="*/ 166306 h 452380"/>
                <a:gd name="connsiteX104" fmla="*/ 64579 w 368617"/>
                <a:gd name="connsiteY104" fmla="*/ 165354 h 452380"/>
                <a:gd name="connsiteX105" fmla="*/ 49339 w 368617"/>
                <a:gd name="connsiteY105" fmla="*/ 167164 h 452380"/>
                <a:gd name="connsiteX106" fmla="*/ 48863 w 368617"/>
                <a:gd name="connsiteY106" fmla="*/ 167069 h 452380"/>
                <a:gd name="connsiteX107" fmla="*/ 34576 w 368617"/>
                <a:gd name="connsiteY107" fmla="*/ 166402 h 452380"/>
                <a:gd name="connsiteX108" fmla="*/ 28289 w 368617"/>
                <a:gd name="connsiteY108" fmla="*/ 168402 h 452380"/>
                <a:gd name="connsiteX109" fmla="*/ 21431 w 368617"/>
                <a:gd name="connsiteY109" fmla="*/ 173450 h 452380"/>
                <a:gd name="connsiteX110" fmla="*/ 18097 w 368617"/>
                <a:gd name="connsiteY110" fmla="*/ 171260 h 452380"/>
                <a:gd name="connsiteX111" fmla="*/ 11716 w 368617"/>
                <a:gd name="connsiteY111" fmla="*/ 173927 h 452380"/>
                <a:gd name="connsiteX112" fmla="*/ 9430 w 368617"/>
                <a:gd name="connsiteY112" fmla="*/ 178022 h 452380"/>
                <a:gd name="connsiteX113" fmla="*/ 6953 w 368617"/>
                <a:gd name="connsiteY113" fmla="*/ 186404 h 452380"/>
                <a:gd name="connsiteX114" fmla="*/ 7239 w 368617"/>
                <a:gd name="connsiteY114" fmla="*/ 190310 h 452380"/>
                <a:gd name="connsiteX115" fmla="*/ 1143 w 368617"/>
                <a:gd name="connsiteY115" fmla="*/ 203264 h 452380"/>
                <a:gd name="connsiteX116" fmla="*/ 0 w 368617"/>
                <a:gd name="connsiteY116" fmla="*/ 216789 h 452380"/>
                <a:gd name="connsiteX117" fmla="*/ 571 w 368617"/>
                <a:gd name="connsiteY117" fmla="*/ 217646 h 452380"/>
                <a:gd name="connsiteX118" fmla="*/ 10001 w 368617"/>
                <a:gd name="connsiteY118" fmla="*/ 221742 h 452380"/>
                <a:gd name="connsiteX119" fmla="*/ 27718 w 368617"/>
                <a:gd name="connsiteY119" fmla="*/ 227743 h 452380"/>
                <a:gd name="connsiteX120" fmla="*/ 51054 w 368617"/>
                <a:gd name="connsiteY120" fmla="*/ 236982 h 452380"/>
                <a:gd name="connsiteX121" fmla="*/ 52959 w 368617"/>
                <a:gd name="connsiteY121" fmla="*/ 236792 h 452380"/>
                <a:gd name="connsiteX122" fmla="*/ 60293 w 368617"/>
                <a:gd name="connsiteY122" fmla="*/ 236220 h 452380"/>
                <a:gd name="connsiteX123" fmla="*/ 65818 w 368617"/>
                <a:gd name="connsiteY123" fmla="*/ 237649 h 452380"/>
                <a:gd name="connsiteX124" fmla="*/ 79915 w 368617"/>
                <a:gd name="connsiteY124" fmla="*/ 239363 h 452380"/>
                <a:gd name="connsiteX125" fmla="*/ 97060 w 368617"/>
                <a:gd name="connsiteY125" fmla="*/ 240030 h 452380"/>
                <a:gd name="connsiteX126" fmla="*/ 104489 w 368617"/>
                <a:gd name="connsiteY126" fmla="*/ 240030 h 452380"/>
                <a:gd name="connsiteX127" fmla="*/ 110871 w 368617"/>
                <a:gd name="connsiteY127" fmla="*/ 239744 h 452380"/>
                <a:gd name="connsiteX128" fmla="*/ 116205 w 368617"/>
                <a:gd name="connsiteY128" fmla="*/ 242125 h 452380"/>
                <a:gd name="connsiteX129" fmla="*/ 120491 w 368617"/>
                <a:gd name="connsiteY129" fmla="*/ 243078 h 452380"/>
                <a:gd name="connsiteX130" fmla="*/ 123634 w 368617"/>
                <a:gd name="connsiteY130" fmla="*/ 244412 h 452380"/>
                <a:gd name="connsiteX131" fmla="*/ 133255 w 368617"/>
                <a:gd name="connsiteY131" fmla="*/ 244412 h 452380"/>
                <a:gd name="connsiteX132" fmla="*/ 128492 w 368617"/>
                <a:gd name="connsiteY132" fmla="*/ 247745 h 452380"/>
                <a:gd name="connsiteX133" fmla="*/ 121444 w 368617"/>
                <a:gd name="connsiteY133" fmla="*/ 257270 h 452380"/>
                <a:gd name="connsiteX134" fmla="*/ 112966 w 368617"/>
                <a:gd name="connsiteY134" fmla="*/ 271082 h 452380"/>
                <a:gd name="connsiteX135" fmla="*/ 105156 w 368617"/>
                <a:gd name="connsiteY135" fmla="*/ 280702 h 452380"/>
                <a:gd name="connsiteX136" fmla="*/ 96202 w 368617"/>
                <a:gd name="connsiteY136" fmla="*/ 289465 h 452380"/>
                <a:gd name="connsiteX137" fmla="*/ 86582 w 368617"/>
                <a:gd name="connsiteY137" fmla="*/ 303371 h 452380"/>
                <a:gd name="connsiteX138" fmla="*/ 81629 w 368617"/>
                <a:gd name="connsiteY138" fmla="*/ 309658 h 452380"/>
                <a:gd name="connsiteX139" fmla="*/ 74104 w 368617"/>
                <a:gd name="connsiteY139" fmla="*/ 317468 h 452380"/>
                <a:gd name="connsiteX140" fmla="*/ 72295 w 368617"/>
                <a:gd name="connsiteY140" fmla="*/ 319088 h 452380"/>
                <a:gd name="connsiteX141" fmla="*/ 64865 w 368617"/>
                <a:gd name="connsiteY141" fmla="*/ 327184 h 452380"/>
                <a:gd name="connsiteX142" fmla="*/ 62293 w 368617"/>
                <a:gd name="connsiteY142" fmla="*/ 330898 h 452380"/>
                <a:gd name="connsiteX143" fmla="*/ 55435 w 368617"/>
                <a:gd name="connsiteY143" fmla="*/ 339185 h 452380"/>
                <a:gd name="connsiteX144" fmla="*/ 52864 w 368617"/>
                <a:gd name="connsiteY144" fmla="*/ 349758 h 452380"/>
                <a:gd name="connsiteX145" fmla="*/ 51149 w 368617"/>
                <a:gd name="connsiteY145" fmla="*/ 364903 h 452380"/>
                <a:gd name="connsiteX146" fmla="*/ 50959 w 368617"/>
                <a:gd name="connsiteY146" fmla="*/ 370046 h 452380"/>
                <a:gd name="connsiteX147" fmla="*/ 51149 w 368617"/>
                <a:gd name="connsiteY147" fmla="*/ 385953 h 452380"/>
                <a:gd name="connsiteX148" fmla="*/ 50578 w 368617"/>
                <a:gd name="connsiteY148" fmla="*/ 388620 h 452380"/>
                <a:gd name="connsiteX149" fmla="*/ 50578 w 368617"/>
                <a:gd name="connsiteY149" fmla="*/ 392621 h 452380"/>
                <a:gd name="connsiteX150" fmla="*/ 64484 w 368617"/>
                <a:gd name="connsiteY150" fmla="*/ 400241 h 452380"/>
                <a:gd name="connsiteX151" fmla="*/ 66199 w 368617"/>
                <a:gd name="connsiteY151" fmla="*/ 399479 h 452380"/>
                <a:gd name="connsiteX152" fmla="*/ 74009 w 368617"/>
                <a:gd name="connsiteY152" fmla="*/ 396621 h 452380"/>
                <a:gd name="connsiteX153" fmla="*/ 81629 w 368617"/>
                <a:gd name="connsiteY153" fmla="*/ 389573 h 452380"/>
                <a:gd name="connsiteX154" fmla="*/ 83629 w 368617"/>
                <a:gd name="connsiteY154" fmla="*/ 385763 h 452380"/>
                <a:gd name="connsiteX155" fmla="*/ 88868 w 368617"/>
                <a:gd name="connsiteY155" fmla="*/ 379095 h 452380"/>
                <a:gd name="connsiteX156" fmla="*/ 90773 w 368617"/>
                <a:gd name="connsiteY156" fmla="*/ 381476 h 452380"/>
                <a:gd name="connsiteX157" fmla="*/ 103537 w 368617"/>
                <a:gd name="connsiteY157" fmla="*/ 366903 h 452380"/>
                <a:gd name="connsiteX158" fmla="*/ 107537 w 368617"/>
                <a:gd name="connsiteY158" fmla="*/ 362426 h 452380"/>
                <a:gd name="connsiteX159" fmla="*/ 117157 w 368617"/>
                <a:gd name="connsiteY159" fmla="*/ 353568 h 452380"/>
                <a:gd name="connsiteX160" fmla="*/ 127826 w 368617"/>
                <a:gd name="connsiteY160" fmla="*/ 345377 h 452380"/>
                <a:gd name="connsiteX161" fmla="*/ 129826 w 368617"/>
                <a:gd name="connsiteY161" fmla="*/ 340043 h 452380"/>
                <a:gd name="connsiteX162" fmla="*/ 133636 w 368617"/>
                <a:gd name="connsiteY162" fmla="*/ 337375 h 452380"/>
                <a:gd name="connsiteX163" fmla="*/ 138017 w 368617"/>
                <a:gd name="connsiteY163" fmla="*/ 333756 h 452380"/>
                <a:gd name="connsiteX164" fmla="*/ 146018 w 368617"/>
                <a:gd name="connsiteY164" fmla="*/ 324612 h 452380"/>
                <a:gd name="connsiteX165" fmla="*/ 147733 w 368617"/>
                <a:gd name="connsiteY165" fmla="*/ 322421 h 452380"/>
                <a:gd name="connsiteX166" fmla="*/ 160592 w 368617"/>
                <a:gd name="connsiteY166" fmla="*/ 308134 h 452380"/>
                <a:gd name="connsiteX167" fmla="*/ 167069 w 368617"/>
                <a:gd name="connsiteY167" fmla="*/ 303657 h 452380"/>
                <a:gd name="connsiteX168" fmla="*/ 171831 w 368617"/>
                <a:gd name="connsiteY168" fmla="*/ 301181 h 452380"/>
                <a:gd name="connsiteX169" fmla="*/ 173355 w 368617"/>
                <a:gd name="connsiteY169" fmla="*/ 299085 h 452380"/>
                <a:gd name="connsiteX170" fmla="*/ 176117 w 368617"/>
                <a:gd name="connsiteY170" fmla="*/ 296037 h 452380"/>
                <a:gd name="connsiteX171" fmla="*/ 179737 w 368617"/>
                <a:gd name="connsiteY171" fmla="*/ 300800 h 452380"/>
                <a:gd name="connsiteX172" fmla="*/ 184309 w 368617"/>
                <a:gd name="connsiteY172" fmla="*/ 318897 h 452380"/>
                <a:gd name="connsiteX173" fmla="*/ 189547 w 368617"/>
                <a:gd name="connsiteY173" fmla="*/ 337375 h 452380"/>
                <a:gd name="connsiteX174" fmla="*/ 192595 w 368617"/>
                <a:gd name="connsiteY174" fmla="*/ 352139 h 452380"/>
                <a:gd name="connsiteX175" fmla="*/ 196024 w 368617"/>
                <a:gd name="connsiteY175" fmla="*/ 367094 h 452380"/>
                <a:gd name="connsiteX176" fmla="*/ 198596 w 368617"/>
                <a:gd name="connsiteY176" fmla="*/ 374523 h 452380"/>
                <a:gd name="connsiteX177" fmla="*/ 201263 w 368617"/>
                <a:gd name="connsiteY177" fmla="*/ 393859 h 452380"/>
                <a:gd name="connsiteX178" fmla="*/ 204406 w 368617"/>
                <a:gd name="connsiteY178" fmla="*/ 403098 h 452380"/>
                <a:gd name="connsiteX179" fmla="*/ 207931 w 368617"/>
                <a:gd name="connsiteY179" fmla="*/ 416243 h 452380"/>
                <a:gd name="connsiteX180" fmla="*/ 211741 w 368617"/>
                <a:gd name="connsiteY180" fmla="*/ 422053 h 452380"/>
                <a:gd name="connsiteX181" fmla="*/ 212122 w 368617"/>
                <a:gd name="connsiteY181" fmla="*/ 431864 h 452380"/>
                <a:gd name="connsiteX182" fmla="*/ 223266 w 368617"/>
                <a:gd name="connsiteY182" fmla="*/ 449580 h 452380"/>
                <a:gd name="connsiteX183" fmla="*/ 228695 w 368617"/>
                <a:gd name="connsiteY183" fmla="*/ 451580 h 452380"/>
                <a:gd name="connsiteX184" fmla="*/ 228695 w 368617"/>
                <a:gd name="connsiteY184" fmla="*/ 451580 h 452380"/>
                <a:gd name="connsiteX185" fmla="*/ 233648 w 368617"/>
                <a:gd name="connsiteY185" fmla="*/ 451580 h 452380"/>
                <a:gd name="connsiteX186" fmla="*/ 241840 w 368617"/>
                <a:gd name="connsiteY186" fmla="*/ 448913 h 452380"/>
                <a:gd name="connsiteX187" fmla="*/ 244030 w 368617"/>
                <a:gd name="connsiteY187" fmla="*/ 423386 h 452380"/>
                <a:gd name="connsiteX188" fmla="*/ 240601 w 368617"/>
                <a:gd name="connsiteY188" fmla="*/ 404622 h 452380"/>
                <a:gd name="connsiteX189" fmla="*/ 237172 w 368617"/>
                <a:gd name="connsiteY189" fmla="*/ 386620 h 452380"/>
                <a:gd name="connsiteX190" fmla="*/ 236982 w 368617"/>
                <a:gd name="connsiteY190" fmla="*/ 384620 h 452380"/>
                <a:gd name="connsiteX191" fmla="*/ 232981 w 368617"/>
                <a:gd name="connsiteY191" fmla="*/ 361855 h 452380"/>
                <a:gd name="connsiteX192" fmla="*/ 232029 w 368617"/>
                <a:gd name="connsiteY192" fmla="*/ 350044 h 452380"/>
                <a:gd name="connsiteX193" fmla="*/ 223456 w 368617"/>
                <a:gd name="connsiteY193" fmla="*/ 323279 h 452380"/>
                <a:gd name="connsiteX194" fmla="*/ 212503 w 368617"/>
                <a:gd name="connsiteY194" fmla="*/ 294037 h 452380"/>
                <a:gd name="connsiteX195" fmla="*/ 212217 w 368617"/>
                <a:gd name="connsiteY195" fmla="*/ 285655 h 452380"/>
                <a:gd name="connsiteX196" fmla="*/ 222123 w 368617"/>
                <a:gd name="connsiteY196" fmla="*/ 284988 h 452380"/>
                <a:gd name="connsiteX197" fmla="*/ 234410 w 368617"/>
                <a:gd name="connsiteY197" fmla="*/ 289560 h 452380"/>
                <a:gd name="connsiteX198" fmla="*/ 249079 w 368617"/>
                <a:gd name="connsiteY198" fmla="*/ 291179 h 452380"/>
                <a:gd name="connsiteX199" fmla="*/ 267843 w 368617"/>
                <a:gd name="connsiteY199" fmla="*/ 292227 h 452380"/>
                <a:gd name="connsiteX200" fmla="*/ 272701 w 368617"/>
                <a:gd name="connsiteY200" fmla="*/ 291560 h 452380"/>
                <a:gd name="connsiteX201" fmla="*/ 282893 w 368617"/>
                <a:gd name="connsiteY201" fmla="*/ 292798 h 452380"/>
                <a:gd name="connsiteX202" fmla="*/ 283464 w 368617"/>
                <a:gd name="connsiteY202" fmla="*/ 291179 h 452380"/>
                <a:gd name="connsiteX203" fmla="*/ 283464 w 368617"/>
                <a:gd name="connsiteY203" fmla="*/ 289179 h 452380"/>
                <a:gd name="connsiteX204" fmla="*/ 285560 w 368617"/>
                <a:gd name="connsiteY204" fmla="*/ 290132 h 452380"/>
                <a:gd name="connsiteX205" fmla="*/ 288893 w 368617"/>
                <a:gd name="connsiteY205" fmla="*/ 291656 h 452380"/>
                <a:gd name="connsiteX206" fmla="*/ 309944 w 368617"/>
                <a:gd name="connsiteY206" fmla="*/ 288893 h 452380"/>
                <a:gd name="connsiteX207" fmla="*/ 322421 w 368617"/>
                <a:gd name="connsiteY207" fmla="*/ 283083 h 452380"/>
                <a:gd name="connsiteX208" fmla="*/ 324517 w 368617"/>
                <a:gd name="connsiteY208" fmla="*/ 282797 h 452380"/>
                <a:gd name="connsiteX209" fmla="*/ 333756 w 368617"/>
                <a:gd name="connsiteY209" fmla="*/ 283940 h 452380"/>
                <a:gd name="connsiteX210" fmla="*/ 341567 w 368617"/>
                <a:gd name="connsiteY210" fmla="*/ 285941 h 452380"/>
                <a:gd name="connsiteX211" fmla="*/ 345853 w 368617"/>
                <a:gd name="connsiteY211" fmla="*/ 283940 h 452380"/>
                <a:gd name="connsiteX212" fmla="*/ 346996 w 368617"/>
                <a:gd name="connsiteY212" fmla="*/ 284988 h 452380"/>
                <a:gd name="connsiteX213" fmla="*/ 346710 w 368617"/>
                <a:gd name="connsiteY213" fmla="*/ 281750 h 452380"/>
                <a:gd name="connsiteX214" fmla="*/ 361474 w 368617"/>
                <a:gd name="connsiteY214" fmla="*/ 279559 h 452380"/>
                <a:gd name="connsiteX215" fmla="*/ 363569 w 368617"/>
                <a:gd name="connsiteY215" fmla="*/ 277749 h 452380"/>
                <a:gd name="connsiteX216" fmla="*/ 366046 w 368617"/>
                <a:gd name="connsiteY216" fmla="*/ 270129 h 452380"/>
                <a:gd name="connsiteX217" fmla="*/ 366903 w 368617"/>
                <a:gd name="connsiteY217" fmla="*/ 263271 h 452380"/>
                <a:gd name="connsiteX218" fmla="*/ 367951 w 368617"/>
                <a:gd name="connsiteY218" fmla="*/ 257556 h 452380"/>
                <a:gd name="connsiteX219" fmla="*/ 155543 w 368617"/>
                <a:gd name="connsiteY219" fmla="*/ 115348 h 452380"/>
                <a:gd name="connsiteX220" fmla="*/ 157448 w 368617"/>
                <a:gd name="connsiteY220" fmla="*/ 117729 h 452380"/>
                <a:gd name="connsiteX221" fmla="*/ 156305 w 368617"/>
                <a:gd name="connsiteY221" fmla="*/ 119158 h 452380"/>
                <a:gd name="connsiteX222" fmla="*/ 154115 w 368617"/>
                <a:gd name="connsiteY222" fmla="*/ 116586 h 452380"/>
                <a:gd name="connsiteX223" fmla="*/ 155543 w 368617"/>
                <a:gd name="connsiteY223" fmla="*/ 115348 h 452380"/>
                <a:gd name="connsiteX224" fmla="*/ 158591 w 368617"/>
                <a:gd name="connsiteY224" fmla="*/ 155543 h 452380"/>
                <a:gd name="connsiteX225" fmla="*/ 155353 w 368617"/>
                <a:gd name="connsiteY225" fmla="*/ 156877 h 452380"/>
                <a:gd name="connsiteX226" fmla="*/ 149447 w 368617"/>
                <a:gd name="connsiteY226" fmla="*/ 154591 h 452380"/>
                <a:gd name="connsiteX227" fmla="*/ 141161 w 368617"/>
                <a:gd name="connsiteY227" fmla="*/ 121920 h 452380"/>
                <a:gd name="connsiteX228" fmla="*/ 141637 w 368617"/>
                <a:gd name="connsiteY228" fmla="*/ 118491 h 452380"/>
                <a:gd name="connsiteX229" fmla="*/ 143066 w 368617"/>
                <a:gd name="connsiteY229" fmla="*/ 118491 h 452380"/>
                <a:gd name="connsiteX230" fmla="*/ 151257 w 368617"/>
                <a:gd name="connsiteY230" fmla="*/ 127921 h 452380"/>
                <a:gd name="connsiteX231" fmla="*/ 151543 w 368617"/>
                <a:gd name="connsiteY231" fmla="*/ 128683 h 452380"/>
                <a:gd name="connsiteX232" fmla="*/ 156972 w 368617"/>
                <a:gd name="connsiteY232" fmla="*/ 138303 h 452380"/>
                <a:gd name="connsiteX233" fmla="*/ 163830 w 368617"/>
                <a:gd name="connsiteY233" fmla="*/ 148876 h 452380"/>
                <a:gd name="connsiteX234" fmla="*/ 158591 w 368617"/>
                <a:gd name="connsiteY234" fmla="*/ 155543 h 452380"/>
                <a:gd name="connsiteX235" fmla="*/ 228028 w 368617"/>
                <a:gd name="connsiteY235" fmla="*/ 149257 h 452380"/>
                <a:gd name="connsiteX236" fmla="*/ 218503 w 368617"/>
                <a:gd name="connsiteY236" fmla="*/ 161735 h 452380"/>
                <a:gd name="connsiteX237" fmla="*/ 206978 w 368617"/>
                <a:gd name="connsiteY237" fmla="*/ 178689 h 452380"/>
                <a:gd name="connsiteX238" fmla="*/ 206026 w 368617"/>
                <a:gd name="connsiteY238" fmla="*/ 180404 h 452380"/>
                <a:gd name="connsiteX239" fmla="*/ 189643 w 368617"/>
                <a:gd name="connsiteY239" fmla="*/ 189548 h 452380"/>
                <a:gd name="connsiteX240" fmla="*/ 185642 w 368617"/>
                <a:gd name="connsiteY240" fmla="*/ 198025 h 452380"/>
                <a:gd name="connsiteX241" fmla="*/ 182690 w 368617"/>
                <a:gd name="connsiteY241" fmla="*/ 202597 h 452380"/>
                <a:gd name="connsiteX242" fmla="*/ 180689 w 368617"/>
                <a:gd name="connsiteY242" fmla="*/ 199168 h 452380"/>
                <a:gd name="connsiteX243" fmla="*/ 176403 w 368617"/>
                <a:gd name="connsiteY243" fmla="*/ 193453 h 452380"/>
                <a:gd name="connsiteX244" fmla="*/ 182023 w 368617"/>
                <a:gd name="connsiteY244" fmla="*/ 184404 h 452380"/>
                <a:gd name="connsiteX245" fmla="*/ 184880 w 368617"/>
                <a:gd name="connsiteY245" fmla="*/ 179261 h 452380"/>
                <a:gd name="connsiteX246" fmla="*/ 186214 w 368617"/>
                <a:gd name="connsiteY246" fmla="*/ 178879 h 452380"/>
                <a:gd name="connsiteX247" fmla="*/ 188500 w 368617"/>
                <a:gd name="connsiteY247" fmla="*/ 177641 h 452380"/>
                <a:gd name="connsiteX248" fmla="*/ 194500 w 368617"/>
                <a:gd name="connsiteY248" fmla="*/ 171736 h 452380"/>
                <a:gd name="connsiteX249" fmla="*/ 207073 w 368617"/>
                <a:gd name="connsiteY249" fmla="*/ 155829 h 452380"/>
                <a:gd name="connsiteX250" fmla="*/ 218313 w 368617"/>
                <a:gd name="connsiteY250" fmla="*/ 143542 h 452380"/>
                <a:gd name="connsiteX251" fmla="*/ 229267 w 368617"/>
                <a:gd name="connsiteY251" fmla="*/ 130588 h 452380"/>
                <a:gd name="connsiteX252" fmla="*/ 240316 w 368617"/>
                <a:gd name="connsiteY252" fmla="*/ 114871 h 452380"/>
                <a:gd name="connsiteX253" fmla="*/ 249936 w 368617"/>
                <a:gd name="connsiteY253" fmla="*/ 105346 h 452380"/>
                <a:gd name="connsiteX254" fmla="*/ 262795 w 368617"/>
                <a:gd name="connsiteY254" fmla="*/ 94107 h 452380"/>
                <a:gd name="connsiteX255" fmla="*/ 272129 w 368617"/>
                <a:gd name="connsiteY255" fmla="*/ 84201 h 452380"/>
                <a:gd name="connsiteX256" fmla="*/ 275368 w 368617"/>
                <a:gd name="connsiteY256" fmla="*/ 81153 h 452380"/>
                <a:gd name="connsiteX257" fmla="*/ 278320 w 368617"/>
                <a:gd name="connsiteY257" fmla="*/ 81820 h 452380"/>
                <a:gd name="connsiteX258" fmla="*/ 277273 w 368617"/>
                <a:gd name="connsiteY258" fmla="*/ 85916 h 452380"/>
                <a:gd name="connsiteX259" fmla="*/ 266319 w 368617"/>
                <a:gd name="connsiteY259" fmla="*/ 97917 h 452380"/>
                <a:gd name="connsiteX260" fmla="*/ 256889 w 368617"/>
                <a:gd name="connsiteY260" fmla="*/ 109728 h 452380"/>
                <a:gd name="connsiteX261" fmla="*/ 247174 w 368617"/>
                <a:gd name="connsiteY261" fmla="*/ 123349 h 452380"/>
                <a:gd name="connsiteX262" fmla="*/ 245173 w 368617"/>
                <a:gd name="connsiteY262" fmla="*/ 125730 h 452380"/>
                <a:gd name="connsiteX263" fmla="*/ 242125 w 368617"/>
                <a:gd name="connsiteY263" fmla="*/ 129635 h 452380"/>
                <a:gd name="connsiteX264" fmla="*/ 241268 w 368617"/>
                <a:gd name="connsiteY264" fmla="*/ 128397 h 452380"/>
                <a:gd name="connsiteX265" fmla="*/ 240887 w 368617"/>
                <a:gd name="connsiteY265" fmla="*/ 131921 h 452380"/>
                <a:gd name="connsiteX266" fmla="*/ 228314 w 368617"/>
                <a:gd name="connsiteY266" fmla="*/ 149257 h 4523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</a:cxnLst>
              <a:rect l="l" t="t" r="r" b="b"/>
              <a:pathLst>
                <a:path w="368617" h="452380">
                  <a:moveTo>
                    <a:pt x="368618" y="257842"/>
                  </a:moveTo>
                  <a:cubicBezTo>
                    <a:pt x="366141" y="253746"/>
                    <a:pt x="367760" y="249555"/>
                    <a:pt x="367951" y="245459"/>
                  </a:cubicBezTo>
                  <a:cubicBezTo>
                    <a:pt x="367951" y="243935"/>
                    <a:pt x="369094" y="242030"/>
                    <a:pt x="366808" y="241745"/>
                  </a:cubicBezTo>
                  <a:cubicBezTo>
                    <a:pt x="364045" y="241459"/>
                    <a:pt x="364808" y="239649"/>
                    <a:pt x="365284" y="238601"/>
                  </a:cubicBezTo>
                  <a:cubicBezTo>
                    <a:pt x="367284" y="234220"/>
                    <a:pt x="364522" y="231267"/>
                    <a:pt x="362426" y="228124"/>
                  </a:cubicBezTo>
                  <a:cubicBezTo>
                    <a:pt x="360426" y="224981"/>
                    <a:pt x="357092" y="223742"/>
                    <a:pt x="353854" y="222028"/>
                  </a:cubicBezTo>
                  <a:cubicBezTo>
                    <a:pt x="348996" y="219361"/>
                    <a:pt x="343853" y="216884"/>
                    <a:pt x="339281" y="213360"/>
                  </a:cubicBezTo>
                  <a:cubicBezTo>
                    <a:pt x="337566" y="212027"/>
                    <a:pt x="335661" y="209550"/>
                    <a:pt x="332708" y="210979"/>
                  </a:cubicBezTo>
                  <a:cubicBezTo>
                    <a:pt x="330898" y="207169"/>
                    <a:pt x="327660" y="207931"/>
                    <a:pt x="324517" y="208312"/>
                  </a:cubicBezTo>
                  <a:cubicBezTo>
                    <a:pt x="324517" y="207359"/>
                    <a:pt x="324326" y="206502"/>
                    <a:pt x="323183" y="206121"/>
                  </a:cubicBezTo>
                  <a:cubicBezTo>
                    <a:pt x="321755" y="205740"/>
                    <a:pt x="320231" y="205264"/>
                    <a:pt x="318707" y="205073"/>
                  </a:cubicBezTo>
                  <a:cubicBezTo>
                    <a:pt x="315659" y="204788"/>
                    <a:pt x="311563" y="208121"/>
                    <a:pt x="309944" y="202502"/>
                  </a:cubicBezTo>
                  <a:cubicBezTo>
                    <a:pt x="309848" y="202025"/>
                    <a:pt x="308991" y="202692"/>
                    <a:pt x="308800" y="202692"/>
                  </a:cubicBezTo>
                  <a:cubicBezTo>
                    <a:pt x="307181" y="202406"/>
                    <a:pt x="305371" y="201168"/>
                    <a:pt x="304705" y="203930"/>
                  </a:cubicBezTo>
                  <a:cubicBezTo>
                    <a:pt x="304229" y="203549"/>
                    <a:pt x="303657" y="203073"/>
                    <a:pt x="303086" y="202787"/>
                  </a:cubicBezTo>
                  <a:cubicBezTo>
                    <a:pt x="301181" y="201644"/>
                    <a:pt x="299180" y="200692"/>
                    <a:pt x="297370" y="199358"/>
                  </a:cubicBezTo>
                  <a:cubicBezTo>
                    <a:pt x="294894" y="197644"/>
                    <a:pt x="291751" y="199549"/>
                    <a:pt x="289274" y="197644"/>
                  </a:cubicBezTo>
                  <a:cubicBezTo>
                    <a:pt x="287084" y="202406"/>
                    <a:pt x="284988" y="198501"/>
                    <a:pt x="282797" y="197644"/>
                  </a:cubicBezTo>
                  <a:cubicBezTo>
                    <a:pt x="281464" y="197072"/>
                    <a:pt x="280416" y="195263"/>
                    <a:pt x="278701" y="195929"/>
                  </a:cubicBezTo>
                  <a:cubicBezTo>
                    <a:pt x="276035" y="196977"/>
                    <a:pt x="279273" y="199263"/>
                    <a:pt x="277940" y="200692"/>
                  </a:cubicBezTo>
                  <a:cubicBezTo>
                    <a:pt x="274511" y="200596"/>
                    <a:pt x="275654" y="197739"/>
                    <a:pt x="275558" y="195453"/>
                  </a:cubicBezTo>
                  <a:cubicBezTo>
                    <a:pt x="274130" y="196691"/>
                    <a:pt x="272891" y="198215"/>
                    <a:pt x="272606" y="198025"/>
                  </a:cubicBezTo>
                  <a:cubicBezTo>
                    <a:pt x="268510" y="195548"/>
                    <a:pt x="263938" y="199073"/>
                    <a:pt x="260223" y="197453"/>
                  </a:cubicBezTo>
                  <a:cubicBezTo>
                    <a:pt x="256508" y="195739"/>
                    <a:pt x="253841" y="193643"/>
                    <a:pt x="249555" y="197072"/>
                  </a:cubicBezTo>
                  <a:cubicBezTo>
                    <a:pt x="246793" y="199168"/>
                    <a:pt x="241554" y="194881"/>
                    <a:pt x="238411" y="199263"/>
                  </a:cubicBezTo>
                  <a:cubicBezTo>
                    <a:pt x="238411" y="199073"/>
                    <a:pt x="238411" y="198882"/>
                    <a:pt x="238316" y="198787"/>
                  </a:cubicBezTo>
                  <a:cubicBezTo>
                    <a:pt x="240030" y="196787"/>
                    <a:pt x="237172" y="196787"/>
                    <a:pt x="236982" y="195548"/>
                  </a:cubicBezTo>
                  <a:cubicBezTo>
                    <a:pt x="237268" y="194596"/>
                    <a:pt x="237553" y="193548"/>
                    <a:pt x="237744" y="192596"/>
                  </a:cubicBezTo>
                  <a:cubicBezTo>
                    <a:pt x="238887" y="186309"/>
                    <a:pt x="245650" y="184118"/>
                    <a:pt x="248031" y="178498"/>
                  </a:cubicBezTo>
                  <a:cubicBezTo>
                    <a:pt x="250889" y="172117"/>
                    <a:pt x="259461" y="169259"/>
                    <a:pt x="259175" y="160782"/>
                  </a:cubicBezTo>
                  <a:cubicBezTo>
                    <a:pt x="259175" y="160496"/>
                    <a:pt x="260223" y="159829"/>
                    <a:pt x="260699" y="159829"/>
                  </a:cubicBezTo>
                  <a:cubicBezTo>
                    <a:pt x="262319" y="160020"/>
                    <a:pt x="262795" y="159639"/>
                    <a:pt x="262604" y="157829"/>
                  </a:cubicBezTo>
                  <a:cubicBezTo>
                    <a:pt x="262414" y="155639"/>
                    <a:pt x="264223" y="154019"/>
                    <a:pt x="265747" y="153734"/>
                  </a:cubicBezTo>
                  <a:cubicBezTo>
                    <a:pt x="269558" y="153067"/>
                    <a:pt x="269939" y="150114"/>
                    <a:pt x="270986" y="147542"/>
                  </a:cubicBezTo>
                  <a:cubicBezTo>
                    <a:pt x="271748" y="145733"/>
                    <a:pt x="271367" y="143161"/>
                    <a:pt x="274320" y="143066"/>
                  </a:cubicBezTo>
                  <a:cubicBezTo>
                    <a:pt x="274034" y="140589"/>
                    <a:pt x="279368" y="139827"/>
                    <a:pt x="276416" y="136398"/>
                  </a:cubicBezTo>
                  <a:cubicBezTo>
                    <a:pt x="276796" y="135636"/>
                    <a:pt x="277178" y="134969"/>
                    <a:pt x="277654" y="134207"/>
                  </a:cubicBezTo>
                  <a:cubicBezTo>
                    <a:pt x="280797" y="131254"/>
                    <a:pt x="284512" y="128683"/>
                    <a:pt x="287084" y="125349"/>
                  </a:cubicBezTo>
                  <a:cubicBezTo>
                    <a:pt x="289465" y="122206"/>
                    <a:pt x="292703" y="119158"/>
                    <a:pt x="292322" y="114491"/>
                  </a:cubicBezTo>
                  <a:cubicBezTo>
                    <a:pt x="294132" y="115157"/>
                    <a:pt x="294608" y="114300"/>
                    <a:pt x="294418" y="112681"/>
                  </a:cubicBezTo>
                  <a:cubicBezTo>
                    <a:pt x="299466" y="108871"/>
                    <a:pt x="300228" y="107347"/>
                    <a:pt x="300133" y="102108"/>
                  </a:cubicBezTo>
                  <a:cubicBezTo>
                    <a:pt x="300133" y="101727"/>
                    <a:pt x="300704" y="101251"/>
                    <a:pt x="300895" y="100870"/>
                  </a:cubicBezTo>
                  <a:cubicBezTo>
                    <a:pt x="302800" y="97250"/>
                    <a:pt x="305467" y="94107"/>
                    <a:pt x="307372" y="90488"/>
                  </a:cubicBezTo>
                  <a:cubicBezTo>
                    <a:pt x="310420" y="84677"/>
                    <a:pt x="313563" y="78867"/>
                    <a:pt x="315373" y="72676"/>
                  </a:cubicBezTo>
                  <a:cubicBezTo>
                    <a:pt x="319183" y="59627"/>
                    <a:pt x="322326" y="46292"/>
                    <a:pt x="321564" y="32480"/>
                  </a:cubicBezTo>
                  <a:cubicBezTo>
                    <a:pt x="321278" y="28099"/>
                    <a:pt x="319183" y="22003"/>
                    <a:pt x="315182" y="22003"/>
                  </a:cubicBezTo>
                  <a:cubicBezTo>
                    <a:pt x="309848" y="22003"/>
                    <a:pt x="306800" y="16288"/>
                    <a:pt x="301371" y="18193"/>
                  </a:cubicBezTo>
                  <a:cubicBezTo>
                    <a:pt x="300038" y="18669"/>
                    <a:pt x="301752" y="16478"/>
                    <a:pt x="300799" y="15907"/>
                  </a:cubicBezTo>
                  <a:cubicBezTo>
                    <a:pt x="297751" y="16955"/>
                    <a:pt x="298323" y="22098"/>
                    <a:pt x="293751" y="21527"/>
                  </a:cubicBezTo>
                  <a:cubicBezTo>
                    <a:pt x="290322" y="21050"/>
                    <a:pt x="290132" y="25241"/>
                    <a:pt x="287465" y="26860"/>
                  </a:cubicBezTo>
                  <a:cubicBezTo>
                    <a:pt x="283464" y="29242"/>
                    <a:pt x="277654" y="30671"/>
                    <a:pt x="276606" y="36671"/>
                  </a:cubicBezTo>
                  <a:cubicBezTo>
                    <a:pt x="274511" y="36100"/>
                    <a:pt x="274130" y="42863"/>
                    <a:pt x="270796" y="38005"/>
                  </a:cubicBezTo>
                  <a:cubicBezTo>
                    <a:pt x="270129" y="37052"/>
                    <a:pt x="269462" y="38291"/>
                    <a:pt x="269367" y="39148"/>
                  </a:cubicBezTo>
                  <a:cubicBezTo>
                    <a:pt x="269272" y="40196"/>
                    <a:pt x="269176" y="41243"/>
                    <a:pt x="268129" y="41815"/>
                  </a:cubicBezTo>
                  <a:cubicBezTo>
                    <a:pt x="263462" y="44482"/>
                    <a:pt x="261175" y="49625"/>
                    <a:pt x="256794" y="52673"/>
                  </a:cubicBezTo>
                  <a:cubicBezTo>
                    <a:pt x="250508" y="57055"/>
                    <a:pt x="247555" y="64865"/>
                    <a:pt x="241173" y="69056"/>
                  </a:cubicBezTo>
                  <a:cubicBezTo>
                    <a:pt x="238316" y="70961"/>
                    <a:pt x="235077" y="72009"/>
                    <a:pt x="234696" y="76010"/>
                  </a:cubicBezTo>
                  <a:cubicBezTo>
                    <a:pt x="234696" y="76200"/>
                    <a:pt x="234124" y="76581"/>
                    <a:pt x="233934" y="76581"/>
                  </a:cubicBezTo>
                  <a:cubicBezTo>
                    <a:pt x="229648" y="75724"/>
                    <a:pt x="228791" y="79915"/>
                    <a:pt x="227838" y="82010"/>
                  </a:cubicBezTo>
                  <a:cubicBezTo>
                    <a:pt x="224219" y="89725"/>
                    <a:pt x="217456" y="94869"/>
                    <a:pt x="212408" y="101346"/>
                  </a:cubicBezTo>
                  <a:cubicBezTo>
                    <a:pt x="210217" y="104204"/>
                    <a:pt x="208026" y="107823"/>
                    <a:pt x="204216" y="110109"/>
                  </a:cubicBezTo>
                  <a:cubicBezTo>
                    <a:pt x="198501" y="113538"/>
                    <a:pt x="192786" y="117729"/>
                    <a:pt x="190976" y="125254"/>
                  </a:cubicBezTo>
                  <a:cubicBezTo>
                    <a:pt x="190500" y="127445"/>
                    <a:pt x="187738" y="129064"/>
                    <a:pt x="184975" y="129254"/>
                  </a:cubicBezTo>
                  <a:cubicBezTo>
                    <a:pt x="182118" y="129445"/>
                    <a:pt x="181927" y="127159"/>
                    <a:pt x="181451" y="125158"/>
                  </a:cubicBezTo>
                  <a:cubicBezTo>
                    <a:pt x="181261" y="124492"/>
                    <a:pt x="180785" y="123920"/>
                    <a:pt x="180499" y="123349"/>
                  </a:cubicBezTo>
                  <a:cubicBezTo>
                    <a:pt x="175355" y="113729"/>
                    <a:pt x="170117" y="104108"/>
                    <a:pt x="165068" y="94393"/>
                  </a:cubicBezTo>
                  <a:cubicBezTo>
                    <a:pt x="164211" y="92678"/>
                    <a:pt x="163830" y="90964"/>
                    <a:pt x="161925" y="89725"/>
                  </a:cubicBezTo>
                  <a:cubicBezTo>
                    <a:pt x="156877" y="86487"/>
                    <a:pt x="158972" y="78677"/>
                    <a:pt x="153162" y="75819"/>
                  </a:cubicBezTo>
                  <a:cubicBezTo>
                    <a:pt x="153352" y="75533"/>
                    <a:pt x="153543" y="75248"/>
                    <a:pt x="153734" y="74962"/>
                  </a:cubicBezTo>
                  <a:cubicBezTo>
                    <a:pt x="154781" y="73723"/>
                    <a:pt x="153829" y="73343"/>
                    <a:pt x="152876" y="72771"/>
                  </a:cubicBezTo>
                  <a:cubicBezTo>
                    <a:pt x="148971" y="70390"/>
                    <a:pt x="145733" y="67437"/>
                    <a:pt x="145637" y="62484"/>
                  </a:cubicBezTo>
                  <a:cubicBezTo>
                    <a:pt x="145637" y="58674"/>
                    <a:pt x="142303" y="56674"/>
                    <a:pt x="141161" y="53531"/>
                  </a:cubicBezTo>
                  <a:cubicBezTo>
                    <a:pt x="138874" y="47149"/>
                    <a:pt x="135922" y="41148"/>
                    <a:pt x="132016" y="35719"/>
                  </a:cubicBezTo>
                  <a:cubicBezTo>
                    <a:pt x="129921" y="32766"/>
                    <a:pt x="126587" y="30575"/>
                    <a:pt x="127921" y="26194"/>
                  </a:cubicBezTo>
                  <a:cubicBezTo>
                    <a:pt x="128302" y="24956"/>
                    <a:pt x="128206" y="23527"/>
                    <a:pt x="127064" y="22384"/>
                  </a:cubicBezTo>
                  <a:cubicBezTo>
                    <a:pt x="121825" y="17526"/>
                    <a:pt x="120205" y="11049"/>
                    <a:pt x="119729" y="4286"/>
                  </a:cubicBezTo>
                  <a:cubicBezTo>
                    <a:pt x="119634" y="2477"/>
                    <a:pt x="119348" y="95"/>
                    <a:pt x="117824" y="0"/>
                  </a:cubicBezTo>
                  <a:cubicBezTo>
                    <a:pt x="116395" y="0"/>
                    <a:pt x="114205" y="572"/>
                    <a:pt x="113062" y="2477"/>
                  </a:cubicBezTo>
                  <a:cubicBezTo>
                    <a:pt x="110490" y="6953"/>
                    <a:pt x="107061" y="11144"/>
                    <a:pt x="105061" y="15811"/>
                  </a:cubicBezTo>
                  <a:cubicBezTo>
                    <a:pt x="104203" y="17812"/>
                    <a:pt x="101727" y="19431"/>
                    <a:pt x="102108" y="20383"/>
                  </a:cubicBezTo>
                  <a:cubicBezTo>
                    <a:pt x="104013" y="25146"/>
                    <a:pt x="100013" y="25527"/>
                    <a:pt x="97726" y="26765"/>
                  </a:cubicBezTo>
                  <a:cubicBezTo>
                    <a:pt x="92964" y="29432"/>
                    <a:pt x="92012" y="32957"/>
                    <a:pt x="95345" y="37433"/>
                  </a:cubicBezTo>
                  <a:cubicBezTo>
                    <a:pt x="98869" y="42101"/>
                    <a:pt x="101441" y="47054"/>
                    <a:pt x="100013" y="53340"/>
                  </a:cubicBezTo>
                  <a:cubicBezTo>
                    <a:pt x="99536" y="55340"/>
                    <a:pt x="99441" y="57626"/>
                    <a:pt x="102299" y="58293"/>
                  </a:cubicBezTo>
                  <a:cubicBezTo>
                    <a:pt x="103251" y="58483"/>
                    <a:pt x="103823" y="59055"/>
                    <a:pt x="103918" y="60008"/>
                  </a:cubicBezTo>
                  <a:cubicBezTo>
                    <a:pt x="104203" y="64294"/>
                    <a:pt x="106394" y="68485"/>
                    <a:pt x="105156" y="72866"/>
                  </a:cubicBezTo>
                  <a:cubicBezTo>
                    <a:pt x="104203" y="76105"/>
                    <a:pt x="105061" y="78296"/>
                    <a:pt x="107251" y="80581"/>
                  </a:cubicBezTo>
                  <a:cubicBezTo>
                    <a:pt x="108014" y="81344"/>
                    <a:pt x="108776" y="83248"/>
                    <a:pt x="108299" y="83820"/>
                  </a:cubicBezTo>
                  <a:cubicBezTo>
                    <a:pt x="103918" y="89916"/>
                    <a:pt x="111728" y="94679"/>
                    <a:pt x="110014" y="101156"/>
                  </a:cubicBezTo>
                  <a:cubicBezTo>
                    <a:pt x="109061" y="104680"/>
                    <a:pt x="112871" y="110585"/>
                    <a:pt x="112776" y="114586"/>
                  </a:cubicBezTo>
                  <a:cubicBezTo>
                    <a:pt x="112395" y="124682"/>
                    <a:pt x="119158" y="132779"/>
                    <a:pt x="118872" y="142780"/>
                  </a:cubicBezTo>
                  <a:cubicBezTo>
                    <a:pt x="118681" y="148781"/>
                    <a:pt x="122111" y="154496"/>
                    <a:pt x="123444" y="160401"/>
                  </a:cubicBezTo>
                  <a:cubicBezTo>
                    <a:pt x="124777" y="166497"/>
                    <a:pt x="127064" y="172307"/>
                    <a:pt x="128492" y="178308"/>
                  </a:cubicBezTo>
                  <a:cubicBezTo>
                    <a:pt x="128873" y="179832"/>
                    <a:pt x="129635" y="181546"/>
                    <a:pt x="128492" y="182594"/>
                  </a:cubicBezTo>
                  <a:cubicBezTo>
                    <a:pt x="127730" y="183261"/>
                    <a:pt x="126111" y="183547"/>
                    <a:pt x="124587" y="183166"/>
                  </a:cubicBezTo>
                  <a:cubicBezTo>
                    <a:pt x="121349" y="182309"/>
                    <a:pt x="120872" y="175165"/>
                    <a:pt x="115633" y="179261"/>
                  </a:cubicBezTo>
                  <a:cubicBezTo>
                    <a:pt x="114490" y="176879"/>
                    <a:pt x="112109" y="176784"/>
                    <a:pt x="110204" y="175641"/>
                  </a:cubicBezTo>
                  <a:cubicBezTo>
                    <a:pt x="106489" y="173546"/>
                    <a:pt x="100679" y="170021"/>
                    <a:pt x="99251" y="171641"/>
                  </a:cubicBezTo>
                  <a:cubicBezTo>
                    <a:pt x="94107" y="177546"/>
                    <a:pt x="92869" y="169926"/>
                    <a:pt x="89726" y="169926"/>
                  </a:cubicBezTo>
                  <a:cubicBezTo>
                    <a:pt x="89344" y="169926"/>
                    <a:pt x="88964" y="170593"/>
                    <a:pt x="88582" y="170879"/>
                  </a:cubicBezTo>
                  <a:cubicBezTo>
                    <a:pt x="88392" y="170021"/>
                    <a:pt x="88964" y="168307"/>
                    <a:pt x="88011" y="168497"/>
                  </a:cubicBezTo>
                  <a:cubicBezTo>
                    <a:pt x="86296" y="168878"/>
                    <a:pt x="86963" y="170498"/>
                    <a:pt x="87535" y="171641"/>
                  </a:cubicBezTo>
                  <a:cubicBezTo>
                    <a:pt x="84963" y="170879"/>
                    <a:pt x="82010" y="170688"/>
                    <a:pt x="79915" y="169164"/>
                  </a:cubicBezTo>
                  <a:cubicBezTo>
                    <a:pt x="75724" y="166116"/>
                    <a:pt x="71342" y="166116"/>
                    <a:pt x="66675" y="166306"/>
                  </a:cubicBezTo>
                  <a:cubicBezTo>
                    <a:pt x="66199" y="165640"/>
                    <a:pt x="65532" y="165259"/>
                    <a:pt x="64579" y="165354"/>
                  </a:cubicBezTo>
                  <a:cubicBezTo>
                    <a:pt x="59436" y="165830"/>
                    <a:pt x="54959" y="171736"/>
                    <a:pt x="49339" y="167164"/>
                  </a:cubicBezTo>
                  <a:cubicBezTo>
                    <a:pt x="49244" y="167164"/>
                    <a:pt x="48958" y="166973"/>
                    <a:pt x="48863" y="167069"/>
                  </a:cubicBezTo>
                  <a:cubicBezTo>
                    <a:pt x="44005" y="169354"/>
                    <a:pt x="39338" y="167259"/>
                    <a:pt x="34576" y="166402"/>
                  </a:cubicBezTo>
                  <a:cubicBezTo>
                    <a:pt x="31909" y="165164"/>
                    <a:pt x="30099" y="166973"/>
                    <a:pt x="28289" y="168402"/>
                  </a:cubicBezTo>
                  <a:cubicBezTo>
                    <a:pt x="25717" y="169736"/>
                    <a:pt x="22289" y="169926"/>
                    <a:pt x="21431" y="173450"/>
                  </a:cubicBezTo>
                  <a:cubicBezTo>
                    <a:pt x="21050" y="171641"/>
                    <a:pt x="20574" y="170212"/>
                    <a:pt x="18097" y="171260"/>
                  </a:cubicBezTo>
                  <a:cubicBezTo>
                    <a:pt x="16002" y="172212"/>
                    <a:pt x="12478" y="170117"/>
                    <a:pt x="11716" y="173927"/>
                  </a:cubicBezTo>
                  <a:cubicBezTo>
                    <a:pt x="11335" y="175641"/>
                    <a:pt x="11144" y="176784"/>
                    <a:pt x="9430" y="178022"/>
                  </a:cubicBezTo>
                  <a:cubicBezTo>
                    <a:pt x="6953" y="179927"/>
                    <a:pt x="4858" y="182690"/>
                    <a:pt x="6953" y="186404"/>
                  </a:cubicBezTo>
                  <a:cubicBezTo>
                    <a:pt x="7525" y="187452"/>
                    <a:pt x="7620" y="189167"/>
                    <a:pt x="7239" y="190310"/>
                  </a:cubicBezTo>
                  <a:cubicBezTo>
                    <a:pt x="5429" y="194691"/>
                    <a:pt x="3810" y="199358"/>
                    <a:pt x="1143" y="203264"/>
                  </a:cubicBezTo>
                  <a:cubicBezTo>
                    <a:pt x="-1905" y="207836"/>
                    <a:pt x="4096" y="212693"/>
                    <a:pt x="0" y="216789"/>
                  </a:cubicBezTo>
                  <a:cubicBezTo>
                    <a:pt x="0" y="216789"/>
                    <a:pt x="381" y="217265"/>
                    <a:pt x="571" y="217646"/>
                  </a:cubicBezTo>
                  <a:cubicBezTo>
                    <a:pt x="2572" y="221456"/>
                    <a:pt x="7239" y="220980"/>
                    <a:pt x="10001" y="221742"/>
                  </a:cubicBezTo>
                  <a:cubicBezTo>
                    <a:pt x="16097" y="223361"/>
                    <a:pt x="22384" y="222980"/>
                    <a:pt x="27718" y="227743"/>
                  </a:cubicBezTo>
                  <a:cubicBezTo>
                    <a:pt x="34290" y="233553"/>
                    <a:pt x="44767" y="230219"/>
                    <a:pt x="51054" y="236982"/>
                  </a:cubicBezTo>
                  <a:cubicBezTo>
                    <a:pt x="51340" y="237268"/>
                    <a:pt x="52673" y="237173"/>
                    <a:pt x="52959" y="236792"/>
                  </a:cubicBezTo>
                  <a:cubicBezTo>
                    <a:pt x="55245" y="234029"/>
                    <a:pt x="57817" y="236125"/>
                    <a:pt x="60293" y="236220"/>
                  </a:cubicBezTo>
                  <a:cubicBezTo>
                    <a:pt x="61817" y="237839"/>
                    <a:pt x="63627" y="237649"/>
                    <a:pt x="65818" y="237649"/>
                  </a:cubicBezTo>
                  <a:cubicBezTo>
                    <a:pt x="70485" y="237649"/>
                    <a:pt x="75248" y="238982"/>
                    <a:pt x="79915" y="239363"/>
                  </a:cubicBezTo>
                  <a:cubicBezTo>
                    <a:pt x="85534" y="239744"/>
                    <a:pt x="90964" y="242888"/>
                    <a:pt x="97060" y="240030"/>
                  </a:cubicBezTo>
                  <a:cubicBezTo>
                    <a:pt x="98489" y="239363"/>
                    <a:pt x="103251" y="237649"/>
                    <a:pt x="104489" y="240030"/>
                  </a:cubicBezTo>
                  <a:cubicBezTo>
                    <a:pt x="106870" y="244697"/>
                    <a:pt x="108490" y="243840"/>
                    <a:pt x="110871" y="239744"/>
                  </a:cubicBezTo>
                  <a:cubicBezTo>
                    <a:pt x="112109" y="242888"/>
                    <a:pt x="112871" y="246507"/>
                    <a:pt x="116205" y="242125"/>
                  </a:cubicBezTo>
                  <a:cubicBezTo>
                    <a:pt x="117919" y="239840"/>
                    <a:pt x="119063" y="242411"/>
                    <a:pt x="120491" y="243078"/>
                  </a:cubicBezTo>
                  <a:cubicBezTo>
                    <a:pt x="121539" y="243459"/>
                    <a:pt x="121920" y="245554"/>
                    <a:pt x="123634" y="244412"/>
                  </a:cubicBezTo>
                  <a:cubicBezTo>
                    <a:pt x="126778" y="248984"/>
                    <a:pt x="130016" y="242983"/>
                    <a:pt x="133255" y="244412"/>
                  </a:cubicBezTo>
                  <a:cubicBezTo>
                    <a:pt x="133636" y="248317"/>
                    <a:pt x="131350" y="248507"/>
                    <a:pt x="128492" y="247745"/>
                  </a:cubicBezTo>
                  <a:cubicBezTo>
                    <a:pt x="127826" y="252127"/>
                    <a:pt x="123253" y="253556"/>
                    <a:pt x="121444" y="257270"/>
                  </a:cubicBezTo>
                  <a:cubicBezTo>
                    <a:pt x="119158" y="262223"/>
                    <a:pt x="116872" y="267843"/>
                    <a:pt x="112966" y="271082"/>
                  </a:cubicBezTo>
                  <a:cubicBezTo>
                    <a:pt x="109538" y="273939"/>
                    <a:pt x="106680" y="276511"/>
                    <a:pt x="105156" y="280702"/>
                  </a:cubicBezTo>
                  <a:cubicBezTo>
                    <a:pt x="101917" y="283369"/>
                    <a:pt x="99441" y="287084"/>
                    <a:pt x="96202" y="289465"/>
                  </a:cubicBezTo>
                  <a:cubicBezTo>
                    <a:pt x="91250" y="293180"/>
                    <a:pt x="89440" y="298514"/>
                    <a:pt x="86582" y="303371"/>
                  </a:cubicBezTo>
                  <a:cubicBezTo>
                    <a:pt x="85153" y="305848"/>
                    <a:pt x="84201" y="307848"/>
                    <a:pt x="81629" y="309658"/>
                  </a:cubicBezTo>
                  <a:cubicBezTo>
                    <a:pt x="78867" y="311658"/>
                    <a:pt x="73533" y="311944"/>
                    <a:pt x="74104" y="317468"/>
                  </a:cubicBezTo>
                  <a:cubicBezTo>
                    <a:pt x="74104" y="317945"/>
                    <a:pt x="73057" y="318707"/>
                    <a:pt x="72295" y="319088"/>
                  </a:cubicBezTo>
                  <a:cubicBezTo>
                    <a:pt x="69056" y="321088"/>
                    <a:pt x="65913" y="322993"/>
                    <a:pt x="64865" y="327184"/>
                  </a:cubicBezTo>
                  <a:cubicBezTo>
                    <a:pt x="64579" y="328613"/>
                    <a:pt x="63437" y="330041"/>
                    <a:pt x="62293" y="330898"/>
                  </a:cubicBezTo>
                  <a:cubicBezTo>
                    <a:pt x="60293" y="332327"/>
                    <a:pt x="55912" y="337185"/>
                    <a:pt x="55435" y="339185"/>
                  </a:cubicBezTo>
                  <a:cubicBezTo>
                    <a:pt x="54578" y="342710"/>
                    <a:pt x="53530" y="346234"/>
                    <a:pt x="52864" y="349758"/>
                  </a:cubicBezTo>
                  <a:cubicBezTo>
                    <a:pt x="51911" y="354711"/>
                    <a:pt x="48958" y="359473"/>
                    <a:pt x="51149" y="364903"/>
                  </a:cubicBezTo>
                  <a:cubicBezTo>
                    <a:pt x="51721" y="366332"/>
                    <a:pt x="50864" y="368332"/>
                    <a:pt x="50959" y="370046"/>
                  </a:cubicBezTo>
                  <a:cubicBezTo>
                    <a:pt x="51244" y="375285"/>
                    <a:pt x="46006" y="380619"/>
                    <a:pt x="51149" y="385953"/>
                  </a:cubicBezTo>
                  <a:cubicBezTo>
                    <a:pt x="51911" y="386810"/>
                    <a:pt x="51530" y="388144"/>
                    <a:pt x="50578" y="388620"/>
                  </a:cubicBezTo>
                  <a:cubicBezTo>
                    <a:pt x="47625" y="389954"/>
                    <a:pt x="49816" y="391573"/>
                    <a:pt x="50578" y="392621"/>
                  </a:cubicBezTo>
                  <a:cubicBezTo>
                    <a:pt x="53912" y="397383"/>
                    <a:pt x="61341" y="394811"/>
                    <a:pt x="64484" y="400241"/>
                  </a:cubicBezTo>
                  <a:cubicBezTo>
                    <a:pt x="64484" y="400241"/>
                    <a:pt x="65913" y="399955"/>
                    <a:pt x="66199" y="399479"/>
                  </a:cubicBezTo>
                  <a:cubicBezTo>
                    <a:pt x="68199" y="396621"/>
                    <a:pt x="71342" y="397478"/>
                    <a:pt x="74009" y="396621"/>
                  </a:cubicBezTo>
                  <a:cubicBezTo>
                    <a:pt x="77343" y="395573"/>
                    <a:pt x="82582" y="395859"/>
                    <a:pt x="81629" y="389573"/>
                  </a:cubicBezTo>
                  <a:cubicBezTo>
                    <a:pt x="81439" y="388334"/>
                    <a:pt x="82772" y="385858"/>
                    <a:pt x="83629" y="385763"/>
                  </a:cubicBezTo>
                  <a:cubicBezTo>
                    <a:pt x="87820" y="385382"/>
                    <a:pt x="87439" y="381571"/>
                    <a:pt x="88868" y="379095"/>
                  </a:cubicBezTo>
                  <a:cubicBezTo>
                    <a:pt x="89630" y="380048"/>
                    <a:pt x="90297" y="380810"/>
                    <a:pt x="90773" y="381476"/>
                  </a:cubicBezTo>
                  <a:cubicBezTo>
                    <a:pt x="95155" y="376523"/>
                    <a:pt x="99346" y="371666"/>
                    <a:pt x="103537" y="366903"/>
                  </a:cubicBezTo>
                  <a:cubicBezTo>
                    <a:pt x="104870" y="365379"/>
                    <a:pt x="106013" y="362712"/>
                    <a:pt x="107537" y="362426"/>
                  </a:cubicBezTo>
                  <a:cubicBezTo>
                    <a:pt x="112776" y="361379"/>
                    <a:pt x="115824" y="357759"/>
                    <a:pt x="117157" y="353568"/>
                  </a:cubicBezTo>
                  <a:cubicBezTo>
                    <a:pt x="118967" y="347853"/>
                    <a:pt x="123253" y="346710"/>
                    <a:pt x="127826" y="345377"/>
                  </a:cubicBezTo>
                  <a:cubicBezTo>
                    <a:pt x="131731" y="344805"/>
                    <a:pt x="129159" y="341852"/>
                    <a:pt x="129826" y="340043"/>
                  </a:cubicBezTo>
                  <a:cubicBezTo>
                    <a:pt x="130874" y="338900"/>
                    <a:pt x="129445" y="334804"/>
                    <a:pt x="133636" y="337375"/>
                  </a:cubicBezTo>
                  <a:cubicBezTo>
                    <a:pt x="134779" y="338042"/>
                    <a:pt x="137065" y="335756"/>
                    <a:pt x="138017" y="333756"/>
                  </a:cubicBezTo>
                  <a:cubicBezTo>
                    <a:pt x="139827" y="329946"/>
                    <a:pt x="141161" y="325755"/>
                    <a:pt x="146018" y="324612"/>
                  </a:cubicBezTo>
                  <a:cubicBezTo>
                    <a:pt x="147066" y="324326"/>
                    <a:pt x="148590" y="324231"/>
                    <a:pt x="147733" y="322421"/>
                  </a:cubicBezTo>
                  <a:cubicBezTo>
                    <a:pt x="150304" y="316135"/>
                    <a:pt x="155639" y="312039"/>
                    <a:pt x="160592" y="308134"/>
                  </a:cubicBezTo>
                  <a:cubicBezTo>
                    <a:pt x="162401" y="306705"/>
                    <a:pt x="165735" y="306324"/>
                    <a:pt x="167069" y="303657"/>
                  </a:cubicBezTo>
                  <a:cubicBezTo>
                    <a:pt x="168116" y="301562"/>
                    <a:pt x="168688" y="299371"/>
                    <a:pt x="171831" y="301181"/>
                  </a:cubicBezTo>
                  <a:cubicBezTo>
                    <a:pt x="172402" y="301466"/>
                    <a:pt x="173545" y="300419"/>
                    <a:pt x="173355" y="299085"/>
                  </a:cubicBezTo>
                  <a:cubicBezTo>
                    <a:pt x="172974" y="296990"/>
                    <a:pt x="174784" y="296704"/>
                    <a:pt x="176117" y="296037"/>
                  </a:cubicBezTo>
                  <a:cubicBezTo>
                    <a:pt x="176308" y="298418"/>
                    <a:pt x="180118" y="298133"/>
                    <a:pt x="179737" y="300800"/>
                  </a:cubicBezTo>
                  <a:cubicBezTo>
                    <a:pt x="178689" y="307467"/>
                    <a:pt x="181737" y="313373"/>
                    <a:pt x="184309" y="318897"/>
                  </a:cubicBezTo>
                  <a:cubicBezTo>
                    <a:pt x="186976" y="324898"/>
                    <a:pt x="188214" y="331089"/>
                    <a:pt x="189547" y="337375"/>
                  </a:cubicBezTo>
                  <a:cubicBezTo>
                    <a:pt x="190595" y="342329"/>
                    <a:pt x="190405" y="347853"/>
                    <a:pt x="192595" y="352139"/>
                  </a:cubicBezTo>
                  <a:cubicBezTo>
                    <a:pt x="195072" y="356997"/>
                    <a:pt x="192595" y="362426"/>
                    <a:pt x="196024" y="367094"/>
                  </a:cubicBezTo>
                  <a:cubicBezTo>
                    <a:pt x="197263" y="368713"/>
                    <a:pt x="197072" y="372237"/>
                    <a:pt x="198596" y="374523"/>
                  </a:cubicBezTo>
                  <a:cubicBezTo>
                    <a:pt x="197834" y="381191"/>
                    <a:pt x="201549" y="387287"/>
                    <a:pt x="201263" y="393859"/>
                  </a:cubicBezTo>
                  <a:cubicBezTo>
                    <a:pt x="201073" y="397383"/>
                    <a:pt x="204121" y="399955"/>
                    <a:pt x="204406" y="403098"/>
                  </a:cubicBezTo>
                  <a:cubicBezTo>
                    <a:pt x="204883" y="407765"/>
                    <a:pt x="205740" y="412052"/>
                    <a:pt x="207931" y="416243"/>
                  </a:cubicBezTo>
                  <a:cubicBezTo>
                    <a:pt x="208978" y="418338"/>
                    <a:pt x="208502" y="421386"/>
                    <a:pt x="211741" y="422053"/>
                  </a:cubicBezTo>
                  <a:cubicBezTo>
                    <a:pt x="208693" y="425387"/>
                    <a:pt x="211360" y="428625"/>
                    <a:pt x="212122" y="431864"/>
                  </a:cubicBezTo>
                  <a:cubicBezTo>
                    <a:pt x="213931" y="438912"/>
                    <a:pt x="216884" y="445389"/>
                    <a:pt x="223266" y="449580"/>
                  </a:cubicBezTo>
                  <a:cubicBezTo>
                    <a:pt x="224790" y="450914"/>
                    <a:pt x="225838" y="453771"/>
                    <a:pt x="228695" y="451580"/>
                  </a:cubicBezTo>
                  <a:lnTo>
                    <a:pt x="228695" y="451580"/>
                  </a:lnTo>
                  <a:cubicBezTo>
                    <a:pt x="230315" y="450533"/>
                    <a:pt x="231934" y="449485"/>
                    <a:pt x="233648" y="451580"/>
                  </a:cubicBezTo>
                  <a:cubicBezTo>
                    <a:pt x="234220" y="452342"/>
                    <a:pt x="241554" y="449866"/>
                    <a:pt x="241840" y="448913"/>
                  </a:cubicBezTo>
                  <a:cubicBezTo>
                    <a:pt x="244602" y="440531"/>
                    <a:pt x="245173" y="431959"/>
                    <a:pt x="244030" y="423386"/>
                  </a:cubicBezTo>
                  <a:cubicBezTo>
                    <a:pt x="243173" y="417100"/>
                    <a:pt x="241745" y="410813"/>
                    <a:pt x="240601" y="404622"/>
                  </a:cubicBezTo>
                  <a:cubicBezTo>
                    <a:pt x="239459" y="398621"/>
                    <a:pt x="242221" y="391954"/>
                    <a:pt x="237172" y="386620"/>
                  </a:cubicBezTo>
                  <a:cubicBezTo>
                    <a:pt x="236792" y="386239"/>
                    <a:pt x="236982" y="385286"/>
                    <a:pt x="236982" y="384620"/>
                  </a:cubicBezTo>
                  <a:cubicBezTo>
                    <a:pt x="237268" y="376714"/>
                    <a:pt x="235172" y="369284"/>
                    <a:pt x="232981" y="361855"/>
                  </a:cubicBezTo>
                  <a:cubicBezTo>
                    <a:pt x="235077" y="357759"/>
                    <a:pt x="229648" y="354235"/>
                    <a:pt x="232029" y="350044"/>
                  </a:cubicBezTo>
                  <a:cubicBezTo>
                    <a:pt x="226409" y="342043"/>
                    <a:pt x="226123" y="332232"/>
                    <a:pt x="223456" y="323279"/>
                  </a:cubicBezTo>
                  <a:cubicBezTo>
                    <a:pt x="220409" y="313182"/>
                    <a:pt x="215360" y="304038"/>
                    <a:pt x="212503" y="294037"/>
                  </a:cubicBezTo>
                  <a:cubicBezTo>
                    <a:pt x="211741" y="291275"/>
                    <a:pt x="210217" y="287274"/>
                    <a:pt x="212217" y="285655"/>
                  </a:cubicBezTo>
                  <a:cubicBezTo>
                    <a:pt x="214694" y="283750"/>
                    <a:pt x="218885" y="288227"/>
                    <a:pt x="222123" y="284988"/>
                  </a:cubicBezTo>
                  <a:cubicBezTo>
                    <a:pt x="224599" y="290703"/>
                    <a:pt x="230695" y="290036"/>
                    <a:pt x="234410" y="289560"/>
                  </a:cubicBezTo>
                  <a:cubicBezTo>
                    <a:pt x="239649" y="288893"/>
                    <a:pt x="244030" y="291370"/>
                    <a:pt x="249079" y="291179"/>
                  </a:cubicBezTo>
                  <a:cubicBezTo>
                    <a:pt x="255175" y="290989"/>
                    <a:pt x="261556" y="292132"/>
                    <a:pt x="267843" y="292227"/>
                  </a:cubicBezTo>
                  <a:cubicBezTo>
                    <a:pt x="269367" y="292227"/>
                    <a:pt x="270891" y="290608"/>
                    <a:pt x="272701" y="291560"/>
                  </a:cubicBezTo>
                  <a:cubicBezTo>
                    <a:pt x="275939" y="293370"/>
                    <a:pt x="279749" y="290132"/>
                    <a:pt x="282893" y="292798"/>
                  </a:cubicBezTo>
                  <a:cubicBezTo>
                    <a:pt x="283083" y="292989"/>
                    <a:pt x="283750" y="291941"/>
                    <a:pt x="283464" y="291179"/>
                  </a:cubicBezTo>
                  <a:cubicBezTo>
                    <a:pt x="283178" y="290513"/>
                    <a:pt x="282131" y="289655"/>
                    <a:pt x="283464" y="289179"/>
                  </a:cubicBezTo>
                  <a:cubicBezTo>
                    <a:pt x="284226" y="288893"/>
                    <a:pt x="285179" y="289084"/>
                    <a:pt x="285560" y="290132"/>
                  </a:cubicBezTo>
                  <a:cubicBezTo>
                    <a:pt x="286226" y="291751"/>
                    <a:pt x="287179" y="291465"/>
                    <a:pt x="288893" y="291656"/>
                  </a:cubicBezTo>
                  <a:cubicBezTo>
                    <a:pt x="296132" y="292418"/>
                    <a:pt x="302419" y="287655"/>
                    <a:pt x="309944" y="288893"/>
                  </a:cubicBezTo>
                  <a:cubicBezTo>
                    <a:pt x="313468" y="289465"/>
                    <a:pt x="319849" y="288417"/>
                    <a:pt x="322421" y="283083"/>
                  </a:cubicBezTo>
                  <a:cubicBezTo>
                    <a:pt x="322802" y="282226"/>
                    <a:pt x="323755" y="281845"/>
                    <a:pt x="324517" y="282797"/>
                  </a:cubicBezTo>
                  <a:cubicBezTo>
                    <a:pt x="327184" y="286417"/>
                    <a:pt x="330803" y="284702"/>
                    <a:pt x="333756" y="283940"/>
                  </a:cubicBezTo>
                  <a:cubicBezTo>
                    <a:pt x="336995" y="283178"/>
                    <a:pt x="339376" y="283940"/>
                    <a:pt x="341567" y="285941"/>
                  </a:cubicBezTo>
                  <a:cubicBezTo>
                    <a:pt x="343567" y="286417"/>
                    <a:pt x="344615" y="285083"/>
                    <a:pt x="345853" y="283940"/>
                  </a:cubicBezTo>
                  <a:cubicBezTo>
                    <a:pt x="346043" y="284512"/>
                    <a:pt x="346139" y="285750"/>
                    <a:pt x="346996" y="284988"/>
                  </a:cubicBezTo>
                  <a:cubicBezTo>
                    <a:pt x="348234" y="284036"/>
                    <a:pt x="346424" y="282893"/>
                    <a:pt x="346710" y="281750"/>
                  </a:cubicBezTo>
                  <a:cubicBezTo>
                    <a:pt x="351282" y="278606"/>
                    <a:pt x="356807" y="282035"/>
                    <a:pt x="361474" y="279559"/>
                  </a:cubicBezTo>
                  <a:cubicBezTo>
                    <a:pt x="364331" y="281369"/>
                    <a:pt x="363093" y="278511"/>
                    <a:pt x="363569" y="277749"/>
                  </a:cubicBezTo>
                  <a:cubicBezTo>
                    <a:pt x="366617" y="275939"/>
                    <a:pt x="367665" y="273177"/>
                    <a:pt x="366046" y="270129"/>
                  </a:cubicBezTo>
                  <a:cubicBezTo>
                    <a:pt x="364522" y="267367"/>
                    <a:pt x="364236" y="265462"/>
                    <a:pt x="366903" y="263271"/>
                  </a:cubicBezTo>
                  <a:cubicBezTo>
                    <a:pt x="368522" y="262033"/>
                    <a:pt x="369094" y="259461"/>
                    <a:pt x="367951" y="257556"/>
                  </a:cubicBezTo>
                  <a:moveTo>
                    <a:pt x="155543" y="115348"/>
                  </a:moveTo>
                  <a:cubicBezTo>
                    <a:pt x="157067" y="115443"/>
                    <a:pt x="157734" y="116205"/>
                    <a:pt x="157448" y="117729"/>
                  </a:cubicBezTo>
                  <a:cubicBezTo>
                    <a:pt x="157353" y="118396"/>
                    <a:pt x="157163" y="119253"/>
                    <a:pt x="156305" y="119158"/>
                  </a:cubicBezTo>
                  <a:cubicBezTo>
                    <a:pt x="154876" y="118967"/>
                    <a:pt x="154495" y="117824"/>
                    <a:pt x="154115" y="116586"/>
                  </a:cubicBezTo>
                  <a:cubicBezTo>
                    <a:pt x="153638" y="115062"/>
                    <a:pt x="154876" y="115443"/>
                    <a:pt x="155543" y="115348"/>
                  </a:cubicBezTo>
                  <a:moveTo>
                    <a:pt x="158591" y="155543"/>
                  </a:moveTo>
                  <a:cubicBezTo>
                    <a:pt x="157544" y="156020"/>
                    <a:pt x="156305" y="156020"/>
                    <a:pt x="155353" y="156877"/>
                  </a:cubicBezTo>
                  <a:cubicBezTo>
                    <a:pt x="152305" y="159544"/>
                    <a:pt x="150876" y="158687"/>
                    <a:pt x="149447" y="154591"/>
                  </a:cubicBezTo>
                  <a:cubicBezTo>
                    <a:pt x="145733" y="143923"/>
                    <a:pt x="145923" y="132302"/>
                    <a:pt x="141161" y="121920"/>
                  </a:cubicBezTo>
                  <a:cubicBezTo>
                    <a:pt x="140779" y="121063"/>
                    <a:pt x="141446" y="119634"/>
                    <a:pt x="141637" y="118491"/>
                  </a:cubicBezTo>
                  <a:lnTo>
                    <a:pt x="143066" y="118491"/>
                  </a:lnTo>
                  <a:cubicBezTo>
                    <a:pt x="146399" y="121063"/>
                    <a:pt x="145733" y="127159"/>
                    <a:pt x="151257" y="127921"/>
                  </a:cubicBezTo>
                  <a:cubicBezTo>
                    <a:pt x="151352" y="127921"/>
                    <a:pt x="151543" y="128492"/>
                    <a:pt x="151543" y="128683"/>
                  </a:cubicBezTo>
                  <a:cubicBezTo>
                    <a:pt x="149543" y="134017"/>
                    <a:pt x="154305" y="136208"/>
                    <a:pt x="156972" y="138303"/>
                  </a:cubicBezTo>
                  <a:cubicBezTo>
                    <a:pt x="160782" y="141161"/>
                    <a:pt x="162877" y="144971"/>
                    <a:pt x="163830" y="148876"/>
                  </a:cubicBezTo>
                  <a:cubicBezTo>
                    <a:pt x="164306" y="150876"/>
                    <a:pt x="161449" y="154210"/>
                    <a:pt x="158591" y="155543"/>
                  </a:cubicBezTo>
                  <a:moveTo>
                    <a:pt x="228028" y="149257"/>
                  </a:moveTo>
                  <a:cubicBezTo>
                    <a:pt x="224504" y="153352"/>
                    <a:pt x="222409" y="159734"/>
                    <a:pt x="218503" y="161735"/>
                  </a:cubicBezTo>
                  <a:cubicBezTo>
                    <a:pt x="210979" y="165735"/>
                    <a:pt x="211169" y="173450"/>
                    <a:pt x="206978" y="178689"/>
                  </a:cubicBezTo>
                  <a:cubicBezTo>
                    <a:pt x="206597" y="179165"/>
                    <a:pt x="206216" y="180404"/>
                    <a:pt x="206026" y="180404"/>
                  </a:cubicBezTo>
                  <a:cubicBezTo>
                    <a:pt x="198120" y="178879"/>
                    <a:pt x="196596" y="188690"/>
                    <a:pt x="189643" y="189548"/>
                  </a:cubicBezTo>
                  <a:cubicBezTo>
                    <a:pt x="187643" y="189833"/>
                    <a:pt x="187928" y="195453"/>
                    <a:pt x="185642" y="198025"/>
                  </a:cubicBezTo>
                  <a:cubicBezTo>
                    <a:pt x="184499" y="199358"/>
                    <a:pt x="184499" y="201549"/>
                    <a:pt x="182690" y="202597"/>
                  </a:cubicBezTo>
                  <a:cubicBezTo>
                    <a:pt x="182690" y="201073"/>
                    <a:pt x="182690" y="199549"/>
                    <a:pt x="180689" y="199168"/>
                  </a:cubicBezTo>
                  <a:cubicBezTo>
                    <a:pt x="179451" y="197072"/>
                    <a:pt x="178498" y="194786"/>
                    <a:pt x="176403" y="193453"/>
                  </a:cubicBezTo>
                  <a:cubicBezTo>
                    <a:pt x="176403" y="189262"/>
                    <a:pt x="179642" y="187166"/>
                    <a:pt x="182023" y="184404"/>
                  </a:cubicBezTo>
                  <a:cubicBezTo>
                    <a:pt x="183261" y="182975"/>
                    <a:pt x="186309" y="182499"/>
                    <a:pt x="184880" y="179261"/>
                  </a:cubicBezTo>
                  <a:cubicBezTo>
                    <a:pt x="184404" y="178213"/>
                    <a:pt x="185356" y="178118"/>
                    <a:pt x="186214" y="178879"/>
                  </a:cubicBezTo>
                  <a:cubicBezTo>
                    <a:pt x="187547" y="180023"/>
                    <a:pt x="188023" y="178213"/>
                    <a:pt x="188500" y="177641"/>
                  </a:cubicBezTo>
                  <a:cubicBezTo>
                    <a:pt x="190310" y="175546"/>
                    <a:pt x="189643" y="170879"/>
                    <a:pt x="194500" y="171736"/>
                  </a:cubicBezTo>
                  <a:cubicBezTo>
                    <a:pt x="196787" y="165068"/>
                    <a:pt x="203740" y="162116"/>
                    <a:pt x="207073" y="155829"/>
                  </a:cubicBezTo>
                  <a:cubicBezTo>
                    <a:pt x="209550" y="151257"/>
                    <a:pt x="214408" y="147542"/>
                    <a:pt x="218313" y="143542"/>
                  </a:cubicBezTo>
                  <a:cubicBezTo>
                    <a:pt x="222314" y="139446"/>
                    <a:pt x="225552" y="134874"/>
                    <a:pt x="229267" y="130588"/>
                  </a:cubicBezTo>
                  <a:cubicBezTo>
                    <a:pt x="233553" y="125635"/>
                    <a:pt x="235553" y="119158"/>
                    <a:pt x="240316" y="114871"/>
                  </a:cubicBezTo>
                  <a:cubicBezTo>
                    <a:pt x="243649" y="111823"/>
                    <a:pt x="247078" y="108966"/>
                    <a:pt x="249936" y="105346"/>
                  </a:cubicBezTo>
                  <a:cubicBezTo>
                    <a:pt x="253460" y="100965"/>
                    <a:pt x="257461" y="96869"/>
                    <a:pt x="262795" y="94107"/>
                  </a:cubicBezTo>
                  <a:cubicBezTo>
                    <a:pt x="266795" y="92012"/>
                    <a:pt x="268224" y="86677"/>
                    <a:pt x="272129" y="84201"/>
                  </a:cubicBezTo>
                  <a:cubicBezTo>
                    <a:pt x="274511" y="84582"/>
                    <a:pt x="275749" y="83725"/>
                    <a:pt x="275368" y="81153"/>
                  </a:cubicBezTo>
                  <a:cubicBezTo>
                    <a:pt x="276320" y="81725"/>
                    <a:pt x="278035" y="79915"/>
                    <a:pt x="278320" y="81820"/>
                  </a:cubicBezTo>
                  <a:cubicBezTo>
                    <a:pt x="278511" y="83153"/>
                    <a:pt x="279083" y="85249"/>
                    <a:pt x="277273" y="85916"/>
                  </a:cubicBezTo>
                  <a:cubicBezTo>
                    <a:pt x="271653" y="88106"/>
                    <a:pt x="270034" y="94012"/>
                    <a:pt x="266319" y="97917"/>
                  </a:cubicBezTo>
                  <a:cubicBezTo>
                    <a:pt x="262890" y="101537"/>
                    <a:pt x="259651" y="105632"/>
                    <a:pt x="256889" y="109728"/>
                  </a:cubicBezTo>
                  <a:cubicBezTo>
                    <a:pt x="253651" y="114300"/>
                    <a:pt x="249841" y="118491"/>
                    <a:pt x="247174" y="123349"/>
                  </a:cubicBezTo>
                  <a:cubicBezTo>
                    <a:pt x="245936" y="123635"/>
                    <a:pt x="245459" y="124587"/>
                    <a:pt x="245173" y="125730"/>
                  </a:cubicBezTo>
                  <a:cubicBezTo>
                    <a:pt x="242888" y="126016"/>
                    <a:pt x="244793" y="129635"/>
                    <a:pt x="242125" y="129635"/>
                  </a:cubicBezTo>
                  <a:cubicBezTo>
                    <a:pt x="242125" y="128969"/>
                    <a:pt x="242125" y="128016"/>
                    <a:pt x="241268" y="128397"/>
                  </a:cubicBezTo>
                  <a:cubicBezTo>
                    <a:pt x="239363" y="129254"/>
                    <a:pt x="241268" y="130778"/>
                    <a:pt x="240887" y="131921"/>
                  </a:cubicBezTo>
                  <a:cubicBezTo>
                    <a:pt x="233744" y="135636"/>
                    <a:pt x="232886" y="143923"/>
                    <a:pt x="228314" y="149257"/>
                  </a:cubicBezTo>
                </a:path>
              </a:pathLst>
            </a:custGeom>
            <a:solidFill>
              <a:schemeClr val="accent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0AB29C36-17AA-D2AB-F984-29E5E0388C4A}"/>
                </a:ext>
              </a:extLst>
            </p:cNvPr>
            <p:cNvSpPr/>
            <p:nvPr/>
          </p:nvSpPr>
          <p:spPr>
            <a:xfrm>
              <a:off x="11226339" y="6219846"/>
              <a:ext cx="512041" cy="776474"/>
            </a:xfrm>
            <a:custGeom>
              <a:avLst/>
              <a:gdLst>
                <a:gd name="connsiteX0" fmla="*/ 468035 w 512041"/>
                <a:gd name="connsiteY0" fmla="*/ 583116 h 776474"/>
                <a:gd name="connsiteX1" fmla="*/ 467945 w 512041"/>
                <a:gd name="connsiteY1" fmla="*/ 583143 h 776474"/>
                <a:gd name="connsiteX2" fmla="*/ 468894 w 512041"/>
                <a:gd name="connsiteY2" fmla="*/ 588831 h 776474"/>
                <a:gd name="connsiteX3" fmla="*/ 467101 w 512041"/>
                <a:gd name="connsiteY3" fmla="*/ 585493 h 776474"/>
                <a:gd name="connsiteX4" fmla="*/ 468893 w 512041"/>
                <a:gd name="connsiteY4" fmla="*/ 588831 h 776474"/>
                <a:gd name="connsiteX5" fmla="*/ 468894 w 512041"/>
                <a:gd name="connsiteY5" fmla="*/ 588831 h 776474"/>
                <a:gd name="connsiteX6" fmla="*/ 468988 w 512041"/>
                <a:gd name="connsiteY6" fmla="*/ 588831 h 776474"/>
                <a:gd name="connsiteX7" fmla="*/ 468035 w 512041"/>
                <a:gd name="connsiteY7" fmla="*/ 583116 h 776474"/>
                <a:gd name="connsiteX8" fmla="*/ 457368 w 512041"/>
                <a:gd name="connsiteY8" fmla="*/ 573019 h 776474"/>
                <a:gd name="connsiteX9" fmla="*/ 449843 w 512041"/>
                <a:gd name="connsiteY9" fmla="*/ 576162 h 776474"/>
                <a:gd name="connsiteX10" fmla="*/ 449844 w 512041"/>
                <a:gd name="connsiteY10" fmla="*/ 576163 h 776474"/>
                <a:gd name="connsiteX11" fmla="*/ 453142 w 512041"/>
                <a:gd name="connsiteY11" fmla="*/ 574128 h 776474"/>
                <a:gd name="connsiteX12" fmla="*/ 457368 w 512041"/>
                <a:gd name="connsiteY12" fmla="*/ 573020 h 776474"/>
                <a:gd name="connsiteX13" fmla="*/ 251628 w 512041"/>
                <a:gd name="connsiteY13" fmla="*/ 544349 h 776474"/>
                <a:gd name="connsiteX14" fmla="*/ 250675 w 512041"/>
                <a:gd name="connsiteY14" fmla="*/ 552255 h 776474"/>
                <a:gd name="connsiteX15" fmla="*/ 250676 w 512041"/>
                <a:gd name="connsiteY15" fmla="*/ 552253 h 776474"/>
                <a:gd name="connsiteX16" fmla="*/ 50174 w 512041"/>
                <a:gd name="connsiteY16" fmla="*/ 541301 h 776474"/>
                <a:gd name="connsiteX17" fmla="*/ 51222 w 512041"/>
                <a:gd name="connsiteY17" fmla="*/ 547111 h 776474"/>
                <a:gd name="connsiteX18" fmla="*/ 50174 w 512041"/>
                <a:gd name="connsiteY18" fmla="*/ 541301 h 776474"/>
                <a:gd name="connsiteX19" fmla="*/ 447843 w 512041"/>
                <a:gd name="connsiteY19" fmla="*/ 531204 h 776474"/>
                <a:gd name="connsiteX20" fmla="*/ 447843 w 512041"/>
                <a:gd name="connsiteY20" fmla="*/ 538443 h 776474"/>
                <a:gd name="connsiteX21" fmla="*/ 447938 w 512041"/>
                <a:gd name="connsiteY21" fmla="*/ 538090 h 776474"/>
                <a:gd name="connsiteX22" fmla="*/ 447938 w 512041"/>
                <a:gd name="connsiteY22" fmla="*/ 531653 h 776474"/>
                <a:gd name="connsiteX23" fmla="*/ 373738 w 512041"/>
                <a:gd name="connsiteY23" fmla="*/ 497391 h 776474"/>
                <a:gd name="connsiteX24" fmla="*/ 371547 w 512041"/>
                <a:gd name="connsiteY24" fmla="*/ 499581 h 776474"/>
                <a:gd name="connsiteX25" fmla="*/ 372404 w 512041"/>
                <a:gd name="connsiteY25" fmla="*/ 502534 h 776474"/>
                <a:gd name="connsiteX26" fmla="*/ 372404 w 512041"/>
                <a:gd name="connsiteY26" fmla="*/ 502629 h 776474"/>
                <a:gd name="connsiteX27" fmla="*/ 374976 w 512041"/>
                <a:gd name="connsiteY27" fmla="*/ 499391 h 776474"/>
                <a:gd name="connsiteX28" fmla="*/ 374952 w 512041"/>
                <a:gd name="connsiteY28" fmla="*/ 499351 h 776474"/>
                <a:gd name="connsiteX29" fmla="*/ 372500 w 512041"/>
                <a:gd name="connsiteY29" fmla="*/ 502439 h 776474"/>
                <a:gd name="connsiteX30" fmla="*/ 371643 w 512041"/>
                <a:gd name="connsiteY30" fmla="*/ 499486 h 776474"/>
                <a:gd name="connsiteX31" fmla="*/ 373738 w 512041"/>
                <a:gd name="connsiteY31" fmla="*/ 497391 h 776474"/>
                <a:gd name="connsiteX32" fmla="*/ 359260 w 512041"/>
                <a:gd name="connsiteY32" fmla="*/ 480341 h 776474"/>
                <a:gd name="connsiteX33" fmla="*/ 357164 w 512041"/>
                <a:gd name="connsiteY33" fmla="*/ 481674 h 776474"/>
                <a:gd name="connsiteX34" fmla="*/ 361070 w 512041"/>
                <a:gd name="connsiteY34" fmla="*/ 486532 h 776474"/>
                <a:gd name="connsiteX35" fmla="*/ 361165 w 512041"/>
                <a:gd name="connsiteY35" fmla="*/ 486532 h 776474"/>
                <a:gd name="connsiteX36" fmla="*/ 357260 w 512041"/>
                <a:gd name="connsiteY36" fmla="*/ 481675 h 776474"/>
                <a:gd name="connsiteX37" fmla="*/ 359276 w 512041"/>
                <a:gd name="connsiteY37" fmla="*/ 480391 h 776474"/>
                <a:gd name="connsiteX38" fmla="*/ 351354 w 512041"/>
                <a:gd name="connsiteY38" fmla="*/ 471959 h 776474"/>
                <a:gd name="connsiteX39" fmla="*/ 348592 w 512041"/>
                <a:gd name="connsiteY39" fmla="*/ 473769 h 776474"/>
                <a:gd name="connsiteX40" fmla="*/ 351450 w 512041"/>
                <a:gd name="connsiteY40" fmla="*/ 476817 h 776474"/>
                <a:gd name="connsiteX41" fmla="*/ 351578 w 512041"/>
                <a:gd name="connsiteY41" fmla="*/ 476750 h 776474"/>
                <a:gd name="connsiteX42" fmla="*/ 348783 w 512041"/>
                <a:gd name="connsiteY42" fmla="*/ 473769 h 776474"/>
                <a:gd name="connsiteX43" fmla="*/ 351413 w 512041"/>
                <a:gd name="connsiteY43" fmla="*/ 472045 h 776474"/>
                <a:gd name="connsiteX44" fmla="*/ 76273 w 512041"/>
                <a:gd name="connsiteY44" fmla="*/ 434145 h 776474"/>
                <a:gd name="connsiteX45" fmla="*/ 87131 w 512041"/>
                <a:gd name="connsiteY45" fmla="*/ 444242 h 776474"/>
                <a:gd name="connsiteX46" fmla="*/ 87417 w 512041"/>
                <a:gd name="connsiteY46" fmla="*/ 444242 h 776474"/>
                <a:gd name="connsiteX47" fmla="*/ 87703 w 512041"/>
                <a:gd name="connsiteY47" fmla="*/ 465482 h 776474"/>
                <a:gd name="connsiteX48" fmla="*/ 80559 w 512041"/>
                <a:gd name="connsiteY48" fmla="*/ 489199 h 776474"/>
                <a:gd name="connsiteX49" fmla="*/ 76273 w 512041"/>
                <a:gd name="connsiteY49" fmla="*/ 497772 h 776474"/>
                <a:gd name="connsiteX50" fmla="*/ 76844 w 512041"/>
                <a:gd name="connsiteY50" fmla="*/ 500629 h 776474"/>
                <a:gd name="connsiteX51" fmla="*/ 73891 w 512041"/>
                <a:gd name="connsiteY51" fmla="*/ 507488 h 776474"/>
                <a:gd name="connsiteX52" fmla="*/ 71510 w 512041"/>
                <a:gd name="connsiteY52" fmla="*/ 511202 h 776474"/>
                <a:gd name="connsiteX53" fmla="*/ 63033 w 512041"/>
                <a:gd name="connsiteY53" fmla="*/ 525299 h 776474"/>
                <a:gd name="connsiteX54" fmla="*/ 50269 w 512041"/>
                <a:gd name="connsiteY54" fmla="*/ 541206 h 776474"/>
                <a:gd name="connsiteX55" fmla="*/ 49412 w 512041"/>
                <a:gd name="connsiteY55" fmla="*/ 541587 h 776474"/>
                <a:gd name="connsiteX56" fmla="*/ 32267 w 512041"/>
                <a:gd name="connsiteY56" fmla="*/ 570257 h 776474"/>
                <a:gd name="connsiteX57" fmla="*/ 29314 w 512041"/>
                <a:gd name="connsiteY57" fmla="*/ 573686 h 776474"/>
                <a:gd name="connsiteX58" fmla="*/ 21028 w 512041"/>
                <a:gd name="connsiteY58" fmla="*/ 579497 h 776474"/>
                <a:gd name="connsiteX59" fmla="*/ 9979 w 512041"/>
                <a:gd name="connsiteY59" fmla="*/ 569400 h 776474"/>
                <a:gd name="connsiteX60" fmla="*/ 11979 w 512041"/>
                <a:gd name="connsiteY60" fmla="*/ 548064 h 776474"/>
                <a:gd name="connsiteX61" fmla="*/ 15408 w 512041"/>
                <a:gd name="connsiteY61" fmla="*/ 520061 h 776474"/>
                <a:gd name="connsiteX62" fmla="*/ 26933 w 512041"/>
                <a:gd name="connsiteY62" fmla="*/ 491581 h 776474"/>
                <a:gd name="connsiteX63" fmla="*/ 37506 w 512041"/>
                <a:gd name="connsiteY63" fmla="*/ 476626 h 776474"/>
                <a:gd name="connsiteX64" fmla="*/ 54651 w 512041"/>
                <a:gd name="connsiteY64" fmla="*/ 452623 h 776474"/>
                <a:gd name="connsiteX65" fmla="*/ 65890 w 512041"/>
                <a:gd name="connsiteY65" fmla="*/ 441479 h 776474"/>
                <a:gd name="connsiteX66" fmla="*/ 76273 w 512041"/>
                <a:gd name="connsiteY66" fmla="*/ 434145 h 776474"/>
                <a:gd name="connsiteX67" fmla="*/ 337484 w 512041"/>
                <a:gd name="connsiteY67" fmla="*/ 428358 h 776474"/>
                <a:gd name="connsiteX68" fmla="*/ 340591 w 512041"/>
                <a:gd name="connsiteY68" fmla="*/ 431668 h 776474"/>
                <a:gd name="connsiteX69" fmla="*/ 348687 w 512041"/>
                <a:gd name="connsiteY69" fmla="*/ 432906 h 776474"/>
                <a:gd name="connsiteX70" fmla="*/ 350021 w 512041"/>
                <a:gd name="connsiteY70" fmla="*/ 431859 h 776474"/>
                <a:gd name="connsiteX71" fmla="*/ 363260 w 512041"/>
                <a:gd name="connsiteY71" fmla="*/ 440431 h 776474"/>
                <a:gd name="connsiteX72" fmla="*/ 370214 w 512041"/>
                <a:gd name="connsiteY72" fmla="*/ 448623 h 776474"/>
                <a:gd name="connsiteX73" fmla="*/ 381453 w 512041"/>
                <a:gd name="connsiteY73" fmla="*/ 462720 h 776474"/>
                <a:gd name="connsiteX74" fmla="*/ 383739 w 512041"/>
                <a:gd name="connsiteY74" fmla="*/ 465482 h 776474"/>
                <a:gd name="connsiteX75" fmla="*/ 410600 w 512041"/>
                <a:gd name="connsiteY75" fmla="*/ 489009 h 776474"/>
                <a:gd name="connsiteX76" fmla="*/ 414314 w 512041"/>
                <a:gd name="connsiteY76" fmla="*/ 496248 h 776474"/>
                <a:gd name="connsiteX77" fmla="*/ 422220 w 512041"/>
                <a:gd name="connsiteY77" fmla="*/ 502058 h 776474"/>
                <a:gd name="connsiteX78" fmla="*/ 428602 w 512041"/>
                <a:gd name="connsiteY78" fmla="*/ 507487 h 776474"/>
                <a:gd name="connsiteX79" fmla="*/ 454796 w 512041"/>
                <a:gd name="connsiteY79" fmla="*/ 529395 h 776474"/>
                <a:gd name="connsiteX80" fmla="*/ 458987 w 512041"/>
                <a:gd name="connsiteY80" fmla="*/ 535586 h 776474"/>
                <a:gd name="connsiteX81" fmla="*/ 466893 w 512041"/>
                <a:gd name="connsiteY81" fmla="*/ 542730 h 776474"/>
                <a:gd name="connsiteX82" fmla="*/ 466797 w 512041"/>
                <a:gd name="connsiteY82" fmla="*/ 542730 h 776474"/>
                <a:gd name="connsiteX83" fmla="*/ 469560 w 512041"/>
                <a:gd name="connsiteY83" fmla="*/ 543777 h 776474"/>
                <a:gd name="connsiteX84" fmla="*/ 478989 w 512041"/>
                <a:gd name="connsiteY84" fmla="*/ 582354 h 776474"/>
                <a:gd name="connsiteX85" fmla="*/ 476227 w 512041"/>
                <a:gd name="connsiteY85" fmla="*/ 600832 h 776474"/>
                <a:gd name="connsiteX86" fmla="*/ 473274 w 512041"/>
                <a:gd name="connsiteY86" fmla="*/ 602642 h 776474"/>
                <a:gd name="connsiteX87" fmla="*/ 445461 w 512041"/>
                <a:gd name="connsiteY87" fmla="*/ 596070 h 776474"/>
                <a:gd name="connsiteX88" fmla="*/ 433269 w 512041"/>
                <a:gd name="connsiteY88" fmla="*/ 591117 h 776474"/>
                <a:gd name="connsiteX89" fmla="*/ 417362 w 512041"/>
                <a:gd name="connsiteY89" fmla="*/ 577305 h 776474"/>
                <a:gd name="connsiteX90" fmla="*/ 414886 w 512041"/>
                <a:gd name="connsiteY90" fmla="*/ 574734 h 776474"/>
                <a:gd name="connsiteX91" fmla="*/ 405171 w 512041"/>
                <a:gd name="connsiteY91" fmla="*/ 568257 h 776474"/>
                <a:gd name="connsiteX92" fmla="*/ 390121 w 512041"/>
                <a:gd name="connsiteY92" fmla="*/ 554350 h 776474"/>
                <a:gd name="connsiteX93" fmla="*/ 378215 w 512041"/>
                <a:gd name="connsiteY93" fmla="*/ 542634 h 776474"/>
                <a:gd name="connsiteX94" fmla="*/ 355545 w 512041"/>
                <a:gd name="connsiteY94" fmla="*/ 511297 h 776474"/>
                <a:gd name="connsiteX95" fmla="*/ 337924 w 512041"/>
                <a:gd name="connsiteY95" fmla="*/ 491390 h 776474"/>
                <a:gd name="connsiteX96" fmla="*/ 329447 w 512041"/>
                <a:gd name="connsiteY96" fmla="*/ 472054 h 776474"/>
                <a:gd name="connsiteX97" fmla="*/ 331066 w 512041"/>
                <a:gd name="connsiteY97" fmla="*/ 468244 h 776474"/>
                <a:gd name="connsiteX98" fmla="*/ 330971 w 512041"/>
                <a:gd name="connsiteY98" fmla="*/ 465958 h 776474"/>
                <a:gd name="connsiteX99" fmla="*/ 329733 w 512041"/>
                <a:gd name="connsiteY99" fmla="*/ 463101 h 776474"/>
                <a:gd name="connsiteX100" fmla="*/ 331542 w 512041"/>
                <a:gd name="connsiteY100" fmla="*/ 440336 h 776474"/>
                <a:gd name="connsiteX101" fmla="*/ 334304 w 512041"/>
                <a:gd name="connsiteY101" fmla="*/ 431478 h 776474"/>
                <a:gd name="connsiteX102" fmla="*/ 337484 w 512041"/>
                <a:gd name="connsiteY102" fmla="*/ 428358 h 776474"/>
                <a:gd name="connsiteX103" fmla="*/ 307445 w 512041"/>
                <a:gd name="connsiteY103" fmla="*/ 252503 h 776474"/>
                <a:gd name="connsiteX104" fmla="*/ 307540 w 512041"/>
                <a:gd name="connsiteY104" fmla="*/ 252503 h 776474"/>
                <a:gd name="connsiteX105" fmla="*/ 307505 w 512041"/>
                <a:gd name="connsiteY105" fmla="*/ 252555 h 776474"/>
                <a:gd name="connsiteX106" fmla="*/ 307444 w 512041"/>
                <a:gd name="connsiteY106" fmla="*/ 252218 h 776474"/>
                <a:gd name="connsiteX107" fmla="*/ 305920 w 512041"/>
                <a:gd name="connsiteY107" fmla="*/ 254599 h 776474"/>
                <a:gd name="connsiteX108" fmla="*/ 306068 w 512041"/>
                <a:gd name="connsiteY108" fmla="*/ 254711 h 776474"/>
                <a:gd name="connsiteX109" fmla="*/ 307505 w 512041"/>
                <a:gd name="connsiteY109" fmla="*/ 252555 h 776474"/>
                <a:gd name="connsiteX110" fmla="*/ 309672 w 512041"/>
                <a:gd name="connsiteY110" fmla="*/ 254452 h 776474"/>
                <a:gd name="connsiteX111" fmla="*/ 309730 w 512041"/>
                <a:gd name="connsiteY111" fmla="*/ 254218 h 776474"/>
                <a:gd name="connsiteX112" fmla="*/ 307444 w 512041"/>
                <a:gd name="connsiteY112" fmla="*/ 252218 h 776474"/>
                <a:gd name="connsiteX113" fmla="*/ 227148 w 512041"/>
                <a:gd name="connsiteY113" fmla="*/ 202307 h 776474"/>
                <a:gd name="connsiteX114" fmla="*/ 225625 w 512041"/>
                <a:gd name="connsiteY114" fmla="*/ 207641 h 776474"/>
                <a:gd name="connsiteX115" fmla="*/ 215528 w 512041"/>
                <a:gd name="connsiteY115" fmla="*/ 246122 h 776474"/>
                <a:gd name="connsiteX116" fmla="*/ 206860 w 512041"/>
                <a:gd name="connsiteY116" fmla="*/ 272982 h 776474"/>
                <a:gd name="connsiteX117" fmla="*/ 198383 w 512041"/>
                <a:gd name="connsiteY117" fmla="*/ 290699 h 776474"/>
                <a:gd name="connsiteX118" fmla="*/ 196192 w 512041"/>
                <a:gd name="connsiteY118" fmla="*/ 294128 h 776474"/>
                <a:gd name="connsiteX119" fmla="*/ 182667 w 512041"/>
                <a:gd name="connsiteY119" fmla="*/ 305367 h 776474"/>
                <a:gd name="connsiteX120" fmla="*/ 182667 w 512041"/>
                <a:gd name="connsiteY120" fmla="*/ 311844 h 776474"/>
                <a:gd name="connsiteX121" fmla="*/ 192382 w 512041"/>
                <a:gd name="connsiteY121" fmla="*/ 324131 h 776474"/>
                <a:gd name="connsiteX122" fmla="*/ 204003 w 512041"/>
                <a:gd name="connsiteY122" fmla="*/ 363946 h 776474"/>
                <a:gd name="connsiteX123" fmla="*/ 215528 w 512041"/>
                <a:gd name="connsiteY123" fmla="*/ 439384 h 776474"/>
                <a:gd name="connsiteX124" fmla="*/ 222100 w 512041"/>
                <a:gd name="connsiteY124" fmla="*/ 409475 h 776474"/>
                <a:gd name="connsiteX125" fmla="*/ 221148 w 512041"/>
                <a:gd name="connsiteY125" fmla="*/ 389282 h 776474"/>
                <a:gd name="connsiteX126" fmla="*/ 228958 w 512041"/>
                <a:gd name="connsiteY126" fmla="*/ 363184 h 776474"/>
                <a:gd name="connsiteX127" fmla="*/ 239626 w 512041"/>
                <a:gd name="connsiteY127" fmla="*/ 328037 h 776474"/>
                <a:gd name="connsiteX128" fmla="*/ 243627 w 512041"/>
                <a:gd name="connsiteY128" fmla="*/ 318512 h 776474"/>
                <a:gd name="connsiteX129" fmla="*/ 252390 w 512041"/>
                <a:gd name="connsiteY129" fmla="*/ 311177 h 776474"/>
                <a:gd name="connsiteX130" fmla="*/ 260677 w 512041"/>
                <a:gd name="connsiteY130" fmla="*/ 304891 h 776474"/>
                <a:gd name="connsiteX131" fmla="*/ 265820 w 512041"/>
                <a:gd name="connsiteY131" fmla="*/ 313368 h 776474"/>
                <a:gd name="connsiteX132" fmla="*/ 271630 w 512041"/>
                <a:gd name="connsiteY132" fmla="*/ 308034 h 776474"/>
                <a:gd name="connsiteX133" fmla="*/ 273345 w 512041"/>
                <a:gd name="connsiteY133" fmla="*/ 306891 h 776474"/>
                <a:gd name="connsiteX134" fmla="*/ 279155 w 512041"/>
                <a:gd name="connsiteY134" fmla="*/ 304986 h 776474"/>
                <a:gd name="connsiteX135" fmla="*/ 292490 w 512041"/>
                <a:gd name="connsiteY135" fmla="*/ 300605 h 776474"/>
                <a:gd name="connsiteX136" fmla="*/ 292490 w 512041"/>
                <a:gd name="connsiteY136" fmla="*/ 300509 h 776474"/>
                <a:gd name="connsiteX137" fmla="*/ 306587 w 512041"/>
                <a:gd name="connsiteY137" fmla="*/ 296795 h 776474"/>
                <a:gd name="connsiteX138" fmla="*/ 290109 w 512041"/>
                <a:gd name="connsiteY138" fmla="*/ 283650 h 776474"/>
                <a:gd name="connsiteX139" fmla="*/ 271249 w 512041"/>
                <a:gd name="connsiteY139" fmla="*/ 268220 h 776474"/>
                <a:gd name="connsiteX140" fmla="*/ 264391 w 512041"/>
                <a:gd name="connsiteY140" fmla="*/ 262505 h 776474"/>
                <a:gd name="connsiteX141" fmla="*/ 256485 w 512041"/>
                <a:gd name="connsiteY141" fmla="*/ 256504 h 776474"/>
                <a:gd name="connsiteX142" fmla="*/ 241817 w 512041"/>
                <a:gd name="connsiteY142" fmla="*/ 238216 h 776474"/>
                <a:gd name="connsiteX143" fmla="*/ 239341 w 512041"/>
                <a:gd name="connsiteY143" fmla="*/ 228881 h 776474"/>
                <a:gd name="connsiteX144" fmla="*/ 237912 w 512041"/>
                <a:gd name="connsiteY144" fmla="*/ 226595 h 776474"/>
                <a:gd name="connsiteX145" fmla="*/ 230673 w 512041"/>
                <a:gd name="connsiteY145" fmla="*/ 218273 h 776474"/>
                <a:gd name="connsiteX146" fmla="*/ 227460 w 512041"/>
                <a:gd name="connsiteY146" fmla="*/ 207822 h 776474"/>
                <a:gd name="connsiteX147" fmla="*/ 227435 w 512041"/>
                <a:gd name="connsiteY147" fmla="*/ 207831 h 776474"/>
                <a:gd name="connsiteX148" fmla="*/ 227435 w 512041"/>
                <a:gd name="connsiteY148" fmla="*/ 207739 h 776474"/>
                <a:gd name="connsiteX149" fmla="*/ 227434 w 512041"/>
                <a:gd name="connsiteY149" fmla="*/ 207736 h 776474"/>
                <a:gd name="connsiteX150" fmla="*/ 225625 w 512041"/>
                <a:gd name="connsiteY150" fmla="*/ 207736 h 776474"/>
                <a:gd name="connsiteX151" fmla="*/ 227149 w 512041"/>
                <a:gd name="connsiteY151" fmla="*/ 202402 h 776474"/>
                <a:gd name="connsiteX152" fmla="*/ 230893 w 512041"/>
                <a:gd name="connsiteY152" fmla="*/ 206520 h 776474"/>
                <a:gd name="connsiteX153" fmla="*/ 230958 w 512041"/>
                <a:gd name="connsiteY153" fmla="*/ 206498 h 776474"/>
                <a:gd name="connsiteX154" fmla="*/ 227148 w 512041"/>
                <a:gd name="connsiteY154" fmla="*/ 202307 h 776474"/>
                <a:gd name="connsiteX155" fmla="*/ 369030 w 512041"/>
                <a:gd name="connsiteY155" fmla="*/ 114657 h 776474"/>
                <a:gd name="connsiteX156" fmla="*/ 369595 w 512041"/>
                <a:gd name="connsiteY156" fmla="*/ 117844 h 776474"/>
                <a:gd name="connsiteX157" fmla="*/ 372426 w 512041"/>
                <a:gd name="connsiteY157" fmla="*/ 120014 h 776474"/>
                <a:gd name="connsiteX158" fmla="*/ 370977 w 512041"/>
                <a:gd name="connsiteY158" fmla="*/ 112010 h 776474"/>
                <a:gd name="connsiteX159" fmla="*/ 370662 w 512041"/>
                <a:gd name="connsiteY159" fmla="*/ 112270 h 776474"/>
                <a:gd name="connsiteX160" fmla="*/ 372693 w 512041"/>
                <a:gd name="connsiteY160" fmla="*/ 120219 h 776474"/>
                <a:gd name="connsiteX161" fmla="*/ 373167 w 512041"/>
                <a:gd name="connsiteY161" fmla="*/ 120582 h 776474"/>
                <a:gd name="connsiteX162" fmla="*/ 370977 w 512041"/>
                <a:gd name="connsiteY162" fmla="*/ 112010 h 776474"/>
                <a:gd name="connsiteX163" fmla="*/ 442402 w 512041"/>
                <a:gd name="connsiteY163" fmla="*/ 19082 h 776474"/>
                <a:gd name="connsiteX164" fmla="*/ 449844 w 512041"/>
                <a:gd name="connsiteY164" fmla="*/ 19427 h 776474"/>
                <a:gd name="connsiteX165" fmla="*/ 450606 w 512041"/>
                <a:gd name="connsiteY165" fmla="*/ 27333 h 776474"/>
                <a:gd name="connsiteX166" fmla="*/ 444129 w 512041"/>
                <a:gd name="connsiteY166" fmla="*/ 67052 h 776474"/>
                <a:gd name="connsiteX167" fmla="*/ 434889 w 512041"/>
                <a:gd name="connsiteY167" fmla="*/ 85530 h 776474"/>
                <a:gd name="connsiteX168" fmla="*/ 417649 w 512041"/>
                <a:gd name="connsiteY168" fmla="*/ 108200 h 776474"/>
                <a:gd name="connsiteX169" fmla="*/ 403552 w 512041"/>
                <a:gd name="connsiteY169" fmla="*/ 116963 h 776474"/>
                <a:gd name="connsiteX170" fmla="*/ 390408 w 512041"/>
                <a:gd name="connsiteY170" fmla="*/ 127440 h 776474"/>
                <a:gd name="connsiteX171" fmla="*/ 369262 w 512041"/>
                <a:gd name="connsiteY171" fmla="*/ 132298 h 776474"/>
                <a:gd name="connsiteX172" fmla="*/ 369548 w 512041"/>
                <a:gd name="connsiteY172" fmla="*/ 132298 h 776474"/>
                <a:gd name="connsiteX173" fmla="*/ 361547 w 512041"/>
                <a:gd name="connsiteY173" fmla="*/ 129536 h 776474"/>
                <a:gd name="connsiteX174" fmla="*/ 366690 w 512041"/>
                <a:gd name="connsiteY174" fmla="*/ 107914 h 776474"/>
                <a:gd name="connsiteX175" fmla="*/ 376406 w 512041"/>
                <a:gd name="connsiteY175" fmla="*/ 96484 h 776474"/>
                <a:gd name="connsiteX176" fmla="*/ 376787 w 512041"/>
                <a:gd name="connsiteY176" fmla="*/ 93531 h 776474"/>
                <a:gd name="connsiteX177" fmla="*/ 376787 w 512041"/>
                <a:gd name="connsiteY177" fmla="*/ 84578 h 776474"/>
                <a:gd name="connsiteX178" fmla="*/ 397075 w 512041"/>
                <a:gd name="connsiteY178" fmla="*/ 53717 h 776474"/>
                <a:gd name="connsiteX179" fmla="*/ 405362 w 512041"/>
                <a:gd name="connsiteY179" fmla="*/ 50193 h 776474"/>
                <a:gd name="connsiteX180" fmla="*/ 410220 w 512041"/>
                <a:gd name="connsiteY180" fmla="*/ 45621 h 776474"/>
                <a:gd name="connsiteX181" fmla="*/ 417363 w 512041"/>
                <a:gd name="connsiteY181" fmla="*/ 41144 h 776474"/>
                <a:gd name="connsiteX182" fmla="*/ 419268 w 512041"/>
                <a:gd name="connsiteY182" fmla="*/ 39239 h 776474"/>
                <a:gd name="connsiteX183" fmla="*/ 435747 w 512041"/>
                <a:gd name="connsiteY183" fmla="*/ 20094 h 776474"/>
                <a:gd name="connsiteX184" fmla="*/ 442402 w 512041"/>
                <a:gd name="connsiteY184" fmla="*/ 19082 h 776474"/>
                <a:gd name="connsiteX185" fmla="*/ 78559 w 512041"/>
                <a:gd name="connsiteY185" fmla="*/ 12568 h 776474"/>
                <a:gd name="connsiteX186" fmla="*/ 84560 w 512041"/>
                <a:gd name="connsiteY186" fmla="*/ 22569 h 776474"/>
                <a:gd name="connsiteX187" fmla="*/ 86465 w 512041"/>
                <a:gd name="connsiteY187" fmla="*/ 26284 h 776474"/>
                <a:gd name="connsiteX188" fmla="*/ 86465 w 512041"/>
                <a:gd name="connsiteY188" fmla="*/ 26570 h 776474"/>
                <a:gd name="connsiteX189" fmla="*/ 86560 w 512041"/>
                <a:gd name="connsiteY189" fmla="*/ 26570 h 776474"/>
                <a:gd name="connsiteX190" fmla="*/ 87036 w 512041"/>
                <a:gd name="connsiteY190" fmla="*/ 36762 h 776474"/>
                <a:gd name="connsiteX191" fmla="*/ 87036 w 512041"/>
                <a:gd name="connsiteY191" fmla="*/ 32672 h 776474"/>
                <a:gd name="connsiteX192" fmla="*/ 86751 w 512041"/>
                <a:gd name="connsiteY192" fmla="*/ 26571 h 776474"/>
                <a:gd name="connsiteX193" fmla="*/ 86751 w 512041"/>
                <a:gd name="connsiteY193" fmla="*/ 26570 h 776474"/>
                <a:gd name="connsiteX194" fmla="*/ 86756 w 512041"/>
                <a:gd name="connsiteY194" fmla="*/ 26577 h 776474"/>
                <a:gd name="connsiteX195" fmla="*/ 86878 w 512041"/>
                <a:gd name="connsiteY195" fmla="*/ 26730 h 776474"/>
                <a:gd name="connsiteX196" fmla="*/ 86774 w 512041"/>
                <a:gd name="connsiteY196" fmla="*/ 26522 h 776474"/>
                <a:gd name="connsiteX197" fmla="*/ 86750 w 512041"/>
                <a:gd name="connsiteY197" fmla="*/ 26570 h 776474"/>
                <a:gd name="connsiteX198" fmla="*/ 86750 w 512041"/>
                <a:gd name="connsiteY198" fmla="*/ 26474 h 776474"/>
                <a:gd name="connsiteX199" fmla="*/ 86655 w 512041"/>
                <a:gd name="connsiteY199" fmla="*/ 26284 h 776474"/>
                <a:gd name="connsiteX200" fmla="*/ 86560 w 512041"/>
                <a:gd name="connsiteY200" fmla="*/ 26284 h 776474"/>
                <a:gd name="connsiteX201" fmla="*/ 87132 w 512041"/>
                <a:gd name="connsiteY201" fmla="*/ 21807 h 776474"/>
                <a:gd name="connsiteX202" fmla="*/ 89989 w 512041"/>
                <a:gd name="connsiteY202" fmla="*/ 23427 h 776474"/>
                <a:gd name="connsiteX203" fmla="*/ 94180 w 512041"/>
                <a:gd name="connsiteY203" fmla="*/ 30761 h 776474"/>
                <a:gd name="connsiteX204" fmla="*/ 112087 w 512041"/>
                <a:gd name="connsiteY204" fmla="*/ 53145 h 776474"/>
                <a:gd name="connsiteX205" fmla="*/ 120564 w 512041"/>
                <a:gd name="connsiteY205" fmla="*/ 66861 h 776474"/>
                <a:gd name="connsiteX206" fmla="*/ 126565 w 512041"/>
                <a:gd name="connsiteY206" fmla="*/ 72385 h 776474"/>
                <a:gd name="connsiteX207" fmla="*/ 124851 w 512041"/>
                <a:gd name="connsiteY207" fmla="*/ 113152 h 776474"/>
                <a:gd name="connsiteX208" fmla="*/ 123422 w 512041"/>
                <a:gd name="connsiteY208" fmla="*/ 119153 h 776474"/>
                <a:gd name="connsiteX209" fmla="*/ 124374 w 512041"/>
                <a:gd name="connsiteY209" fmla="*/ 126582 h 776474"/>
                <a:gd name="connsiteX210" fmla="*/ 111135 w 512041"/>
                <a:gd name="connsiteY210" fmla="*/ 126487 h 776474"/>
                <a:gd name="connsiteX211" fmla="*/ 99895 w 512041"/>
                <a:gd name="connsiteY211" fmla="*/ 118200 h 776474"/>
                <a:gd name="connsiteX212" fmla="*/ 93704 w 512041"/>
                <a:gd name="connsiteY212" fmla="*/ 110676 h 776474"/>
                <a:gd name="connsiteX213" fmla="*/ 93609 w 512041"/>
                <a:gd name="connsiteY213" fmla="*/ 110676 h 776474"/>
                <a:gd name="connsiteX214" fmla="*/ 74273 w 512041"/>
                <a:gd name="connsiteY214" fmla="*/ 88387 h 776474"/>
                <a:gd name="connsiteX215" fmla="*/ 59985 w 512041"/>
                <a:gd name="connsiteY215" fmla="*/ 50478 h 776474"/>
                <a:gd name="connsiteX216" fmla="*/ 68844 w 512041"/>
                <a:gd name="connsiteY216" fmla="*/ 19236 h 776474"/>
                <a:gd name="connsiteX217" fmla="*/ 78559 w 512041"/>
                <a:gd name="connsiteY217" fmla="*/ 12568 h 776474"/>
                <a:gd name="connsiteX218" fmla="*/ 236197 w 512041"/>
                <a:gd name="connsiteY218" fmla="*/ 1043 h 776474"/>
                <a:gd name="connsiteX219" fmla="*/ 251914 w 512041"/>
                <a:gd name="connsiteY219" fmla="*/ 25999 h 776474"/>
                <a:gd name="connsiteX220" fmla="*/ 248199 w 512041"/>
                <a:gd name="connsiteY220" fmla="*/ 28761 h 776474"/>
                <a:gd name="connsiteX221" fmla="*/ 249627 w 512041"/>
                <a:gd name="connsiteY221" fmla="*/ 39239 h 776474"/>
                <a:gd name="connsiteX222" fmla="*/ 252295 w 512041"/>
                <a:gd name="connsiteY222" fmla="*/ 42287 h 776474"/>
                <a:gd name="connsiteX223" fmla="*/ 247151 w 512041"/>
                <a:gd name="connsiteY223" fmla="*/ 45335 h 776474"/>
                <a:gd name="connsiteX224" fmla="*/ 250675 w 512041"/>
                <a:gd name="connsiteY224" fmla="*/ 57050 h 776474"/>
                <a:gd name="connsiteX225" fmla="*/ 255057 w 512041"/>
                <a:gd name="connsiteY225" fmla="*/ 82387 h 776474"/>
                <a:gd name="connsiteX226" fmla="*/ 256771 w 512041"/>
                <a:gd name="connsiteY226" fmla="*/ 93055 h 776474"/>
                <a:gd name="connsiteX227" fmla="*/ 267249 w 512041"/>
                <a:gd name="connsiteY227" fmla="*/ 131345 h 776474"/>
                <a:gd name="connsiteX228" fmla="*/ 269630 w 512041"/>
                <a:gd name="connsiteY228" fmla="*/ 135441 h 776474"/>
                <a:gd name="connsiteX229" fmla="*/ 281250 w 512041"/>
                <a:gd name="connsiteY229" fmla="*/ 156206 h 776474"/>
                <a:gd name="connsiteX230" fmla="*/ 297824 w 512041"/>
                <a:gd name="connsiteY230" fmla="*/ 177446 h 776474"/>
                <a:gd name="connsiteX231" fmla="*/ 316493 w 512041"/>
                <a:gd name="connsiteY231" fmla="*/ 192877 h 776474"/>
                <a:gd name="connsiteX232" fmla="*/ 336019 w 512041"/>
                <a:gd name="connsiteY232" fmla="*/ 206307 h 776474"/>
                <a:gd name="connsiteX233" fmla="*/ 343639 w 512041"/>
                <a:gd name="connsiteY233" fmla="*/ 213546 h 776474"/>
                <a:gd name="connsiteX234" fmla="*/ 345925 w 512041"/>
                <a:gd name="connsiteY234" fmla="*/ 214880 h 776474"/>
                <a:gd name="connsiteX235" fmla="*/ 366214 w 512041"/>
                <a:gd name="connsiteY235" fmla="*/ 220785 h 776474"/>
                <a:gd name="connsiteX236" fmla="*/ 373738 w 512041"/>
                <a:gd name="connsiteY236" fmla="*/ 223071 h 776474"/>
                <a:gd name="connsiteX237" fmla="*/ 384978 w 512041"/>
                <a:gd name="connsiteY237" fmla="*/ 231072 h 776474"/>
                <a:gd name="connsiteX238" fmla="*/ 399170 w 512041"/>
                <a:gd name="connsiteY238" fmla="*/ 235168 h 776474"/>
                <a:gd name="connsiteX239" fmla="*/ 412696 w 512041"/>
                <a:gd name="connsiteY239" fmla="*/ 238787 h 776474"/>
                <a:gd name="connsiteX240" fmla="*/ 425364 w 512041"/>
                <a:gd name="connsiteY240" fmla="*/ 239073 h 776474"/>
                <a:gd name="connsiteX241" fmla="*/ 443175 w 512041"/>
                <a:gd name="connsiteY241" fmla="*/ 243550 h 776474"/>
                <a:gd name="connsiteX242" fmla="*/ 466131 w 512041"/>
                <a:gd name="connsiteY242" fmla="*/ 246693 h 776474"/>
                <a:gd name="connsiteX243" fmla="*/ 484419 w 512041"/>
                <a:gd name="connsiteY243" fmla="*/ 247741 h 776474"/>
                <a:gd name="connsiteX244" fmla="*/ 503278 w 512041"/>
                <a:gd name="connsiteY244" fmla="*/ 268029 h 776474"/>
                <a:gd name="connsiteX245" fmla="*/ 505755 w 512041"/>
                <a:gd name="connsiteY245" fmla="*/ 284603 h 776474"/>
                <a:gd name="connsiteX246" fmla="*/ 512041 w 512041"/>
                <a:gd name="connsiteY246" fmla="*/ 288698 h 776474"/>
                <a:gd name="connsiteX247" fmla="*/ 511851 w 512041"/>
                <a:gd name="connsiteY247" fmla="*/ 288794 h 776474"/>
                <a:gd name="connsiteX248" fmla="*/ 511851 w 512041"/>
                <a:gd name="connsiteY248" fmla="*/ 290699 h 776474"/>
                <a:gd name="connsiteX249" fmla="*/ 509470 w 512041"/>
                <a:gd name="connsiteY249" fmla="*/ 311082 h 776474"/>
                <a:gd name="connsiteX250" fmla="*/ 510898 w 512041"/>
                <a:gd name="connsiteY250" fmla="*/ 315464 h 776474"/>
                <a:gd name="connsiteX251" fmla="*/ 505183 w 512041"/>
                <a:gd name="connsiteY251" fmla="*/ 328322 h 776474"/>
                <a:gd name="connsiteX252" fmla="*/ 505945 w 512041"/>
                <a:gd name="connsiteY252" fmla="*/ 343277 h 776474"/>
                <a:gd name="connsiteX253" fmla="*/ 474798 w 512041"/>
                <a:gd name="connsiteY253" fmla="*/ 366041 h 776474"/>
                <a:gd name="connsiteX254" fmla="*/ 440699 w 512041"/>
                <a:gd name="connsiteY254" fmla="*/ 367946 h 776474"/>
                <a:gd name="connsiteX255" fmla="*/ 423078 w 512041"/>
                <a:gd name="connsiteY255" fmla="*/ 374138 h 776474"/>
                <a:gd name="connsiteX256" fmla="*/ 412124 w 512041"/>
                <a:gd name="connsiteY256" fmla="*/ 374138 h 776474"/>
                <a:gd name="connsiteX257" fmla="*/ 404885 w 512041"/>
                <a:gd name="connsiteY257" fmla="*/ 374995 h 776474"/>
                <a:gd name="connsiteX258" fmla="*/ 365928 w 512041"/>
                <a:gd name="connsiteY258" fmla="*/ 388901 h 776474"/>
                <a:gd name="connsiteX259" fmla="*/ 330114 w 512041"/>
                <a:gd name="connsiteY259" fmla="*/ 395664 h 776474"/>
                <a:gd name="connsiteX260" fmla="*/ 326304 w 512041"/>
                <a:gd name="connsiteY260" fmla="*/ 396045 h 776474"/>
                <a:gd name="connsiteX261" fmla="*/ 300015 w 512041"/>
                <a:gd name="connsiteY261" fmla="*/ 401189 h 776474"/>
                <a:gd name="connsiteX262" fmla="*/ 289442 w 512041"/>
                <a:gd name="connsiteY262" fmla="*/ 401284 h 776474"/>
                <a:gd name="connsiteX263" fmla="*/ 265534 w 512041"/>
                <a:gd name="connsiteY263" fmla="*/ 417667 h 776474"/>
                <a:gd name="connsiteX264" fmla="*/ 262200 w 512041"/>
                <a:gd name="connsiteY264" fmla="*/ 460625 h 776474"/>
                <a:gd name="connsiteX265" fmla="*/ 262772 w 512041"/>
                <a:gd name="connsiteY265" fmla="*/ 481484 h 776474"/>
                <a:gd name="connsiteX266" fmla="*/ 260105 w 512041"/>
                <a:gd name="connsiteY266" fmla="*/ 544445 h 776474"/>
                <a:gd name="connsiteX267" fmla="*/ 253152 w 512041"/>
                <a:gd name="connsiteY267" fmla="*/ 577115 h 776474"/>
                <a:gd name="connsiteX268" fmla="*/ 249627 w 512041"/>
                <a:gd name="connsiteY268" fmla="*/ 620073 h 776474"/>
                <a:gd name="connsiteX269" fmla="*/ 246008 w 512041"/>
                <a:gd name="connsiteY269" fmla="*/ 648553 h 776474"/>
                <a:gd name="connsiteX270" fmla="*/ 244865 w 512041"/>
                <a:gd name="connsiteY270" fmla="*/ 674842 h 776474"/>
                <a:gd name="connsiteX271" fmla="*/ 245056 w 512041"/>
                <a:gd name="connsiteY271" fmla="*/ 714561 h 776474"/>
                <a:gd name="connsiteX272" fmla="*/ 242674 w 512041"/>
                <a:gd name="connsiteY272" fmla="*/ 765425 h 776474"/>
                <a:gd name="connsiteX273" fmla="*/ 234673 w 512041"/>
                <a:gd name="connsiteY273" fmla="*/ 776474 h 776474"/>
                <a:gd name="connsiteX274" fmla="*/ 223339 w 512041"/>
                <a:gd name="connsiteY274" fmla="*/ 776474 h 776474"/>
                <a:gd name="connsiteX275" fmla="*/ 223148 w 512041"/>
                <a:gd name="connsiteY275" fmla="*/ 776474 h 776474"/>
                <a:gd name="connsiteX276" fmla="*/ 213719 w 512041"/>
                <a:gd name="connsiteY276" fmla="*/ 776474 h 776474"/>
                <a:gd name="connsiteX277" fmla="*/ 213528 w 512041"/>
                <a:gd name="connsiteY277" fmla="*/ 776474 h 776474"/>
                <a:gd name="connsiteX278" fmla="*/ 207718 w 512041"/>
                <a:gd name="connsiteY278" fmla="*/ 776474 h 776474"/>
                <a:gd name="connsiteX279" fmla="*/ 196383 w 512041"/>
                <a:gd name="connsiteY279" fmla="*/ 757614 h 776474"/>
                <a:gd name="connsiteX280" fmla="*/ 193144 w 512041"/>
                <a:gd name="connsiteY280" fmla="*/ 750375 h 776474"/>
                <a:gd name="connsiteX281" fmla="*/ 187620 w 512041"/>
                <a:gd name="connsiteY281" fmla="*/ 723419 h 776474"/>
                <a:gd name="connsiteX282" fmla="*/ 185620 w 512041"/>
                <a:gd name="connsiteY282" fmla="*/ 719038 h 776474"/>
                <a:gd name="connsiteX283" fmla="*/ 178857 w 512041"/>
                <a:gd name="connsiteY283" fmla="*/ 663602 h 776474"/>
                <a:gd name="connsiteX284" fmla="*/ 181238 w 512041"/>
                <a:gd name="connsiteY284" fmla="*/ 654744 h 776474"/>
                <a:gd name="connsiteX285" fmla="*/ 180667 w 512041"/>
                <a:gd name="connsiteY285" fmla="*/ 574639 h 776474"/>
                <a:gd name="connsiteX286" fmla="*/ 184286 w 512041"/>
                <a:gd name="connsiteY286" fmla="*/ 558065 h 776474"/>
                <a:gd name="connsiteX287" fmla="*/ 180762 w 512041"/>
                <a:gd name="connsiteY287" fmla="*/ 537110 h 776474"/>
                <a:gd name="connsiteX288" fmla="*/ 179428 w 512041"/>
                <a:gd name="connsiteY288" fmla="*/ 508821 h 776474"/>
                <a:gd name="connsiteX289" fmla="*/ 178095 w 512041"/>
                <a:gd name="connsiteY289" fmla="*/ 487580 h 776474"/>
                <a:gd name="connsiteX290" fmla="*/ 174380 w 512041"/>
                <a:gd name="connsiteY290" fmla="*/ 458624 h 776474"/>
                <a:gd name="connsiteX291" fmla="*/ 170856 w 512041"/>
                <a:gd name="connsiteY291" fmla="*/ 419858 h 776474"/>
                <a:gd name="connsiteX292" fmla="*/ 164760 w 512041"/>
                <a:gd name="connsiteY292" fmla="*/ 397950 h 776474"/>
                <a:gd name="connsiteX293" fmla="*/ 151901 w 512041"/>
                <a:gd name="connsiteY293" fmla="*/ 379853 h 776474"/>
                <a:gd name="connsiteX294" fmla="*/ 144091 w 512041"/>
                <a:gd name="connsiteY294" fmla="*/ 371661 h 776474"/>
                <a:gd name="connsiteX295" fmla="*/ 110848 w 512041"/>
                <a:gd name="connsiteY295" fmla="*/ 364327 h 776474"/>
                <a:gd name="connsiteX296" fmla="*/ 86941 w 512041"/>
                <a:gd name="connsiteY296" fmla="*/ 364041 h 776474"/>
                <a:gd name="connsiteX297" fmla="*/ 74272 w 512041"/>
                <a:gd name="connsiteY297" fmla="*/ 361565 h 776474"/>
                <a:gd name="connsiteX298" fmla="*/ 59032 w 512041"/>
                <a:gd name="connsiteY298" fmla="*/ 360803 h 776474"/>
                <a:gd name="connsiteX299" fmla="*/ 41792 w 512041"/>
                <a:gd name="connsiteY299" fmla="*/ 361184 h 776474"/>
                <a:gd name="connsiteX300" fmla="*/ 38649 w 512041"/>
                <a:gd name="connsiteY300" fmla="*/ 361374 h 776474"/>
                <a:gd name="connsiteX301" fmla="*/ 32362 w 512041"/>
                <a:gd name="connsiteY301" fmla="*/ 361946 h 776474"/>
                <a:gd name="connsiteX302" fmla="*/ 19408 w 512041"/>
                <a:gd name="connsiteY302" fmla="*/ 361374 h 776474"/>
                <a:gd name="connsiteX303" fmla="*/ 930 w 512041"/>
                <a:gd name="connsiteY303" fmla="*/ 347563 h 776474"/>
                <a:gd name="connsiteX304" fmla="*/ 1501 w 512041"/>
                <a:gd name="connsiteY304" fmla="*/ 329465 h 776474"/>
                <a:gd name="connsiteX305" fmla="*/ 7216 w 512041"/>
                <a:gd name="connsiteY305" fmla="*/ 322417 h 776474"/>
                <a:gd name="connsiteX306" fmla="*/ 8740 w 512041"/>
                <a:gd name="connsiteY306" fmla="*/ 320417 h 776474"/>
                <a:gd name="connsiteX307" fmla="*/ 14836 w 512041"/>
                <a:gd name="connsiteY307" fmla="*/ 311844 h 776474"/>
                <a:gd name="connsiteX308" fmla="*/ 7216 w 512041"/>
                <a:gd name="connsiteY308" fmla="*/ 296509 h 776474"/>
                <a:gd name="connsiteX309" fmla="*/ 15408 w 512041"/>
                <a:gd name="connsiteY309" fmla="*/ 280126 h 776474"/>
                <a:gd name="connsiteX310" fmla="*/ 30743 w 512041"/>
                <a:gd name="connsiteY310" fmla="*/ 274316 h 776474"/>
                <a:gd name="connsiteX311" fmla="*/ 48460 w 512041"/>
                <a:gd name="connsiteY311" fmla="*/ 269839 h 776474"/>
                <a:gd name="connsiteX312" fmla="*/ 58556 w 512041"/>
                <a:gd name="connsiteY312" fmla="*/ 274887 h 776474"/>
                <a:gd name="connsiteX313" fmla="*/ 60937 w 512041"/>
                <a:gd name="connsiteY313" fmla="*/ 274030 h 776474"/>
                <a:gd name="connsiteX314" fmla="*/ 70558 w 512041"/>
                <a:gd name="connsiteY314" fmla="*/ 268410 h 776474"/>
                <a:gd name="connsiteX315" fmla="*/ 78749 w 512041"/>
                <a:gd name="connsiteY315" fmla="*/ 265362 h 776474"/>
                <a:gd name="connsiteX316" fmla="*/ 106086 w 512041"/>
                <a:gd name="connsiteY316" fmla="*/ 257361 h 776474"/>
                <a:gd name="connsiteX317" fmla="*/ 124564 w 512041"/>
                <a:gd name="connsiteY317" fmla="*/ 253075 h 776474"/>
                <a:gd name="connsiteX318" fmla="*/ 137233 w 512041"/>
                <a:gd name="connsiteY318" fmla="*/ 243836 h 776474"/>
                <a:gd name="connsiteX319" fmla="*/ 169332 w 512041"/>
                <a:gd name="connsiteY319" fmla="*/ 232310 h 776474"/>
                <a:gd name="connsiteX320" fmla="*/ 173999 w 512041"/>
                <a:gd name="connsiteY320" fmla="*/ 226976 h 776474"/>
                <a:gd name="connsiteX321" fmla="*/ 183905 w 512041"/>
                <a:gd name="connsiteY321" fmla="*/ 222595 h 776474"/>
                <a:gd name="connsiteX322" fmla="*/ 186191 w 512041"/>
                <a:gd name="connsiteY322" fmla="*/ 221833 h 776474"/>
                <a:gd name="connsiteX323" fmla="*/ 204955 w 512041"/>
                <a:gd name="connsiteY323" fmla="*/ 177351 h 776474"/>
                <a:gd name="connsiteX324" fmla="*/ 208003 w 512041"/>
                <a:gd name="connsiteY324" fmla="*/ 105056 h 776474"/>
                <a:gd name="connsiteX325" fmla="*/ 203241 w 512041"/>
                <a:gd name="connsiteY325" fmla="*/ 70766 h 776474"/>
                <a:gd name="connsiteX326" fmla="*/ 207813 w 512041"/>
                <a:gd name="connsiteY326" fmla="*/ 52669 h 776474"/>
                <a:gd name="connsiteX327" fmla="*/ 210194 w 512041"/>
                <a:gd name="connsiteY327" fmla="*/ 39905 h 776474"/>
                <a:gd name="connsiteX328" fmla="*/ 227720 w 512041"/>
                <a:gd name="connsiteY328" fmla="*/ 2567 h 776474"/>
                <a:gd name="connsiteX329" fmla="*/ 236197 w 512041"/>
                <a:gd name="connsiteY329" fmla="*/ 1043 h 7764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</a:cxnLst>
              <a:rect l="l" t="t" r="r" b="b"/>
              <a:pathLst>
                <a:path w="512041" h="776474">
                  <a:moveTo>
                    <a:pt x="468035" y="583116"/>
                  </a:moveTo>
                  <a:lnTo>
                    <a:pt x="467945" y="583143"/>
                  </a:lnTo>
                  <a:lnTo>
                    <a:pt x="468894" y="588831"/>
                  </a:lnTo>
                  <a:lnTo>
                    <a:pt x="467101" y="585493"/>
                  </a:lnTo>
                  <a:lnTo>
                    <a:pt x="468893" y="588831"/>
                  </a:lnTo>
                  <a:lnTo>
                    <a:pt x="468894" y="588831"/>
                  </a:lnTo>
                  <a:lnTo>
                    <a:pt x="468988" y="588831"/>
                  </a:lnTo>
                  <a:cubicBezTo>
                    <a:pt x="470322" y="586640"/>
                    <a:pt x="470036" y="584735"/>
                    <a:pt x="468035" y="583116"/>
                  </a:cubicBezTo>
                  <a:close/>
                  <a:moveTo>
                    <a:pt x="457368" y="573019"/>
                  </a:moveTo>
                  <a:cubicBezTo>
                    <a:pt x="455748" y="576924"/>
                    <a:pt x="450224" y="571019"/>
                    <a:pt x="449843" y="576162"/>
                  </a:cubicBezTo>
                  <a:lnTo>
                    <a:pt x="449844" y="576163"/>
                  </a:lnTo>
                  <a:lnTo>
                    <a:pt x="453142" y="574128"/>
                  </a:lnTo>
                  <a:lnTo>
                    <a:pt x="457368" y="573020"/>
                  </a:lnTo>
                  <a:close/>
                  <a:moveTo>
                    <a:pt x="251628" y="544349"/>
                  </a:moveTo>
                  <a:cubicBezTo>
                    <a:pt x="249056" y="546350"/>
                    <a:pt x="250580" y="549207"/>
                    <a:pt x="250675" y="552255"/>
                  </a:cubicBezTo>
                  <a:lnTo>
                    <a:pt x="250676" y="552253"/>
                  </a:lnTo>
                  <a:close/>
                  <a:moveTo>
                    <a:pt x="50174" y="541301"/>
                  </a:moveTo>
                  <a:cubicBezTo>
                    <a:pt x="57032" y="541968"/>
                    <a:pt x="49983" y="545397"/>
                    <a:pt x="51222" y="547111"/>
                  </a:cubicBezTo>
                  <a:cubicBezTo>
                    <a:pt x="49317" y="545397"/>
                    <a:pt x="50460" y="543206"/>
                    <a:pt x="50174" y="541301"/>
                  </a:cubicBezTo>
                  <a:close/>
                  <a:moveTo>
                    <a:pt x="447843" y="531204"/>
                  </a:moveTo>
                  <a:cubicBezTo>
                    <a:pt x="446509" y="534062"/>
                    <a:pt x="446033" y="536157"/>
                    <a:pt x="447843" y="538443"/>
                  </a:cubicBezTo>
                  <a:lnTo>
                    <a:pt x="447938" y="538090"/>
                  </a:lnTo>
                  <a:lnTo>
                    <a:pt x="447938" y="531653"/>
                  </a:lnTo>
                  <a:close/>
                  <a:moveTo>
                    <a:pt x="373738" y="497391"/>
                  </a:moveTo>
                  <a:cubicBezTo>
                    <a:pt x="372119" y="497010"/>
                    <a:pt x="371547" y="498248"/>
                    <a:pt x="371547" y="499581"/>
                  </a:cubicBezTo>
                  <a:cubicBezTo>
                    <a:pt x="371547" y="500343"/>
                    <a:pt x="372024" y="501201"/>
                    <a:pt x="372404" y="502534"/>
                  </a:cubicBezTo>
                  <a:lnTo>
                    <a:pt x="372404" y="502629"/>
                  </a:lnTo>
                  <a:cubicBezTo>
                    <a:pt x="373548" y="501296"/>
                    <a:pt x="374500" y="500439"/>
                    <a:pt x="374976" y="499391"/>
                  </a:cubicBezTo>
                  <a:lnTo>
                    <a:pt x="374952" y="499351"/>
                  </a:lnTo>
                  <a:lnTo>
                    <a:pt x="372500" y="502439"/>
                  </a:lnTo>
                  <a:cubicBezTo>
                    <a:pt x="372024" y="501105"/>
                    <a:pt x="371643" y="500343"/>
                    <a:pt x="371643" y="499486"/>
                  </a:cubicBezTo>
                  <a:lnTo>
                    <a:pt x="373738" y="497391"/>
                  </a:lnTo>
                  <a:close/>
                  <a:moveTo>
                    <a:pt x="359260" y="480341"/>
                  </a:moveTo>
                  <a:cubicBezTo>
                    <a:pt x="358879" y="480150"/>
                    <a:pt x="357164" y="481103"/>
                    <a:pt x="357164" y="481674"/>
                  </a:cubicBezTo>
                  <a:cubicBezTo>
                    <a:pt x="356783" y="484532"/>
                    <a:pt x="359070" y="485389"/>
                    <a:pt x="361070" y="486532"/>
                  </a:cubicBezTo>
                  <a:lnTo>
                    <a:pt x="361165" y="486532"/>
                  </a:lnTo>
                  <a:cubicBezTo>
                    <a:pt x="359165" y="485485"/>
                    <a:pt x="356879" y="484532"/>
                    <a:pt x="357260" y="481675"/>
                  </a:cubicBezTo>
                  <a:lnTo>
                    <a:pt x="359276" y="480391"/>
                  </a:lnTo>
                  <a:close/>
                  <a:moveTo>
                    <a:pt x="351354" y="471959"/>
                  </a:moveTo>
                  <a:cubicBezTo>
                    <a:pt x="350116" y="472054"/>
                    <a:pt x="348592" y="471864"/>
                    <a:pt x="348592" y="473769"/>
                  </a:cubicBezTo>
                  <a:cubicBezTo>
                    <a:pt x="348687" y="475483"/>
                    <a:pt x="349830" y="476817"/>
                    <a:pt x="351450" y="476817"/>
                  </a:cubicBezTo>
                  <a:lnTo>
                    <a:pt x="351578" y="476750"/>
                  </a:lnTo>
                  <a:lnTo>
                    <a:pt x="348783" y="473769"/>
                  </a:lnTo>
                  <a:lnTo>
                    <a:pt x="351413" y="472045"/>
                  </a:lnTo>
                  <a:close/>
                  <a:moveTo>
                    <a:pt x="76273" y="434145"/>
                  </a:moveTo>
                  <a:cubicBezTo>
                    <a:pt x="79225" y="438431"/>
                    <a:pt x="88655" y="436907"/>
                    <a:pt x="87131" y="444242"/>
                  </a:cubicBezTo>
                  <a:lnTo>
                    <a:pt x="87417" y="444242"/>
                  </a:lnTo>
                  <a:cubicBezTo>
                    <a:pt x="85988" y="451290"/>
                    <a:pt x="94656" y="456910"/>
                    <a:pt x="87703" y="465482"/>
                  </a:cubicBezTo>
                  <a:cubicBezTo>
                    <a:pt x="83035" y="471102"/>
                    <a:pt x="82940" y="481198"/>
                    <a:pt x="80559" y="489199"/>
                  </a:cubicBezTo>
                  <a:cubicBezTo>
                    <a:pt x="79511" y="492438"/>
                    <a:pt x="83988" y="497677"/>
                    <a:pt x="76273" y="497772"/>
                  </a:cubicBezTo>
                  <a:cubicBezTo>
                    <a:pt x="75511" y="497772"/>
                    <a:pt x="75796" y="499487"/>
                    <a:pt x="76844" y="500629"/>
                  </a:cubicBezTo>
                  <a:cubicBezTo>
                    <a:pt x="80464" y="504725"/>
                    <a:pt x="80273" y="507297"/>
                    <a:pt x="73891" y="507488"/>
                  </a:cubicBezTo>
                  <a:cubicBezTo>
                    <a:pt x="72463" y="507583"/>
                    <a:pt x="71320" y="509393"/>
                    <a:pt x="71510" y="511202"/>
                  </a:cubicBezTo>
                  <a:cubicBezTo>
                    <a:pt x="72177" y="517679"/>
                    <a:pt x="65224" y="519870"/>
                    <a:pt x="63033" y="525299"/>
                  </a:cubicBezTo>
                  <a:cubicBezTo>
                    <a:pt x="60842" y="530538"/>
                    <a:pt x="56080" y="537110"/>
                    <a:pt x="50269" y="541206"/>
                  </a:cubicBezTo>
                  <a:cubicBezTo>
                    <a:pt x="49984" y="541301"/>
                    <a:pt x="49412" y="541492"/>
                    <a:pt x="49412" y="541587"/>
                  </a:cubicBezTo>
                  <a:cubicBezTo>
                    <a:pt x="49888" y="554922"/>
                    <a:pt x="39316" y="561494"/>
                    <a:pt x="32267" y="570257"/>
                  </a:cubicBezTo>
                  <a:cubicBezTo>
                    <a:pt x="31315" y="571496"/>
                    <a:pt x="29124" y="572734"/>
                    <a:pt x="29314" y="573686"/>
                  </a:cubicBezTo>
                  <a:cubicBezTo>
                    <a:pt x="30648" y="581687"/>
                    <a:pt x="24838" y="579497"/>
                    <a:pt x="21028" y="579497"/>
                  </a:cubicBezTo>
                  <a:cubicBezTo>
                    <a:pt x="14360" y="579687"/>
                    <a:pt x="11503" y="575591"/>
                    <a:pt x="9979" y="569400"/>
                  </a:cubicBezTo>
                  <a:cubicBezTo>
                    <a:pt x="8169" y="561971"/>
                    <a:pt x="11979" y="555303"/>
                    <a:pt x="11979" y="548064"/>
                  </a:cubicBezTo>
                  <a:cubicBezTo>
                    <a:pt x="12074" y="538634"/>
                    <a:pt x="11693" y="528252"/>
                    <a:pt x="15408" y="520061"/>
                  </a:cubicBezTo>
                  <a:cubicBezTo>
                    <a:pt x="19599" y="510726"/>
                    <a:pt x="21885" y="500629"/>
                    <a:pt x="26933" y="491581"/>
                  </a:cubicBezTo>
                  <a:cubicBezTo>
                    <a:pt x="29981" y="486151"/>
                    <a:pt x="34172" y="479103"/>
                    <a:pt x="37506" y="476626"/>
                  </a:cubicBezTo>
                  <a:cubicBezTo>
                    <a:pt x="46459" y="469864"/>
                    <a:pt x="45221" y="455672"/>
                    <a:pt x="54651" y="452623"/>
                  </a:cubicBezTo>
                  <a:cubicBezTo>
                    <a:pt x="61985" y="450338"/>
                    <a:pt x="61890" y="444337"/>
                    <a:pt x="65890" y="441479"/>
                  </a:cubicBezTo>
                  <a:cubicBezTo>
                    <a:pt x="69319" y="439098"/>
                    <a:pt x="73891" y="438241"/>
                    <a:pt x="76273" y="434145"/>
                  </a:cubicBezTo>
                  <a:close/>
                  <a:moveTo>
                    <a:pt x="337484" y="428358"/>
                  </a:moveTo>
                  <a:cubicBezTo>
                    <a:pt x="338639" y="428048"/>
                    <a:pt x="339782" y="428810"/>
                    <a:pt x="340591" y="431668"/>
                  </a:cubicBezTo>
                  <a:cubicBezTo>
                    <a:pt x="342496" y="438526"/>
                    <a:pt x="345163" y="437955"/>
                    <a:pt x="348687" y="432906"/>
                  </a:cubicBezTo>
                  <a:cubicBezTo>
                    <a:pt x="349068" y="432430"/>
                    <a:pt x="350021" y="431859"/>
                    <a:pt x="350021" y="431859"/>
                  </a:cubicBezTo>
                  <a:cubicBezTo>
                    <a:pt x="353831" y="435954"/>
                    <a:pt x="361737" y="434335"/>
                    <a:pt x="363260" y="440431"/>
                  </a:cubicBezTo>
                  <a:cubicBezTo>
                    <a:pt x="364308" y="444908"/>
                    <a:pt x="367071" y="446622"/>
                    <a:pt x="370214" y="448623"/>
                  </a:cubicBezTo>
                  <a:cubicBezTo>
                    <a:pt x="375548" y="452052"/>
                    <a:pt x="380977" y="455385"/>
                    <a:pt x="381453" y="462720"/>
                  </a:cubicBezTo>
                  <a:cubicBezTo>
                    <a:pt x="381453" y="463672"/>
                    <a:pt x="382787" y="465387"/>
                    <a:pt x="383739" y="465482"/>
                  </a:cubicBezTo>
                  <a:cubicBezTo>
                    <a:pt x="398027" y="467292"/>
                    <a:pt x="399265" y="483865"/>
                    <a:pt x="410600" y="489009"/>
                  </a:cubicBezTo>
                  <a:cubicBezTo>
                    <a:pt x="413362" y="490247"/>
                    <a:pt x="413172" y="493771"/>
                    <a:pt x="414314" y="496248"/>
                  </a:cubicBezTo>
                  <a:cubicBezTo>
                    <a:pt x="415553" y="498819"/>
                    <a:pt x="414124" y="507011"/>
                    <a:pt x="422220" y="502058"/>
                  </a:cubicBezTo>
                  <a:cubicBezTo>
                    <a:pt x="425078" y="500248"/>
                    <a:pt x="426316" y="505677"/>
                    <a:pt x="428602" y="507487"/>
                  </a:cubicBezTo>
                  <a:cubicBezTo>
                    <a:pt x="437651" y="514440"/>
                    <a:pt x="447366" y="520632"/>
                    <a:pt x="454796" y="529395"/>
                  </a:cubicBezTo>
                  <a:cubicBezTo>
                    <a:pt x="456415" y="531300"/>
                    <a:pt x="458225" y="533300"/>
                    <a:pt x="458987" y="535586"/>
                  </a:cubicBezTo>
                  <a:cubicBezTo>
                    <a:pt x="460320" y="539682"/>
                    <a:pt x="459939" y="545111"/>
                    <a:pt x="466893" y="542730"/>
                  </a:cubicBezTo>
                  <a:lnTo>
                    <a:pt x="466797" y="542730"/>
                  </a:lnTo>
                  <a:cubicBezTo>
                    <a:pt x="468035" y="542349"/>
                    <a:pt x="469083" y="541872"/>
                    <a:pt x="469560" y="543777"/>
                  </a:cubicBezTo>
                  <a:cubicBezTo>
                    <a:pt x="472608" y="556636"/>
                    <a:pt x="475846" y="569495"/>
                    <a:pt x="478989" y="582354"/>
                  </a:cubicBezTo>
                  <a:cubicBezTo>
                    <a:pt x="478132" y="588545"/>
                    <a:pt x="477370" y="594736"/>
                    <a:pt x="476227" y="600832"/>
                  </a:cubicBezTo>
                  <a:cubicBezTo>
                    <a:pt x="476037" y="601594"/>
                    <a:pt x="474036" y="602928"/>
                    <a:pt x="473274" y="602642"/>
                  </a:cubicBezTo>
                  <a:cubicBezTo>
                    <a:pt x="464321" y="599403"/>
                    <a:pt x="454415" y="600642"/>
                    <a:pt x="445461" y="596070"/>
                  </a:cubicBezTo>
                  <a:cubicBezTo>
                    <a:pt x="441842" y="594260"/>
                    <a:pt x="436031" y="594165"/>
                    <a:pt x="433269" y="591117"/>
                  </a:cubicBezTo>
                  <a:cubicBezTo>
                    <a:pt x="428507" y="585783"/>
                    <a:pt x="419363" y="585687"/>
                    <a:pt x="417362" y="577305"/>
                  </a:cubicBezTo>
                  <a:cubicBezTo>
                    <a:pt x="417077" y="576258"/>
                    <a:pt x="415077" y="574638"/>
                    <a:pt x="414886" y="574734"/>
                  </a:cubicBezTo>
                  <a:cubicBezTo>
                    <a:pt x="406218" y="580639"/>
                    <a:pt x="407837" y="571114"/>
                    <a:pt x="405171" y="568257"/>
                  </a:cubicBezTo>
                  <a:cubicBezTo>
                    <a:pt x="400503" y="563208"/>
                    <a:pt x="394979" y="559208"/>
                    <a:pt x="390121" y="554350"/>
                  </a:cubicBezTo>
                  <a:cubicBezTo>
                    <a:pt x="386216" y="550445"/>
                    <a:pt x="380501" y="547397"/>
                    <a:pt x="378215" y="542634"/>
                  </a:cubicBezTo>
                  <a:cubicBezTo>
                    <a:pt x="372500" y="530728"/>
                    <a:pt x="363451" y="521489"/>
                    <a:pt x="355545" y="511297"/>
                  </a:cubicBezTo>
                  <a:cubicBezTo>
                    <a:pt x="350211" y="504439"/>
                    <a:pt x="342877" y="499296"/>
                    <a:pt x="337924" y="491390"/>
                  </a:cubicBezTo>
                  <a:cubicBezTo>
                    <a:pt x="334019" y="485199"/>
                    <a:pt x="333257" y="478055"/>
                    <a:pt x="329447" y="472054"/>
                  </a:cubicBezTo>
                  <a:cubicBezTo>
                    <a:pt x="328685" y="470911"/>
                    <a:pt x="328875" y="468720"/>
                    <a:pt x="331066" y="468244"/>
                  </a:cubicBezTo>
                  <a:cubicBezTo>
                    <a:pt x="336210" y="467196"/>
                    <a:pt x="334019" y="466625"/>
                    <a:pt x="330971" y="465958"/>
                  </a:cubicBezTo>
                  <a:cubicBezTo>
                    <a:pt x="329352" y="465577"/>
                    <a:pt x="328875" y="464244"/>
                    <a:pt x="329733" y="463101"/>
                  </a:cubicBezTo>
                  <a:cubicBezTo>
                    <a:pt x="335352" y="455862"/>
                    <a:pt x="330399" y="447861"/>
                    <a:pt x="331542" y="440336"/>
                  </a:cubicBezTo>
                  <a:cubicBezTo>
                    <a:pt x="332018" y="437288"/>
                    <a:pt x="332781" y="434049"/>
                    <a:pt x="334304" y="431478"/>
                  </a:cubicBezTo>
                  <a:cubicBezTo>
                    <a:pt x="335162" y="430049"/>
                    <a:pt x="336329" y="428667"/>
                    <a:pt x="337484" y="428358"/>
                  </a:cubicBezTo>
                  <a:close/>
                  <a:moveTo>
                    <a:pt x="307445" y="252503"/>
                  </a:moveTo>
                  <a:lnTo>
                    <a:pt x="307540" y="252503"/>
                  </a:lnTo>
                  <a:lnTo>
                    <a:pt x="307505" y="252555"/>
                  </a:lnTo>
                  <a:close/>
                  <a:moveTo>
                    <a:pt x="307444" y="252218"/>
                  </a:moveTo>
                  <a:cubicBezTo>
                    <a:pt x="306873" y="252408"/>
                    <a:pt x="306492" y="253551"/>
                    <a:pt x="305920" y="254599"/>
                  </a:cubicBezTo>
                  <a:lnTo>
                    <a:pt x="306068" y="254711"/>
                  </a:lnTo>
                  <a:lnTo>
                    <a:pt x="307505" y="252555"/>
                  </a:lnTo>
                  <a:lnTo>
                    <a:pt x="309672" y="254452"/>
                  </a:lnTo>
                  <a:lnTo>
                    <a:pt x="309730" y="254218"/>
                  </a:lnTo>
                  <a:cubicBezTo>
                    <a:pt x="309825" y="252789"/>
                    <a:pt x="308873" y="251837"/>
                    <a:pt x="307444" y="252218"/>
                  </a:cubicBezTo>
                  <a:close/>
                  <a:moveTo>
                    <a:pt x="227148" y="202307"/>
                  </a:moveTo>
                  <a:cubicBezTo>
                    <a:pt x="224005" y="202783"/>
                    <a:pt x="225625" y="205640"/>
                    <a:pt x="225625" y="207641"/>
                  </a:cubicBezTo>
                  <a:cubicBezTo>
                    <a:pt x="222291" y="220404"/>
                    <a:pt x="219433" y="233453"/>
                    <a:pt x="215528" y="246122"/>
                  </a:cubicBezTo>
                  <a:cubicBezTo>
                    <a:pt x="212766" y="255170"/>
                    <a:pt x="212194" y="264981"/>
                    <a:pt x="206860" y="272982"/>
                  </a:cubicBezTo>
                  <a:cubicBezTo>
                    <a:pt x="203146" y="278602"/>
                    <a:pt x="200955" y="284698"/>
                    <a:pt x="198383" y="290699"/>
                  </a:cubicBezTo>
                  <a:cubicBezTo>
                    <a:pt x="197812" y="292032"/>
                    <a:pt x="198193" y="294509"/>
                    <a:pt x="196192" y="294128"/>
                  </a:cubicBezTo>
                  <a:cubicBezTo>
                    <a:pt x="187048" y="292223"/>
                    <a:pt x="189048" y="303653"/>
                    <a:pt x="182667" y="305367"/>
                  </a:cubicBezTo>
                  <a:cubicBezTo>
                    <a:pt x="180857" y="305939"/>
                    <a:pt x="181619" y="309082"/>
                    <a:pt x="182667" y="311844"/>
                  </a:cubicBezTo>
                  <a:cubicBezTo>
                    <a:pt x="184762" y="317273"/>
                    <a:pt x="190763" y="319559"/>
                    <a:pt x="192382" y="324131"/>
                  </a:cubicBezTo>
                  <a:cubicBezTo>
                    <a:pt x="197050" y="337181"/>
                    <a:pt x="201812" y="350420"/>
                    <a:pt x="204003" y="363946"/>
                  </a:cubicBezTo>
                  <a:cubicBezTo>
                    <a:pt x="208003" y="388425"/>
                    <a:pt x="208479" y="413476"/>
                    <a:pt x="215528" y="439384"/>
                  </a:cubicBezTo>
                  <a:cubicBezTo>
                    <a:pt x="217909" y="428525"/>
                    <a:pt x="220291" y="419000"/>
                    <a:pt x="222100" y="409475"/>
                  </a:cubicBezTo>
                  <a:cubicBezTo>
                    <a:pt x="223434" y="402713"/>
                    <a:pt x="225529" y="395759"/>
                    <a:pt x="221148" y="389282"/>
                  </a:cubicBezTo>
                  <a:cubicBezTo>
                    <a:pt x="233816" y="383567"/>
                    <a:pt x="216385" y="368899"/>
                    <a:pt x="228958" y="363184"/>
                  </a:cubicBezTo>
                  <a:cubicBezTo>
                    <a:pt x="226958" y="349754"/>
                    <a:pt x="232673" y="338609"/>
                    <a:pt x="239626" y="328037"/>
                  </a:cubicBezTo>
                  <a:cubicBezTo>
                    <a:pt x="241627" y="324989"/>
                    <a:pt x="243627" y="320798"/>
                    <a:pt x="243627" y="318512"/>
                  </a:cubicBezTo>
                  <a:cubicBezTo>
                    <a:pt x="243627" y="311463"/>
                    <a:pt x="248008" y="310606"/>
                    <a:pt x="252390" y="311177"/>
                  </a:cubicBezTo>
                  <a:cubicBezTo>
                    <a:pt x="258010" y="311939"/>
                    <a:pt x="260581" y="310130"/>
                    <a:pt x="260677" y="304891"/>
                  </a:cubicBezTo>
                  <a:cubicBezTo>
                    <a:pt x="265248" y="305843"/>
                    <a:pt x="262486" y="311082"/>
                    <a:pt x="265820" y="313368"/>
                  </a:cubicBezTo>
                  <a:cubicBezTo>
                    <a:pt x="266011" y="304700"/>
                    <a:pt x="266106" y="304510"/>
                    <a:pt x="271630" y="308034"/>
                  </a:cubicBezTo>
                  <a:cubicBezTo>
                    <a:pt x="273821" y="309463"/>
                    <a:pt x="273345" y="307463"/>
                    <a:pt x="273345" y="306891"/>
                  </a:cubicBezTo>
                  <a:cubicBezTo>
                    <a:pt x="273726" y="301367"/>
                    <a:pt x="277536" y="303462"/>
                    <a:pt x="279155" y="304986"/>
                  </a:cubicBezTo>
                  <a:cubicBezTo>
                    <a:pt x="285823" y="311177"/>
                    <a:pt x="287346" y="301081"/>
                    <a:pt x="292490" y="300605"/>
                  </a:cubicBezTo>
                  <a:lnTo>
                    <a:pt x="292490" y="300509"/>
                  </a:lnTo>
                  <a:cubicBezTo>
                    <a:pt x="296110" y="300128"/>
                    <a:pt x="301063" y="297080"/>
                    <a:pt x="306587" y="296795"/>
                  </a:cubicBezTo>
                  <a:cubicBezTo>
                    <a:pt x="302587" y="289460"/>
                    <a:pt x="295633" y="287555"/>
                    <a:pt x="290109" y="283650"/>
                  </a:cubicBezTo>
                  <a:cubicBezTo>
                    <a:pt x="283632" y="278983"/>
                    <a:pt x="278774" y="272030"/>
                    <a:pt x="271249" y="268220"/>
                  </a:cubicBezTo>
                  <a:cubicBezTo>
                    <a:pt x="268773" y="266981"/>
                    <a:pt x="269440" y="261171"/>
                    <a:pt x="264391" y="262505"/>
                  </a:cubicBezTo>
                  <a:cubicBezTo>
                    <a:pt x="264391" y="257075"/>
                    <a:pt x="257629" y="260314"/>
                    <a:pt x="256485" y="256504"/>
                  </a:cubicBezTo>
                  <a:cubicBezTo>
                    <a:pt x="254009" y="248408"/>
                    <a:pt x="244484" y="246217"/>
                    <a:pt x="241817" y="238216"/>
                  </a:cubicBezTo>
                  <a:cubicBezTo>
                    <a:pt x="240769" y="235168"/>
                    <a:pt x="231625" y="234596"/>
                    <a:pt x="239341" y="228881"/>
                  </a:cubicBezTo>
                  <a:cubicBezTo>
                    <a:pt x="240864" y="227738"/>
                    <a:pt x="238960" y="227167"/>
                    <a:pt x="237912" y="226595"/>
                  </a:cubicBezTo>
                  <a:cubicBezTo>
                    <a:pt x="233959" y="224690"/>
                    <a:pt x="231983" y="221666"/>
                    <a:pt x="230673" y="218273"/>
                  </a:cubicBezTo>
                  <a:lnTo>
                    <a:pt x="227460" y="207822"/>
                  </a:lnTo>
                  <a:lnTo>
                    <a:pt x="227435" y="207831"/>
                  </a:lnTo>
                  <a:lnTo>
                    <a:pt x="227435" y="207739"/>
                  </a:lnTo>
                  <a:lnTo>
                    <a:pt x="227434" y="207736"/>
                  </a:lnTo>
                  <a:lnTo>
                    <a:pt x="225625" y="207736"/>
                  </a:lnTo>
                  <a:cubicBezTo>
                    <a:pt x="225625" y="205736"/>
                    <a:pt x="224006" y="202878"/>
                    <a:pt x="227149" y="202402"/>
                  </a:cubicBezTo>
                  <a:lnTo>
                    <a:pt x="230893" y="206520"/>
                  </a:lnTo>
                  <a:lnTo>
                    <a:pt x="230958" y="206498"/>
                  </a:lnTo>
                  <a:cubicBezTo>
                    <a:pt x="230958" y="204021"/>
                    <a:pt x="229435" y="201926"/>
                    <a:pt x="227148" y="202307"/>
                  </a:cubicBezTo>
                  <a:close/>
                  <a:moveTo>
                    <a:pt x="369030" y="114657"/>
                  </a:moveTo>
                  <a:lnTo>
                    <a:pt x="369595" y="117844"/>
                  </a:lnTo>
                  <a:lnTo>
                    <a:pt x="372426" y="120014"/>
                  </a:lnTo>
                  <a:close/>
                  <a:moveTo>
                    <a:pt x="370977" y="112010"/>
                  </a:moveTo>
                  <a:lnTo>
                    <a:pt x="370662" y="112270"/>
                  </a:lnTo>
                  <a:lnTo>
                    <a:pt x="372693" y="120219"/>
                  </a:lnTo>
                  <a:lnTo>
                    <a:pt x="373167" y="120582"/>
                  </a:lnTo>
                  <a:cubicBezTo>
                    <a:pt x="374691" y="116391"/>
                    <a:pt x="372215" y="114391"/>
                    <a:pt x="370977" y="112010"/>
                  </a:cubicBezTo>
                  <a:close/>
                  <a:moveTo>
                    <a:pt x="442402" y="19082"/>
                  </a:moveTo>
                  <a:cubicBezTo>
                    <a:pt x="444867" y="19784"/>
                    <a:pt x="447462" y="20713"/>
                    <a:pt x="449844" y="19427"/>
                  </a:cubicBezTo>
                  <a:cubicBezTo>
                    <a:pt x="450225" y="19236"/>
                    <a:pt x="450415" y="24094"/>
                    <a:pt x="450606" y="27333"/>
                  </a:cubicBezTo>
                  <a:cubicBezTo>
                    <a:pt x="453273" y="40763"/>
                    <a:pt x="445748" y="53431"/>
                    <a:pt x="444129" y="67052"/>
                  </a:cubicBezTo>
                  <a:cubicBezTo>
                    <a:pt x="443462" y="72767"/>
                    <a:pt x="436699" y="80006"/>
                    <a:pt x="434889" y="85530"/>
                  </a:cubicBezTo>
                  <a:cubicBezTo>
                    <a:pt x="431460" y="95913"/>
                    <a:pt x="422031" y="99818"/>
                    <a:pt x="417649" y="108200"/>
                  </a:cubicBezTo>
                  <a:cubicBezTo>
                    <a:pt x="414696" y="113724"/>
                    <a:pt x="408029" y="113248"/>
                    <a:pt x="403552" y="116963"/>
                  </a:cubicBezTo>
                  <a:cubicBezTo>
                    <a:pt x="398313" y="121249"/>
                    <a:pt x="398123" y="121059"/>
                    <a:pt x="390408" y="127440"/>
                  </a:cubicBezTo>
                  <a:cubicBezTo>
                    <a:pt x="385359" y="131631"/>
                    <a:pt x="376596" y="136013"/>
                    <a:pt x="369262" y="132298"/>
                  </a:cubicBezTo>
                  <a:lnTo>
                    <a:pt x="369548" y="132298"/>
                  </a:lnTo>
                  <a:cubicBezTo>
                    <a:pt x="366690" y="130869"/>
                    <a:pt x="360880" y="134489"/>
                    <a:pt x="361547" y="129536"/>
                  </a:cubicBezTo>
                  <a:cubicBezTo>
                    <a:pt x="362404" y="122297"/>
                    <a:pt x="360975" y="114201"/>
                    <a:pt x="366690" y="107914"/>
                  </a:cubicBezTo>
                  <a:cubicBezTo>
                    <a:pt x="370024" y="104199"/>
                    <a:pt x="376025" y="102866"/>
                    <a:pt x="376406" y="96484"/>
                  </a:cubicBezTo>
                  <a:cubicBezTo>
                    <a:pt x="376501" y="95627"/>
                    <a:pt x="380883" y="95817"/>
                    <a:pt x="376787" y="93531"/>
                  </a:cubicBezTo>
                  <a:cubicBezTo>
                    <a:pt x="372215" y="91055"/>
                    <a:pt x="375072" y="86578"/>
                    <a:pt x="376787" y="84578"/>
                  </a:cubicBezTo>
                  <a:cubicBezTo>
                    <a:pt x="384978" y="75243"/>
                    <a:pt x="388407" y="62670"/>
                    <a:pt x="397075" y="53717"/>
                  </a:cubicBezTo>
                  <a:cubicBezTo>
                    <a:pt x="398885" y="51812"/>
                    <a:pt x="400218" y="46954"/>
                    <a:pt x="405362" y="50193"/>
                  </a:cubicBezTo>
                  <a:cubicBezTo>
                    <a:pt x="407267" y="51336"/>
                    <a:pt x="409172" y="47907"/>
                    <a:pt x="410220" y="45621"/>
                  </a:cubicBezTo>
                  <a:cubicBezTo>
                    <a:pt x="411553" y="42573"/>
                    <a:pt x="410791" y="36000"/>
                    <a:pt x="417363" y="41144"/>
                  </a:cubicBezTo>
                  <a:cubicBezTo>
                    <a:pt x="417459" y="41144"/>
                    <a:pt x="419268" y="39810"/>
                    <a:pt x="419268" y="39239"/>
                  </a:cubicBezTo>
                  <a:cubicBezTo>
                    <a:pt x="418316" y="27237"/>
                    <a:pt x="430222" y="26475"/>
                    <a:pt x="435747" y="20094"/>
                  </a:cubicBezTo>
                  <a:cubicBezTo>
                    <a:pt x="437604" y="17903"/>
                    <a:pt x="439938" y="18379"/>
                    <a:pt x="442402" y="19082"/>
                  </a:cubicBezTo>
                  <a:close/>
                  <a:moveTo>
                    <a:pt x="78559" y="12568"/>
                  </a:moveTo>
                  <a:cubicBezTo>
                    <a:pt x="82845" y="13521"/>
                    <a:pt x="84941" y="17712"/>
                    <a:pt x="84560" y="22569"/>
                  </a:cubicBezTo>
                  <a:cubicBezTo>
                    <a:pt x="84465" y="24093"/>
                    <a:pt x="84560" y="25808"/>
                    <a:pt x="86465" y="26284"/>
                  </a:cubicBezTo>
                  <a:lnTo>
                    <a:pt x="86465" y="26570"/>
                  </a:lnTo>
                  <a:lnTo>
                    <a:pt x="86560" y="26570"/>
                  </a:lnTo>
                  <a:cubicBezTo>
                    <a:pt x="86179" y="29713"/>
                    <a:pt x="84369" y="32856"/>
                    <a:pt x="87036" y="36762"/>
                  </a:cubicBezTo>
                  <a:lnTo>
                    <a:pt x="87036" y="32672"/>
                  </a:lnTo>
                  <a:lnTo>
                    <a:pt x="86751" y="26571"/>
                  </a:lnTo>
                  <a:lnTo>
                    <a:pt x="86751" y="26570"/>
                  </a:lnTo>
                  <a:lnTo>
                    <a:pt x="86756" y="26577"/>
                  </a:lnTo>
                  <a:lnTo>
                    <a:pt x="86878" y="26730"/>
                  </a:lnTo>
                  <a:lnTo>
                    <a:pt x="86774" y="26522"/>
                  </a:lnTo>
                  <a:lnTo>
                    <a:pt x="86750" y="26570"/>
                  </a:lnTo>
                  <a:lnTo>
                    <a:pt x="86750" y="26474"/>
                  </a:lnTo>
                  <a:lnTo>
                    <a:pt x="86655" y="26284"/>
                  </a:lnTo>
                  <a:lnTo>
                    <a:pt x="86560" y="26284"/>
                  </a:lnTo>
                  <a:lnTo>
                    <a:pt x="87132" y="21807"/>
                  </a:lnTo>
                  <a:cubicBezTo>
                    <a:pt x="88084" y="22379"/>
                    <a:pt x="89418" y="22665"/>
                    <a:pt x="89989" y="23427"/>
                  </a:cubicBezTo>
                  <a:cubicBezTo>
                    <a:pt x="91608" y="25713"/>
                    <a:pt x="93418" y="28094"/>
                    <a:pt x="94180" y="30761"/>
                  </a:cubicBezTo>
                  <a:cubicBezTo>
                    <a:pt x="96942" y="40857"/>
                    <a:pt x="105420" y="46572"/>
                    <a:pt x="112087" y="53145"/>
                  </a:cubicBezTo>
                  <a:cubicBezTo>
                    <a:pt x="116373" y="57336"/>
                    <a:pt x="120755" y="60288"/>
                    <a:pt x="120564" y="66861"/>
                  </a:cubicBezTo>
                  <a:cubicBezTo>
                    <a:pt x="120469" y="70861"/>
                    <a:pt x="125898" y="69528"/>
                    <a:pt x="126565" y="72385"/>
                  </a:cubicBezTo>
                  <a:cubicBezTo>
                    <a:pt x="129708" y="86101"/>
                    <a:pt x="132756" y="100008"/>
                    <a:pt x="124851" y="113152"/>
                  </a:cubicBezTo>
                  <a:cubicBezTo>
                    <a:pt x="123517" y="115343"/>
                    <a:pt x="123136" y="117057"/>
                    <a:pt x="123422" y="119153"/>
                  </a:cubicBezTo>
                  <a:cubicBezTo>
                    <a:pt x="123803" y="121629"/>
                    <a:pt x="131709" y="123344"/>
                    <a:pt x="124374" y="126582"/>
                  </a:cubicBezTo>
                  <a:cubicBezTo>
                    <a:pt x="120088" y="128487"/>
                    <a:pt x="115326" y="133917"/>
                    <a:pt x="111135" y="126487"/>
                  </a:cubicBezTo>
                  <a:cubicBezTo>
                    <a:pt x="108658" y="121915"/>
                    <a:pt x="103610" y="121058"/>
                    <a:pt x="99895" y="118200"/>
                  </a:cubicBezTo>
                  <a:cubicBezTo>
                    <a:pt x="97038" y="116010"/>
                    <a:pt x="95609" y="113438"/>
                    <a:pt x="93704" y="110676"/>
                  </a:cubicBezTo>
                  <a:lnTo>
                    <a:pt x="93609" y="110676"/>
                  </a:lnTo>
                  <a:cubicBezTo>
                    <a:pt x="87894" y="102675"/>
                    <a:pt x="80940" y="95626"/>
                    <a:pt x="74273" y="88387"/>
                  </a:cubicBezTo>
                  <a:cubicBezTo>
                    <a:pt x="64367" y="77624"/>
                    <a:pt x="55128" y="66003"/>
                    <a:pt x="59985" y="50478"/>
                  </a:cubicBezTo>
                  <a:cubicBezTo>
                    <a:pt x="63224" y="40191"/>
                    <a:pt x="64653" y="29332"/>
                    <a:pt x="68844" y="19236"/>
                  </a:cubicBezTo>
                  <a:cubicBezTo>
                    <a:pt x="70844" y="14283"/>
                    <a:pt x="74178" y="11616"/>
                    <a:pt x="78559" y="12568"/>
                  </a:cubicBezTo>
                  <a:close/>
                  <a:moveTo>
                    <a:pt x="236197" y="1043"/>
                  </a:moveTo>
                  <a:cubicBezTo>
                    <a:pt x="247818" y="6187"/>
                    <a:pt x="246865" y="17712"/>
                    <a:pt x="251914" y="25999"/>
                  </a:cubicBezTo>
                  <a:cubicBezTo>
                    <a:pt x="252961" y="27713"/>
                    <a:pt x="253342" y="32952"/>
                    <a:pt x="248199" y="28761"/>
                  </a:cubicBezTo>
                  <a:cubicBezTo>
                    <a:pt x="245532" y="32666"/>
                    <a:pt x="250389" y="35619"/>
                    <a:pt x="249627" y="39239"/>
                  </a:cubicBezTo>
                  <a:cubicBezTo>
                    <a:pt x="254962" y="36381"/>
                    <a:pt x="252104" y="40286"/>
                    <a:pt x="252295" y="42287"/>
                  </a:cubicBezTo>
                  <a:cubicBezTo>
                    <a:pt x="252771" y="47525"/>
                    <a:pt x="248104" y="42287"/>
                    <a:pt x="247151" y="45335"/>
                  </a:cubicBezTo>
                  <a:cubicBezTo>
                    <a:pt x="251342" y="48192"/>
                    <a:pt x="251342" y="51907"/>
                    <a:pt x="250675" y="57050"/>
                  </a:cubicBezTo>
                  <a:cubicBezTo>
                    <a:pt x="249532" y="65623"/>
                    <a:pt x="251533" y="74291"/>
                    <a:pt x="255057" y="82387"/>
                  </a:cubicBezTo>
                  <a:cubicBezTo>
                    <a:pt x="256581" y="85911"/>
                    <a:pt x="256009" y="89721"/>
                    <a:pt x="256771" y="93055"/>
                  </a:cubicBezTo>
                  <a:cubicBezTo>
                    <a:pt x="259724" y="105914"/>
                    <a:pt x="263629" y="118582"/>
                    <a:pt x="267249" y="131345"/>
                  </a:cubicBezTo>
                  <a:cubicBezTo>
                    <a:pt x="267725" y="132869"/>
                    <a:pt x="268677" y="134298"/>
                    <a:pt x="269630" y="135441"/>
                  </a:cubicBezTo>
                  <a:cubicBezTo>
                    <a:pt x="274773" y="141632"/>
                    <a:pt x="280965" y="146395"/>
                    <a:pt x="281250" y="156206"/>
                  </a:cubicBezTo>
                  <a:cubicBezTo>
                    <a:pt x="281536" y="165921"/>
                    <a:pt x="291728" y="171350"/>
                    <a:pt x="297824" y="177446"/>
                  </a:cubicBezTo>
                  <a:cubicBezTo>
                    <a:pt x="303158" y="182780"/>
                    <a:pt x="308492" y="189734"/>
                    <a:pt x="316493" y="192877"/>
                  </a:cubicBezTo>
                  <a:cubicBezTo>
                    <a:pt x="323923" y="195734"/>
                    <a:pt x="328685" y="202973"/>
                    <a:pt x="336019" y="206307"/>
                  </a:cubicBezTo>
                  <a:cubicBezTo>
                    <a:pt x="339163" y="207736"/>
                    <a:pt x="343639" y="208688"/>
                    <a:pt x="343639" y="213546"/>
                  </a:cubicBezTo>
                  <a:cubicBezTo>
                    <a:pt x="343639" y="215927"/>
                    <a:pt x="344973" y="215165"/>
                    <a:pt x="345925" y="214880"/>
                  </a:cubicBezTo>
                  <a:cubicBezTo>
                    <a:pt x="352879" y="212403"/>
                    <a:pt x="360213" y="215070"/>
                    <a:pt x="366214" y="220785"/>
                  </a:cubicBezTo>
                  <a:cubicBezTo>
                    <a:pt x="366975" y="221452"/>
                    <a:pt x="371071" y="222595"/>
                    <a:pt x="373738" y="223071"/>
                  </a:cubicBezTo>
                  <a:cubicBezTo>
                    <a:pt x="378882" y="224024"/>
                    <a:pt x="381644" y="226976"/>
                    <a:pt x="384978" y="231072"/>
                  </a:cubicBezTo>
                  <a:cubicBezTo>
                    <a:pt x="387550" y="234215"/>
                    <a:pt x="394217" y="234215"/>
                    <a:pt x="399170" y="235168"/>
                  </a:cubicBezTo>
                  <a:cubicBezTo>
                    <a:pt x="403742" y="236025"/>
                    <a:pt x="408314" y="234787"/>
                    <a:pt x="412696" y="238787"/>
                  </a:cubicBezTo>
                  <a:cubicBezTo>
                    <a:pt x="413934" y="240026"/>
                    <a:pt x="421077" y="242883"/>
                    <a:pt x="425364" y="239073"/>
                  </a:cubicBezTo>
                  <a:cubicBezTo>
                    <a:pt x="429841" y="246122"/>
                    <a:pt x="437365" y="243550"/>
                    <a:pt x="443175" y="243550"/>
                  </a:cubicBezTo>
                  <a:cubicBezTo>
                    <a:pt x="451272" y="243550"/>
                    <a:pt x="458987" y="247741"/>
                    <a:pt x="466131" y="246693"/>
                  </a:cubicBezTo>
                  <a:cubicBezTo>
                    <a:pt x="472703" y="245741"/>
                    <a:pt x="478227" y="246788"/>
                    <a:pt x="484419" y="247741"/>
                  </a:cubicBezTo>
                  <a:cubicBezTo>
                    <a:pt x="496611" y="249455"/>
                    <a:pt x="499849" y="259361"/>
                    <a:pt x="503278" y="268029"/>
                  </a:cubicBezTo>
                  <a:cubicBezTo>
                    <a:pt x="505183" y="272792"/>
                    <a:pt x="507279" y="278507"/>
                    <a:pt x="505755" y="284603"/>
                  </a:cubicBezTo>
                  <a:cubicBezTo>
                    <a:pt x="504517" y="289841"/>
                    <a:pt x="509279" y="288222"/>
                    <a:pt x="512041" y="288698"/>
                  </a:cubicBezTo>
                  <a:lnTo>
                    <a:pt x="511851" y="288794"/>
                  </a:lnTo>
                  <a:lnTo>
                    <a:pt x="511851" y="290699"/>
                  </a:lnTo>
                  <a:cubicBezTo>
                    <a:pt x="507469" y="297080"/>
                    <a:pt x="509470" y="304224"/>
                    <a:pt x="509470" y="311082"/>
                  </a:cubicBezTo>
                  <a:cubicBezTo>
                    <a:pt x="509470" y="312320"/>
                    <a:pt x="510898" y="313749"/>
                    <a:pt x="510898" y="315464"/>
                  </a:cubicBezTo>
                  <a:cubicBezTo>
                    <a:pt x="510803" y="320512"/>
                    <a:pt x="509660" y="325179"/>
                    <a:pt x="505183" y="328322"/>
                  </a:cubicBezTo>
                  <a:cubicBezTo>
                    <a:pt x="510517" y="332990"/>
                    <a:pt x="508803" y="339657"/>
                    <a:pt x="505945" y="343277"/>
                  </a:cubicBezTo>
                  <a:cubicBezTo>
                    <a:pt x="497849" y="353564"/>
                    <a:pt x="488800" y="363279"/>
                    <a:pt x="474798" y="366041"/>
                  </a:cubicBezTo>
                  <a:cubicBezTo>
                    <a:pt x="463559" y="368327"/>
                    <a:pt x="452034" y="366803"/>
                    <a:pt x="440699" y="367946"/>
                  </a:cubicBezTo>
                  <a:cubicBezTo>
                    <a:pt x="433746" y="368613"/>
                    <a:pt x="430602" y="376043"/>
                    <a:pt x="423078" y="374138"/>
                  </a:cubicBezTo>
                  <a:cubicBezTo>
                    <a:pt x="420125" y="373471"/>
                    <a:pt x="415934" y="375662"/>
                    <a:pt x="412124" y="374138"/>
                  </a:cubicBezTo>
                  <a:cubicBezTo>
                    <a:pt x="409552" y="373090"/>
                    <a:pt x="407266" y="374614"/>
                    <a:pt x="404885" y="374995"/>
                  </a:cubicBezTo>
                  <a:cubicBezTo>
                    <a:pt x="390883" y="376995"/>
                    <a:pt x="379072" y="384806"/>
                    <a:pt x="365928" y="388901"/>
                  </a:cubicBezTo>
                  <a:cubicBezTo>
                    <a:pt x="354307" y="392521"/>
                    <a:pt x="342115" y="393569"/>
                    <a:pt x="330114" y="395664"/>
                  </a:cubicBezTo>
                  <a:cubicBezTo>
                    <a:pt x="328780" y="395855"/>
                    <a:pt x="327447" y="396521"/>
                    <a:pt x="326304" y="396045"/>
                  </a:cubicBezTo>
                  <a:cubicBezTo>
                    <a:pt x="316398" y="392045"/>
                    <a:pt x="308302" y="397283"/>
                    <a:pt x="300015" y="401189"/>
                  </a:cubicBezTo>
                  <a:cubicBezTo>
                    <a:pt x="296205" y="402903"/>
                    <a:pt x="293538" y="403189"/>
                    <a:pt x="289442" y="401284"/>
                  </a:cubicBezTo>
                  <a:cubicBezTo>
                    <a:pt x="279536" y="396521"/>
                    <a:pt x="266296" y="406904"/>
                    <a:pt x="265534" y="417667"/>
                  </a:cubicBezTo>
                  <a:cubicBezTo>
                    <a:pt x="264391" y="432050"/>
                    <a:pt x="263439" y="446337"/>
                    <a:pt x="262200" y="460625"/>
                  </a:cubicBezTo>
                  <a:cubicBezTo>
                    <a:pt x="261534" y="467768"/>
                    <a:pt x="264868" y="475007"/>
                    <a:pt x="262772" y="481484"/>
                  </a:cubicBezTo>
                  <a:cubicBezTo>
                    <a:pt x="256104" y="502344"/>
                    <a:pt x="260296" y="523490"/>
                    <a:pt x="260105" y="544445"/>
                  </a:cubicBezTo>
                  <a:cubicBezTo>
                    <a:pt x="260105" y="556065"/>
                    <a:pt x="253437" y="565685"/>
                    <a:pt x="253152" y="577115"/>
                  </a:cubicBezTo>
                  <a:cubicBezTo>
                    <a:pt x="252771" y="591498"/>
                    <a:pt x="249627" y="605595"/>
                    <a:pt x="249627" y="620073"/>
                  </a:cubicBezTo>
                  <a:cubicBezTo>
                    <a:pt x="249627" y="629693"/>
                    <a:pt x="247437" y="639123"/>
                    <a:pt x="246008" y="648553"/>
                  </a:cubicBezTo>
                  <a:cubicBezTo>
                    <a:pt x="244675" y="657125"/>
                    <a:pt x="245818" y="666079"/>
                    <a:pt x="244865" y="674842"/>
                  </a:cubicBezTo>
                  <a:cubicBezTo>
                    <a:pt x="243436" y="687986"/>
                    <a:pt x="247151" y="701417"/>
                    <a:pt x="245056" y="714561"/>
                  </a:cubicBezTo>
                  <a:cubicBezTo>
                    <a:pt x="242293" y="731516"/>
                    <a:pt x="244294" y="748470"/>
                    <a:pt x="242674" y="765425"/>
                  </a:cubicBezTo>
                  <a:cubicBezTo>
                    <a:pt x="242103" y="771140"/>
                    <a:pt x="238674" y="773711"/>
                    <a:pt x="234673" y="776474"/>
                  </a:cubicBezTo>
                  <a:lnTo>
                    <a:pt x="223339" y="776474"/>
                  </a:lnTo>
                  <a:lnTo>
                    <a:pt x="223148" y="776474"/>
                  </a:lnTo>
                  <a:lnTo>
                    <a:pt x="213719" y="776474"/>
                  </a:lnTo>
                  <a:lnTo>
                    <a:pt x="213528" y="776474"/>
                  </a:lnTo>
                  <a:lnTo>
                    <a:pt x="207718" y="776474"/>
                  </a:lnTo>
                  <a:cubicBezTo>
                    <a:pt x="208384" y="767615"/>
                    <a:pt x="199907" y="764091"/>
                    <a:pt x="196383" y="757614"/>
                  </a:cubicBezTo>
                  <a:cubicBezTo>
                    <a:pt x="195049" y="755328"/>
                    <a:pt x="193144" y="752185"/>
                    <a:pt x="193144" y="750375"/>
                  </a:cubicBezTo>
                  <a:cubicBezTo>
                    <a:pt x="193525" y="740755"/>
                    <a:pt x="188668" y="732468"/>
                    <a:pt x="187620" y="723419"/>
                  </a:cubicBezTo>
                  <a:cubicBezTo>
                    <a:pt x="187334" y="721229"/>
                    <a:pt x="185334" y="720657"/>
                    <a:pt x="185620" y="719038"/>
                  </a:cubicBezTo>
                  <a:cubicBezTo>
                    <a:pt x="189144" y="699893"/>
                    <a:pt x="179904" y="682271"/>
                    <a:pt x="178857" y="663602"/>
                  </a:cubicBezTo>
                  <a:cubicBezTo>
                    <a:pt x="178666" y="659983"/>
                    <a:pt x="181714" y="658649"/>
                    <a:pt x="181238" y="654744"/>
                  </a:cubicBezTo>
                  <a:cubicBezTo>
                    <a:pt x="178190" y="628074"/>
                    <a:pt x="182571" y="601309"/>
                    <a:pt x="180667" y="574639"/>
                  </a:cubicBezTo>
                  <a:cubicBezTo>
                    <a:pt x="180190" y="568638"/>
                    <a:pt x="175237" y="561875"/>
                    <a:pt x="184286" y="558065"/>
                  </a:cubicBezTo>
                  <a:cubicBezTo>
                    <a:pt x="180000" y="551684"/>
                    <a:pt x="182191" y="544064"/>
                    <a:pt x="180762" y="537110"/>
                  </a:cubicBezTo>
                  <a:cubicBezTo>
                    <a:pt x="178952" y="527871"/>
                    <a:pt x="177619" y="518918"/>
                    <a:pt x="179428" y="508821"/>
                  </a:cubicBezTo>
                  <a:cubicBezTo>
                    <a:pt x="180381" y="503392"/>
                    <a:pt x="180095" y="495010"/>
                    <a:pt x="178095" y="487580"/>
                  </a:cubicBezTo>
                  <a:cubicBezTo>
                    <a:pt x="175714" y="478627"/>
                    <a:pt x="174666" y="468245"/>
                    <a:pt x="174380" y="458624"/>
                  </a:cubicBezTo>
                  <a:cubicBezTo>
                    <a:pt x="173999" y="445575"/>
                    <a:pt x="170189" y="432907"/>
                    <a:pt x="170856" y="419858"/>
                  </a:cubicBezTo>
                  <a:cubicBezTo>
                    <a:pt x="158759" y="415667"/>
                    <a:pt x="170475" y="404999"/>
                    <a:pt x="164760" y="397950"/>
                  </a:cubicBezTo>
                  <a:cubicBezTo>
                    <a:pt x="160188" y="392426"/>
                    <a:pt x="157140" y="384996"/>
                    <a:pt x="151901" y="379853"/>
                  </a:cubicBezTo>
                  <a:cubicBezTo>
                    <a:pt x="149234" y="377186"/>
                    <a:pt x="150472" y="370232"/>
                    <a:pt x="144091" y="371661"/>
                  </a:cubicBezTo>
                  <a:cubicBezTo>
                    <a:pt x="131613" y="374614"/>
                    <a:pt x="121897" y="362612"/>
                    <a:pt x="110848" y="364327"/>
                  </a:cubicBezTo>
                  <a:cubicBezTo>
                    <a:pt x="102562" y="365660"/>
                    <a:pt x="95132" y="360136"/>
                    <a:pt x="86941" y="364041"/>
                  </a:cubicBezTo>
                  <a:cubicBezTo>
                    <a:pt x="83607" y="365565"/>
                    <a:pt x="78749" y="365375"/>
                    <a:pt x="74272" y="361565"/>
                  </a:cubicBezTo>
                  <a:cubicBezTo>
                    <a:pt x="71224" y="358993"/>
                    <a:pt x="64271" y="361088"/>
                    <a:pt x="59032" y="360803"/>
                  </a:cubicBezTo>
                  <a:cubicBezTo>
                    <a:pt x="53222" y="360517"/>
                    <a:pt x="47507" y="362993"/>
                    <a:pt x="41792" y="361184"/>
                  </a:cubicBezTo>
                  <a:cubicBezTo>
                    <a:pt x="40649" y="360803"/>
                    <a:pt x="39887" y="360136"/>
                    <a:pt x="38649" y="361374"/>
                  </a:cubicBezTo>
                  <a:cubicBezTo>
                    <a:pt x="35887" y="363946"/>
                    <a:pt x="33886" y="360898"/>
                    <a:pt x="32362" y="361946"/>
                  </a:cubicBezTo>
                  <a:cubicBezTo>
                    <a:pt x="27219" y="365375"/>
                    <a:pt x="23599" y="359850"/>
                    <a:pt x="19408" y="361374"/>
                  </a:cubicBezTo>
                  <a:cubicBezTo>
                    <a:pt x="11312" y="364422"/>
                    <a:pt x="2168" y="356135"/>
                    <a:pt x="930" y="347563"/>
                  </a:cubicBezTo>
                  <a:cubicBezTo>
                    <a:pt x="-23" y="341181"/>
                    <a:pt x="-785" y="335466"/>
                    <a:pt x="1501" y="329465"/>
                  </a:cubicBezTo>
                  <a:cubicBezTo>
                    <a:pt x="2644" y="326322"/>
                    <a:pt x="-499" y="320131"/>
                    <a:pt x="7216" y="322417"/>
                  </a:cubicBezTo>
                  <a:cubicBezTo>
                    <a:pt x="7502" y="322512"/>
                    <a:pt x="8835" y="320607"/>
                    <a:pt x="8740" y="320417"/>
                  </a:cubicBezTo>
                  <a:cubicBezTo>
                    <a:pt x="1120" y="310606"/>
                    <a:pt x="14836" y="316130"/>
                    <a:pt x="14836" y="311844"/>
                  </a:cubicBezTo>
                  <a:cubicBezTo>
                    <a:pt x="3406" y="308225"/>
                    <a:pt x="3883" y="308320"/>
                    <a:pt x="7216" y="296509"/>
                  </a:cubicBezTo>
                  <a:cubicBezTo>
                    <a:pt x="9026" y="290318"/>
                    <a:pt x="13884" y="286317"/>
                    <a:pt x="15408" y="280126"/>
                  </a:cubicBezTo>
                  <a:cubicBezTo>
                    <a:pt x="17503" y="271839"/>
                    <a:pt x="25885" y="277554"/>
                    <a:pt x="30743" y="274316"/>
                  </a:cubicBezTo>
                  <a:cubicBezTo>
                    <a:pt x="35887" y="270887"/>
                    <a:pt x="42840" y="275840"/>
                    <a:pt x="48460" y="269839"/>
                  </a:cubicBezTo>
                  <a:cubicBezTo>
                    <a:pt x="52365" y="265648"/>
                    <a:pt x="59032" y="269553"/>
                    <a:pt x="58556" y="274887"/>
                  </a:cubicBezTo>
                  <a:cubicBezTo>
                    <a:pt x="59508" y="274601"/>
                    <a:pt x="60842" y="274506"/>
                    <a:pt x="60937" y="274030"/>
                  </a:cubicBezTo>
                  <a:cubicBezTo>
                    <a:pt x="62271" y="268791"/>
                    <a:pt x="64557" y="266505"/>
                    <a:pt x="70558" y="268410"/>
                  </a:cubicBezTo>
                  <a:cubicBezTo>
                    <a:pt x="71986" y="268886"/>
                    <a:pt x="75891" y="267934"/>
                    <a:pt x="78749" y="265362"/>
                  </a:cubicBezTo>
                  <a:cubicBezTo>
                    <a:pt x="86179" y="258695"/>
                    <a:pt x="96846" y="259838"/>
                    <a:pt x="106086" y="257361"/>
                  </a:cubicBezTo>
                  <a:cubicBezTo>
                    <a:pt x="112182" y="255742"/>
                    <a:pt x="118564" y="254980"/>
                    <a:pt x="124564" y="253075"/>
                  </a:cubicBezTo>
                  <a:cubicBezTo>
                    <a:pt x="129612" y="251456"/>
                    <a:pt x="136185" y="251265"/>
                    <a:pt x="137233" y="243836"/>
                  </a:cubicBezTo>
                  <a:cubicBezTo>
                    <a:pt x="151329" y="249836"/>
                    <a:pt x="155997" y="229167"/>
                    <a:pt x="169332" y="232310"/>
                  </a:cubicBezTo>
                  <a:cubicBezTo>
                    <a:pt x="170379" y="232596"/>
                    <a:pt x="172380" y="228881"/>
                    <a:pt x="173999" y="226976"/>
                  </a:cubicBezTo>
                  <a:cubicBezTo>
                    <a:pt x="176571" y="224024"/>
                    <a:pt x="177428" y="217166"/>
                    <a:pt x="183905" y="222595"/>
                  </a:cubicBezTo>
                  <a:cubicBezTo>
                    <a:pt x="184286" y="222881"/>
                    <a:pt x="186096" y="222309"/>
                    <a:pt x="186191" y="221833"/>
                  </a:cubicBezTo>
                  <a:cubicBezTo>
                    <a:pt x="190477" y="206212"/>
                    <a:pt x="202574" y="194115"/>
                    <a:pt x="204955" y="177351"/>
                  </a:cubicBezTo>
                  <a:cubicBezTo>
                    <a:pt x="208384" y="153253"/>
                    <a:pt x="209908" y="128964"/>
                    <a:pt x="208003" y="105056"/>
                  </a:cubicBezTo>
                  <a:cubicBezTo>
                    <a:pt x="207146" y="93912"/>
                    <a:pt x="207908" y="81720"/>
                    <a:pt x="203241" y="70766"/>
                  </a:cubicBezTo>
                  <a:cubicBezTo>
                    <a:pt x="210289" y="66194"/>
                    <a:pt x="202574" y="57812"/>
                    <a:pt x="207813" y="52669"/>
                  </a:cubicBezTo>
                  <a:cubicBezTo>
                    <a:pt x="211623" y="48859"/>
                    <a:pt x="208098" y="43525"/>
                    <a:pt x="210194" y="39905"/>
                  </a:cubicBezTo>
                  <a:cubicBezTo>
                    <a:pt x="217147" y="27904"/>
                    <a:pt x="217433" y="12854"/>
                    <a:pt x="227720" y="2567"/>
                  </a:cubicBezTo>
                  <a:cubicBezTo>
                    <a:pt x="229816" y="472"/>
                    <a:pt x="231244" y="-1147"/>
                    <a:pt x="236197" y="1043"/>
                  </a:cubicBezTo>
                  <a:close/>
                </a:path>
              </a:pathLst>
            </a:custGeom>
            <a:solidFill>
              <a:schemeClr val="accent4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6A006E72-3584-3051-335C-76D6013A456F}"/>
                </a:ext>
              </a:extLst>
            </p:cNvPr>
            <p:cNvSpPr/>
            <p:nvPr/>
          </p:nvSpPr>
          <p:spPr>
            <a:xfrm>
              <a:off x="10732103" y="6210946"/>
              <a:ext cx="382260" cy="413371"/>
            </a:xfrm>
            <a:custGeom>
              <a:avLst/>
              <a:gdLst>
                <a:gd name="connsiteX0" fmla="*/ 33115 w 382260"/>
                <a:gd name="connsiteY0" fmla="*/ 204794 h 413370"/>
                <a:gd name="connsiteX1" fmla="*/ 45879 w 382260"/>
                <a:gd name="connsiteY1" fmla="*/ 200889 h 413370"/>
                <a:gd name="connsiteX2" fmla="*/ 56642 w 382260"/>
                <a:gd name="connsiteY2" fmla="*/ 194602 h 413370"/>
                <a:gd name="connsiteX3" fmla="*/ 78264 w 382260"/>
                <a:gd name="connsiteY3" fmla="*/ 180029 h 413370"/>
                <a:gd name="connsiteX4" fmla="*/ 97409 w 382260"/>
                <a:gd name="connsiteY4" fmla="*/ 165456 h 413370"/>
                <a:gd name="connsiteX5" fmla="*/ 124555 w 382260"/>
                <a:gd name="connsiteY5" fmla="*/ 139929 h 413370"/>
                <a:gd name="connsiteX6" fmla="*/ 148463 w 382260"/>
                <a:gd name="connsiteY6" fmla="*/ 111925 h 413370"/>
                <a:gd name="connsiteX7" fmla="*/ 160179 w 382260"/>
                <a:gd name="connsiteY7" fmla="*/ 91923 h 413370"/>
                <a:gd name="connsiteX8" fmla="*/ 162560 w 382260"/>
                <a:gd name="connsiteY8" fmla="*/ 87541 h 413370"/>
                <a:gd name="connsiteX9" fmla="*/ 166751 w 382260"/>
                <a:gd name="connsiteY9" fmla="*/ 77064 h 413370"/>
                <a:gd name="connsiteX10" fmla="*/ 167513 w 382260"/>
                <a:gd name="connsiteY10" fmla="*/ 74397 h 413370"/>
                <a:gd name="connsiteX11" fmla="*/ 173228 w 382260"/>
                <a:gd name="connsiteY11" fmla="*/ 54299 h 413370"/>
                <a:gd name="connsiteX12" fmla="*/ 175609 w 382260"/>
                <a:gd name="connsiteY12" fmla="*/ 28772 h 413370"/>
                <a:gd name="connsiteX13" fmla="*/ 175609 w 382260"/>
                <a:gd name="connsiteY13" fmla="*/ 7055 h 413370"/>
                <a:gd name="connsiteX14" fmla="*/ 176371 w 382260"/>
                <a:gd name="connsiteY14" fmla="*/ 4864 h 413370"/>
                <a:gd name="connsiteX15" fmla="*/ 177419 w 382260"/>
                <a:gd name="connsiteY15" fmla="*/ 2293 h 413370"/>
                <a:gd name="connsiteX16" fmla="*/ 180086 w 382260"/>
                <a:gd name="connsiteY16" fmla="*/ 7 h 413370"/>
                <a:gd name="connsiteX17" fmla="*/ 187325 w 382260"/>
                <a:gd name="connsiteY17" fmla="*/ 7817 h 413370"/>
                <a:gd name="connsiteX18" fmla="*/ 188373 w 382260"/>
                <a:gd name="connsiteY18" fmla="*/ 27629 h 413370"/>
                <a:gd name="connsiteX19" fmla="*/ 195802 w 382260"/>
                <a:gd name="connsiteY19" fmla="*/ 56490 h 413370"/>
                <a:gd name="connsiteX20" fmla="*/ 204089 w 382260"/>
                <a:gd name="connsiteY20" fmla="*/ 75635 h 413370"/>
                <a:gd name="connsiteX21" fmla="*/ 208852 w 382260"/>
                <a:gd name="connsiteY21" fmla="*/ 90494 h 413370"/>
                <a:gd name="connsiteX22" fmla="*/ 225997 w 382260"/>
                <a:gd name="connsiteY22" fmla="*/ 117926 h 413370"/>
                <a:gd name="connsiteX23" fmla="*/ 249428 w 382260"/>
                <a:gd name="connsiteY23" fmla="*/ 144406 h 413370"/>
                <a:gd name="connsiteX24" fmla="*/ 263620 w 382260"/>
                <a:gd name="connsiteY24" fmla="*/ 156312 h 413370"/>
                <a:gd name="connsiteX25" fmla="*/ 274765 w 382260"/>
                <a:gd name="connsiteY25" fmla="*/ 164599 h 413370"/>
                <a:gd name="connsiteX26" fmla="*/ 298196 w 382260"/>
                <a:gd name="connsiteY26" fmla="*/ 178029 h 413370"/>
                <a:gd name="connsiteX27" fmla="*/ 319342 w 382260"/>
                <a:gd name="connsiteY27" fmla="*/ 188506 h 413370"/>
                <a:gd name="connsiteX28" fmla="*/ 345726 w 382260"/>
                <a:gd name="connsiteY28" fmla="*/ 199079 h 413370"/>
                <a:gd name="connsiteX29" fmla="*/ 377635 w 382260"/>
                <a:gd name="connsiteY29" fmla="*/ 210509 h 413370"/>
                <a:gd name="connsiteX30" fmla="*/ 381730 w 382260"/>
                <a:gd name="connsiteY30" fmla="*/ 215843 h 413370"/>
                <a:gd name="connsiteX31" fmla="*/ 379635 w 382260"/>
                <a:gd name="connsiteY31" fmla="*/ 220987 h 413370"/>
                <a:gd name="connsiteX32" fmla="*/ 375730 w 382260"/>
                <a:gd name="connsiteY32" fmla="*/ 226321 h 413370"/>
                <a:gd name="connsiteX33" fmla="*/ 370110 w 382260"/>
                <a:gd name="connsiteY33" fmla="*/ 229273 h 413370"/>
                <a:gd name="connsiteX34" fmla="*/ 355060 w 382260"/>
                <a:gd name="connsiteY34" fmla="*/ 232607 h 413370"/>
                <a:gd name="connsiteX35" fmla="*/ 346964 w 382260"/>
                <a:gd name="connsiteY35" fmla="*/ 236608 h 413370"/>
                <a:gd name="connsiteX36" fmla="*/ 322961 w 382260"/>
                <a:gd name="connsiteY36" fmla="*/ 246990 h 413370"/>
                <a:gd name="connsiteX37" fmla="*/ 288671 w 382260"/>
                <a:gd name="connsiteY37" fmla="*/ 265849 h 413370"/>
                <a:gd name="connsiteX38" fmla="*/ 267907 w 382260"/>
                <a:gd name="connsiteY38" fmla="*/ 279946 h 413370"/>
                <a:gd name="connsiteX39" fmla="*/ 237998 w 382260"/>
                <a:gd name="connsiteY39" fmla="*/ 307855 h 413370"/>
                <a:gd name="connsiteX40" fmla="*/ 225330 w 382260"/>
                <a:gd name="connsiteY40" fmla="*/ 322714 h 413370"/>
                <a:gd name="connsiteX41" fmla="*/ 200660 w 382260"/>
                <a:gd name="connsiteY41" fmla="*/ 364814 h 413370"/>
                <a:gd name="connsiteX42" fmla="*/ 187135 w 382260"/>
                <a:gd name="connsiteY42" fmla="*/ 398628 h 413370"/>
                <a:gd name="connsiteX43" fmla="*/ 186277 w 382260"/>
                <a:gd name="connsiteY43" fmla="*/ 402724 h 413370"/>
                <a:gd name="connsiteX44" fmla="*/ 181896 w 382260"/>
                <a:gd name="connsiteY44" fmla="*/ 412725 h 413370"/>
                <a:gd name="connsiteX45" fmla="*/ 179896 w 382260"/>
                <a:gd name="connsiteY45" fmla="*/ 413011 h 413370"/>
                <a:gd name="connsiteX46" fmla="*/ 176086 w 382260"/>
                <a:gd name="connsiteY46" fmla="*/ 412439 h 413370"/>
                <a:gd name="connsiteX47" fmla="*/ 175038 w 382260"/>
                <a:gd name="connsiteY47" fmla="*/ 411391 h 413370"/>
                <a:gd name="connsiteX48" fmla="*/ 175038 w 382260"/>
                <a:gd name="connsiteY48" fmla="*/ 403771 h 413370"/>
                <a:gd name="connsiteX49" fmla="*/ 173800 w 382260"/>
                <a:gd name="connsiteY49" fmla="*/ 383769 h 413370"/>
                <a:gd name="connsiteX50" fmla="*/ 170275 w 382260"/>
                <a:gd name="connsiteY50" fmla="*/ 371386 h 413370"/>
                <a:gd name="connsiteX51" fmla="*/ 165703 w 382260"/>
                <a:gd name="connsiteY51" fmla="*/ 352527 h 413370"/>
                <a:gd name="connsiteX52" fmla="*/ 152749 w 382260"/>
                <a:gd name="connsiteY52" fmla="*/ 321285 h 413370"/>
                <a:gd name="connsiteX53" fmla="*/ 122269 w 382260"/>
                <a:gd name="connsiteY53" fmla="*/ 274041 h 413370"/>
                <a:gd name="connsiteX54" fmla="*/ 97219 w 382260"/>
                <a:gd name="connsiteY54" fmla="*/ 253276 h 413370"/>
                <a:gd name="connsiteX55" fmla="*/ 85027 w 382260"/>
                <a:gd name="connsiteY55" fmla="*/ 247276 h 413370"/>
                <a:gd name="connsiteX56" fmla="*/ 76359 w 382260"/>
                <a:gd name="connsiteY56" fmla="*/ 242418 h 413370"/>
                <a:gd name="connsiteX57" fmla="*/ 74930 w 382260"/>
                <a:gd name="connsiteY57" fmla="*/ 242418 h 413370"/>
                <a:gd name="connsiteX58" fmla="*/ 71977 w 382260"/>
                <a:gd name="connsiteY58" fmla="*/ 242799 h 413370"/>
                <a:gd name="connsiteX59" fmla="*/ 63119 w 382260"/>
                <a:gd name="connsiteY59" fmla="*/ 240322 h 413370"/>
                <a:gd name="connsiteX60" fmla="*/ 61119 w 382260"/>
                <a:gd name="connsiteY60" fmla="*/ 237465 h 413370"/>
                <a:gd name="connsiteX61" fmla="*/ 58071 w 382260"/>
                <a:gd name="connsiteY61" fmla="*/ 234512 h 413370"/>
                <a:gd name="connsiteX62" fmla="*/ 42164 w 382260"/>
                <a:gd name="connsiteY62" fmla="*/ 232417 h 413370"/>
                <a:gd name="connsiteX63" fmla="*/ 38640 w 382260"/>
                <a:gd name="connsiteY63" fmla="*/ 230607 h 413370"/>
                <a:gd name="connsiteX64" fmla="*/ 34544 w 382260"/>
                <a:gd name="connsiteY64" fmla="*/ 229940 h 413370"/>
                <a:gd name="connsiteX65" fmla="*/ 30448 w 382260"/>
                <a:gd name="connsiteY65" fmla="*/ 230321 h 413370"/>
                <a:gd name="connsiteX66" fmla="*/ 27305 w 382260"/>
                <a:gd name="connsiteY66" fmla="*/ 231274 h 413370"/>
                <a:gd name="connsiteX67" fmla="*/ 25114 w 382260"/>
                <a:gd name="connsiteY67" fmla="*/ 232321 h 413370"/>
                <a:gd name="connsiteX68" fmla="*/ 17685 w 382260"/>
                <a:gd name="connsiteY68" fmla="*/ 231845 h 413370"/>
                <a:gd name="connsiteX69" fmla="*/ 13494 w 382260"/>
                <a:gd name="connsiteY69" fmla="*/ 229750 h 413370"/>
                <a:gd name="connsiteX70" fmla="*/ 9874 w 382260"/>
                <a:gd name="connsiteY70" fmla="*/ 230607 h 413370"/>
                <a:gd name="connsiteX71" fmla="*/ 6541 w 382260"/>
                <a:gd name="connsiteY71" fmla="*/ 228130 h 413370"/>
                <a:gd name="connsiteX72" fmla="*/ 2826 w 382260"/>
                <a:gd name="connsiteY72" fmla="*/ 226416 h 413370"/>
                <a:gd name="connsiteX73" fmla="*/ 64 w 382260"/>
                <a:gd name="connsiteY73" fmla="*/ 224320 h 413370"/>
                <a:gd name="connsiteX74" fmla="*/ 1778 w 382260"/>
                <a:gd name="connsiteY74" fmla="*/ 222034 h 413370"/>
                <a:gd name="connsiteX75" fmla="*/ 7017 w 382260"/>
                <a:gd name="connsiteY75" fmla="*/ 211938 h 413370"/>
                <a:gd name="connsiteX76" fmla="*/ 10732 w 382260"/>
                <a:gd name="connsiteY76" fmla="*/ 209366 h 413370"/>
                <a:gd name="connsiteX77" fmla="*/ 28448 w 382260"/>
                <a:gd name="connsiteY77" fmla="*/ 206699 h 413370"/>
                <a:gd name="connsiteX78" fmla="*/ 32544 w 382260"/>
                <a:gd name="connsiteY78" fmla="*/ 205175 h 413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</a:cxnLst>
              <a:rect l="l" t="t" r="r" b="b"/>
              <a:pathLst>
                <a:path w="382260" h="413370">
                  <a:moveTo>
                    <a:pt x="33115" y="204794"/>
                  </a:moveTo>
                  <a:cubicBezTo>
                    <a:pt x="36830" y="201937"/>
                    <a:pt x="41593" y="202032"/>
                    <a:pt x="45879" y="200889"/>
                  </a:cubicBezTo>
                  <a:cubicBezTo>
                    <a:pt x="50260" y="199651"/>
                    <a:pt x="52927" y="196507"/>
                    <a:pt x="56642" y="194602"/>
                  </a:cubicBezTo>
                  <a:cubicBezTo>
                    <a:pt x="64357" y="190697"/>
                    <a:pt x="71215" y="185173"/>
                    <a:pt x="78264" y="180029"/>
                  </a:cubicBezTo>
                  <a:cubicBezTo>
                    <a:pt x="84741" y="175362"/>
                    <a:pt x="91980" y="171171"/>
                    <a:pt x="97409" y="165456"/>
                  </a:cubicBezTo>
                  <a:cubicBezTo>
                    <a:pt x="105982" y="156407"/>
                    <a:pt x="115888" y="148882"/>
                    <a:pt x="124555" y="139929"/>
                  </a:cubicBezTo>
                  <a:cubicBezTo>
                    <a:pt x="133128" y="131071"/>
                    <a:pt x="141129" y="121736"/>
                    <a:pt x="148463" y="111925"/>
                  </a:cubicBezTo>
                  <a:cubicBezTo>
                    <a:pt x="153035" y="105829"/>
                    <a:pt x="157798" y="99448"/>
                    <a:pt x="160179" y="91923"/>
                  </a:cubicBezTo>
                  <a:cubicBezTo>
                    <a:pt x="160655" y="90399"/>
                    <a:pt x="161322" y="88494"/>
                    <a:pt x="162560" y="87541"/>
                  </a:cubicBezTo>
                  <a:cubicBezTo>
                    <a:pt x="166180" y="84779"/>
                    <a:pt x="166275" y="80874"/>
                    <a:pt x="166751" y="77064"/>
                  </a:cubicBezTo>
                  <a:cubicBezTo>
                    <a:pt x="166846" y="76111"/>
                    <a:pt x="166846" y="75254"/>
                    <a:pt x="167513" y="74397"/>
                  </a:cubicBezTo>
                  <a:cubicBezTo>
                    <a:pt x="172371" y="68491"/>
                    <a:pt x="171704" y="61157"/>
                    <a:pt x="173228" y="54299"/>
                  </a:cubicBezTo>
                  <a:cubicBezTo>
                    <a:pt x="175228" y="45727"/>
                    <a:pt x="174752" y="37249"/>
                    <a:pt x="175609" y="28772"/>
                  </a:cubicBezTo>
                  <a:cubicBezTo>
                    <a:pt x="176276" y="21628"/>
                    <a:pt x="177991" y="14294"/>
                    <a:pt x="175609" y="7055"/>
                  </a:cubicBezTo>
                  <a:cubicBezTo>
                    <a:pt x="175228" y="5912"/>
                    <a:pt x="175324" y="4960"/>
                    <a:pt x="176371" y="4864"/>
                  </a:cubicBezTo>
                  <a:cubicBezTo>
                    <a:pt x="178943" y="4674"/>
                    <a:pt x="178276" y="4102"/>
                    <a:pt x="177419" y="2293"/>
                  </a:cubicBezTo>
                  <a:cubicBezTo>
                    <a:pt x="176752" y="769"/>
                    <a:pt x="178467" y="102"/>
                    <a:pt x="180086" y="7"/>
                  </a:cubicBezTo>
                  <a:cubicBezTo>
                    <a:pt x="184372" y="-184"/>
                    <a:pt x="188468" y="3721"/>
                    <a:pt x="187325" y="7817"/>
                  </a:cubicBezTo>
                  <a:cubicBezTo>
                    <a:pt x="185325" y="14675"/>
                    <a:pt x="187611" y="21152"/>
                    <a:pt x="188373" y="27629"/>
                  </a:cubicBezTo>
                  <a:cubicBezTo>
                    <a:pt x="189516" y="37535"/>
                    <a:pt x="192850" y="47060"/>
                    <a:pt x="195802" y="56490"/>
                  </a:cubicBezTo>
                  <a:cubicBezTo>
                    <a:pt x="197898" y="63062"/>
                    <a:pt x="200279" y="69539"/>
                    <a:pt x="204089" y="75635"/>
                  </a:cubicBezTo>
                  <a:cubicBezTo>
                    <a:pt x="206566" y="79636"/>
                    <a:pt x="206470" y="85732"/>
                    <a:pt x="208852" y="90494"/>
                  </a:cubicBezTo>
                  <a:cubicBezTo>
                    <a:pt x="213900" y="100114"/>
                    <a:pt x="219710" y="109163"/>
                    <a:pt x="225997" y="117926"/>
                  </a:cubicBezTo>
                  <a:cubicBezTo>
                    <a:pt x="232855" y="127546"/>
                    <a:pt x="241618" y="135547"/>
                    <a:pt x="249428" y="144406"/>
                  </a:cubicBezTo>
                  <a:cubicBezTo>
                    <a:pt x="253524" y="148978"/>
                    <a:pt x="258382" y="153169"/>
                    <a:pt x="263620" y="156312"/>
                  </a:cubicBezTo>
                  <a:cubicBezTo>
                    <a:pt x="267621" y="158788"/>
                    <a:pt x="271336" y="161646"/>
                    <a:pt x="274765" y="164599"/>
                  </a:cubicBezTo>
                  <a:cubicBezTo>
                    <a:pt x="281718" y="170695"/>
                    <a:pt x="290386" y="173647"/>
                    <a:pt x="298196" y="178029"/>
                  </a:cubicBezTo>
                  <a:cubicBezTo>
                    <a:pt x="305054" y="181839"/>
                    <a:pt x="311817" y="185935"/>
                    <a:pt x="319342" y="188506"/>
                  </a:cubicBezTo>
                  <a:cubicBezTo>
                    <a:pt x="328390" y="191459"/>
                    <a:pt x="336963" y="195650"/>
                    <a:pt x="345726" y="199079"/>
                  </a:cubicBezTo>
                  <a:cubicBezTo>
                    <a:pt x="356203" y="203175"/>
                    <a:pt x="367252" y="205842"/>
                    <a:pt x="377635" y="210509"/>
                  </a:cubicBezTo>
                  <a:cubicBezTo>
                    <a:pt x="380206" y="211652"/>
                    <a:pt x="380302" y="214129"/>
                    <a:pt x="381730" y="215843"/>
                  </a:cubicBezTo>
                  <a:cubicBezTo>
                    <a:pt x="383254" y="217558"/>
                    <a:pt x="381159" y="219177"/>
                    <a:pt x="379635" y="220987"/>
                  </a:cubicBezTo>
                  <a:cubicBezTo>
                    <a:pt x="378397" y="222511"/>
                    <a:pt x="376968" y="224511"/>
                    <a:pt x="375730" y="226321"/>
                  </a:cubicBezTo>
                  <a:cubicBezTo>
                    <a:pt x="374396" y="228321"/>
                    <a:pt x="372205" y="229083"/>
                    <a:pt x="370110" y="229273"/>
                  </a:cubicBezTo>
                  <a:cubicBezTo>
                    <a:pt x="364966" y="229845"/>
                    <a:pt x="360204" y="231845"/>
                    <a:pt x="355060" y="232607"/>
                  </a:cubicBezTo>
                  <a:cubicBezTo>
                    <a:pt x="352298" y="232988"/>
                    <a:pt x="349726" y="235274"/>
                    <a:pt x="346964" y="236608"/>
                  </a:cubicBezTo>
                  <a:cubicBezTo>
                    <a:pt x="339154" y="240418"/>
                    <a:pt x="330676" y="242894"/>
                    <a:pt x="322961" y="246990"/>
                  </a:cubicBezTo>
                  <a:cubicBezTo>
                    <a:pt x="311436" y="253086"/>
                    <a:pt x="299625" y="258610"/>
                    <a:pt x="288671" y="265849"/>
                  </a:cubicBezTo>
                  <a:cubicBezTo>
                    <a:pt x="281718" y="270517"/>
                    <a:pt x="274479" y="274803"/>
                    <a:pt x="267907" y="279946"/>
                  </a:cubicBezTo>
                  <a:cubicBezTo>
                    <a:pt x="257143" y="288328"/>
                    <a:pt x="245904" y="296234"/>
                    <a:pt x="237998" y="307855"/>
                  </a:cubicBezTo>
                  <a:cubicBezTo>
                    <a:pt x="234379" y="313189"/>
                    <a:pt x="229045" y="317284"/>
                    <a:pt x="225330" y="322714"/>
                  </a:cubicBezTo>
                  <a:cubicBezTo>
                    <a:pt x="215995" y="336144"/>
                    <a:pt x="207423" y="349765"/>
                    <a:pt x="200660" y="364814"/>
                  </a:cubicBezTo>
                  <a:cubicBezTo>
                    <a:pt x="195707" y="375958"/>
                    <a:pt x="191897" y="387484"/>
                    <a:pt x="187135" y="398628"/>
                  </a:cubicBezTo>
                  <a:cubicBezTo>
                    <a:pt x="186563" y="399866"/>
                    <a:pt x="186182" y="401390"/>
                    <a:pt x="186277" y="402724"/>
                  </a:cubicBezTo>
                  <a:cubicBezTo>
                    <a:pt x="186658" y="406915"/>
                    <a:pt x="183515" y="409486"/>
                    <a:pt x="181896" y="412725"/>
                  </a:cubicBezTo>
                  <a:cubicBezTo>
                    <a:pt x="181515" y="413582"/>
                    <a:pt x="180562" y="413487"/>
                    <a:pt x="179896" y="413011"/>
                  </a:cubicBezTo>
                  <a:cubicBezTo>
                    <a:pt x="178753" y="412058"/>
                    <a:pt x="177895" y="410629"/>
                    <a:pt x="176086" y="412439"/>
                  </a:cubicBezTo>
                  <a:cubicBezTo>
                    <a:pt x="175038" y="413582"/>
                    <a:pt x="175133" y="411868"/>
                    <a:pt x="175038" y="411391"/>
                  </a:cubicBezTo>
                  <a:cubicBezTo>
                    <a:pt x="174371" y="408820"/>
                    <a:pt x="174847" y="406438"/>
                    <a:pt x="175038" y="403771"/>
                  </a:cubicBezTo>
                  <a:cubicBezTo>
                    <a:pt x="175705" y="397199"/>
                    <a:pt x="180181" y="390436"/>
                    <a:pt x="173800" y="383769"/>
                  </a:cubicBezTo>
                  <a:cubicBezTo>
                    <a:pt x="171133" y="381007"/>
                    <a:pt x="171514" y="375577"/>
                    <a:pt x="170275" y="371386"/>
                  </a:cubicBezTo>
                  <a:cubicBezTo>
                    <a:pt x="168370" y="365195"/>
                    <a:pt x="168085" y="358718"/>
                    <a:pt x="165703" y="352527"/>
                  </a:cubicBezTo>
                  <a:cubicBezTo>
                    <a:pt x="161608" y="341954"/>
                    <a:pt x="156940" y="331762"/>
                    <a:pt x="152749" y="321285"/>
                  </a:cubicBezTo>
                  <a:cubicBezTo>
                    <a:pt x="145606" y="303473"/>
                    <a:pt x="134842" y="288138"/>
                    <a:pt x="122269" y="274041"/>
                  </a:cubicBezTo>
                  <a:cubicBezTo>
                    <a:pt x="115126" y="265945"/>
                    <a:pt x="107029" y="258610"/>
                    <a:pt x="97219" y="253276"/>
                  </a:cubicBezTo>
                  <a:cubicBezTo>
                    <a:pt x="93218" y="251086"/>
                    <a:pt x="89313" y="248609"/>
                    <a:pt x="85027" y="247276"/>
                  </a:cubicBezTo>
                  <a:cubicBezTo>
                    <a:pt x="81693" y="246228"/>
                    <a:pt x="78454" y="245466"/>
                    <a:pt x="76359" y="242418"/>
                  </a:cubicBezTo>
                  <a:cubicBezTo>
                    <a:pt x="75978" y="241846"/>
                    <a:pt x="75406" y="240703"/>
                    <a:pt x="74930" y="242418"/>
                  </a:cubicBezTo>
                  <a:cubicBezTo>
                    <a:pt x="74168" y="244799"/>
                    <a:pt x="72835" y="243085"/>
                    <a:pt x="71977" y="242799"/>
                  </a:cubicBezTo>
                  <a:cubicBezTo>
                    <a:pt x="69120" y="241561"/>
                    <a:pt x="66358" y="240418"/>
                    <a:pt x="63119" y="240322"/>
                  </a:cubicBezTo>
                  <a:cubicBezTo>
                    <a:pt x="61595" y="240322"/>
                    <a:pt x="61786" y="238513"/>
                    <a:pt x="61119" y="237465"/>
                  </a:cubicBezTo>
                  <a:cubicBezTo>
                    <a:pt x="60357" y="236227"/>
                    <a:pt x="59881" y="234131"/>
                    <a:pt x="58071" y="234512"/>
                  </a:cubicBezTo>
                  <a:cubicBezTo>
                    <a:pt x="52451" y="235655"/>
                    <a:pt x="47498" y="233083"/>
                    <a:pt x="42164" y="232417"/>
                  </a:cubicBezTo>
                  <a:cubicBezTo>
                    <a:pt x="40640" y="232226"/>
                    <a:pt x="39402" y="232798"/>
                    <a:pt x="38640" y="230607"/>
                  </a:cubicBezTo>
                  <a:cubicBezTo>
                    <a:pt x="38259" y="229559"/>
                    <a:pt x="35687" y="228797"/>
                    <a:pt x="34544" y="229940"/>
                  </a:cubicBezTo>
                  <a:cubicBezTo>
                    <a:pt x="33020" y="231369"/>
                    <a:pt x="31687" y="231178"/>
                    <a:pt x="30448" y="230321"/>
                  </a:cubicBezTo>
                  <a:cubicBezTo>
                    <a:pt x="28734" y="229178"/>
                    <a:pt x="27877" y="228988"/>
                    <a:pt x="27305" y="231274"/>
                  </a:cubicBezTo>
                  <a:cubicBezTo>
                    <a:pt x="27115" y="232131"/>
                    <a:pt x="25591" y="233083"/>
                    <a:pt x="25114" y="232321"/>
                  </a:cubicBezTo>
                  <a:cubicBezTo>
                    <a:pt x="22733" y="229178"/>
                    <a:pt x="20352" y="230607"/>
                    <a:pt x="17685" y="231845"/>
                  </a:cubicBezTo>
                  <a:cubicBezTo>
                    <a:pt x="15589" y="232798"/>
                    <a:pt x="14065" y="232131"/>
                    <a:pt x="13494" y="229750"/>
                  </a:cubicBezTo>
                  <a:cubicBezTo>
                    <a:pt x="12065" y="228988"/>
                    <a:pt x="11208" y="230607"/>
                    <a:pt x="9874" y="230607"/>
                  </a:cubicBezTo>
                  <a:cubicBezTo>
                    <a:pt x="8922" y="229654"/>
                    <a:pt x="5398" y="232607"/>
                    <a:pt x="6541" y="228130"/>
                  </a:cubicBezTo>
                  <a:cubicBezTo>
                    <a:pt x="7017" y="226225"/>
                    <a:pt x="4064" y="227273"/>
                    <a:pt x="2826" y="226416"/>
                  </a:cubicBezTo>
                  <a:cubicBezTo>
                    <a:pt x="1873" y="225749"/>
                    <a:pt x="445" y="225940"/>
                    <a:pt x="64" y="224320"/>
                  </a:cubicBezTo>
                  <a:cubicBezTo>
                    <a:pt x="-317" y="222701"/>
                    <a:pt x="1111" y="222415"/>
                    <a:pt x="1778" y="222034"/>
                  </a:cubicBezTo>
                  <a:cubicBezTo>
                    <a:pt x="5874" y="219939"/>
                    <a:pt x="6160" y="215367"/>
                    <a:pt x="7017" y="211938"/>
                  </a:cubicBezTo>
                  <a:cubicBezTo>
                    <a:pt x="7874" y="208890"/>
                    <a:pt x="9779" y="209080"/>
                    <a:pt x="10732" y="209366"/>
                  </a:cubicBezTo>
                  <a:cubicBezTo>
                    <a:pt x="17018" y="210795"/>
                    <a:pt x="22733" y="209080"/>
                    <a:pt x="28448" y="206699"/>
                  </a:cubicBezTo>
                  <a:cubicBezTo>
                    <a:pt x="29782" y="206032"/>
                    <a:pt x="32068" y="208033"/>
                    <a:pt x="32544" y="205175"/>
                  </a:cubicBezTo>
                </a:path>
              </a:pathLst>
            </a:custGeom>
            <a:solidFill>
              <a:srgbClr val="4FE2F3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63" name="Freeform: Shape 62">
            <a:extLst>
              <a:ext uri="{FF2B5EF4-FFF2-40B4-BE49-F238E27FC236}">
                <a16:creationId xmlns:a16="http://schemas.microsoft.com/office/drawing/2014/main" id="{81612CBB-2039-BDA5-7951-D46340AAC063}"/>
              </a:ext>
            </a:extLst>
          </p:cNvPr>
          <p:cNvSpPr/>
          <p:nvPr/>
        </p:nvSpPr>
        <p:spPr>
          <a:xfrm flipV="1">
            <a:off x="11221328" y="5867400"/>
            <a:ext cx="970672" cy="990600"/>
          </a:xfrm>
          <a:custGeom>
            <a:avLst/>
            <a:gdLst>
              <a:gd name="connsiteX0" fmla="*/ 414967 w 1176964"/>
              <a:gd name="connsiteY0" fmla="*/ 0 h 1224226"/>
              <a:gd name="connsiteX1" fmla="*/ 782255 w 1176964"/>
              <a:gd name="connsiteY1" fmla="*/ 0 h 1224226"/>
              <a:gd name="connsiteX2" fmla="*/ 1024561 w 1176964"/>
              <a:gd name="connsiteY2" fmla="*/ 0 h 1224226"/>
              <a:gd name="connsiteX3" fmla="*/ 1068808 w 1176964"/>
              <a:gd name="connsiteY3" fmla="*/ 0 h 1224226"/>
              <a:gd name="connsiteX4" fmla="*/ 1122562 w 1176964"/>
              <a:gd name="connsiteY4" fmla="*/ 0 h 1224226"/>
              <a:gd name="connsiteX5" fmla="*/ 1176963 w 1176964"/>
              <a:gd name="connsiteY5" fmla="*/ 0 h 1224226"/>
              <a:gd name="connsiteX6" fmla="*/ 1176963 w 1176964"/>
              <a:gd name="connsiteY6" fmla="*/ 152398 h 1224226"/>
              <a:gd name="connsiteX7" fmla="*/ 1176964 w 1176964"/>
              <a:gd name="connsiteY7" fmla="*/ 152403 h 1224226"/>
              <a:gd name="connsiteX8" fmla="*/ 1176964 w 1176964"/>
              <a:gd name="connsiteY8" fmla="*/ 326955 h 1224226"/>
              <a:gd name="connsiteX9" fmla="*/ 1176964 w 1176964"/>
              <a:gd name="connsiteY9" fmla="*/ 761997 h 1224226"/>
              <a:gd name="connsiteX10" fmla="*/ 1176964 w 1176964"/>
              <a:gd name="connsiteY10" fmla="*/ 1224226 h 1224226"/>
              <a:gd name="connsiteX11" fmla="*/ 1176135 w 1176964"/>
              <a:gd name="connsiteY11" fmla="*/ 1213914 h 1224226"/>
              <a:gd name="connsiteX12" fmla="*/ 1175227 w 1176964"/>
              <a:gd name="connsiteY12" fmla="*/ 1203625 h 1224226"/>
              <a:gd name="connsiteX13" fmla="*/ 1174242 w 1176964"/>
              <a:gd name="connsiteY13" fmla="*/ 1193357 h 1224226"/>
              <a:gd name="connsiteX14" fmla="*/ 1173180 w 1176964"/>
              <a:gd name="connsiteY14" fmla="*/ 1183113 h 1224226"/>
              <a:gd name="connsiteX15" fmla="*/ 1172040 w 1176964"/>
              <a:gd name="connsiteY15" fmla="*/ 1172891 h 1224226"/>
              <a:gd name="connsiteX16" fmla="*/ 1170824 w 1176964"/>
              <a:gd name="connsiteY16" fmla="*/ 1162693 h 1224226"/>
              <a:gd name="connsiteX17" fmla="*/ 1169531 w 1176964"/>
              <a:gd name="connsiteY17" fmla="*/ 1152519 h 1224226"/>
              <a:gd name="connsiteX18" fmla="*/ 1168162 w 1176964"/>
              <a:gd name="connsiteY18" fmla="*/ 1142368 h 1224226"/>
              <a:gd name="connsiteX19" fmla="*/ 1166717 w 1176964"/>
              <a:gd name="connsiteY19" fmla="*/ 1132242 h 1224226"/>
              <a:gd name="connsiteX20" fmla="*/ 1165196 w 1176964"/>
              <a:gd name="connsiteY20" fmla="*/ 1122141 h 1224226"/>
              <a:gd name="connsiteX21" fmla="*/ 1163600 w 1176964"/>
              <a:gd name="connsiteY21" fmla="*/ 1112064 h 1224226"/>
              <a:gd name="connsiteX22" fmla="*/ 1161929 w 1176964"/>
              <a:gd name="connsiteY22" fmla="*/ 1102013 h 1224226"/>
              <a:gd name="connsiteX23" fmla="*/ 1160183 w 1176964"/>
              <a:gd name="connsiteY23" fmla="*/ 1091987 h 1224226"/>
              <a:gd name="connsiteX24" fmla="*/ 1158363 w 1176964"/>
              <a:gd name="connsiteY24" fmla="*/ 1081986 h 1224226"/>
              <a:gd name="connsiteX25" fmla="*/ 1156468 w 1176964"/>
              <a:gd name="connsiteY25" fmla="*/ 1072012 h 1224226"/>
              <a:gd name="connsiteX26" fmla="*/ 1154500 w 1176964"/>
              <a:gd name="connsiteY26" fmla="*/ 1062064 h 1224226"/>
              <a:gd name="connsiteX27" fmla="*/ 1152458 w 1176964"/>
              <a:gd name="connsiteY27" fmla="*/ 1052143 h 1224226"/>
              <a:gd name="connsiteX28" fmla="*/ 1150343 w 1176964"/>
              <a:gd name="connsiteY28" fmla="*/ 1042249 h 1224226"/>
              <a:gd name="connsiteX29" fmla="*/ 1148155 w 1176964"/>
              <a:gd name="connsiteY29" fmla="*/ 1032382 h 1224226"/>
              <a:gd name="connsiteX30" fmla="*/ 1145894 w 1176964"/>
              <a:gd name="connsiteY30" fmla="*/ 1022542 h 1224226"/>
              <a:gd name="connsiteX31" fmla="*/ 1143561 w 1176964"/>
              <a:gd name="connsiteY31" fmla="*/ 1012731 h 1224226"/>
              <a:gd name="connsiteX32" fmla="*/ 1141156 w 1176964"/>
              <a:gd name="connsiteY32" fmla="*/ 1002947 h 1224226"/>
              <a:gd name="connsiteX33" fmla="*/ 1138679 w 1176964"/>
              <a:gd name="connsiteY33" fmla="*/ 993192 h 1224226"/>
              <a:gd name="connsiteX34" fmla="*/ 1136130 w 1176964"/>
              <a:gd name="connsiteY34" fmla="*/ 983466 h 1224226"/>
              <a:gd name="connsiteX35" fmla="*/ 1133510 w 1176964"/>
              <a:gd name="connsiteY35" fmla="*/ 973769 h 1224226"/>
              <a:gd name="connsiteX36" fmla="*/ 1130820 w 1176964"/>
              <a:gd name="connsiteY36" fmla="*/ 964101 h 1224226"/>
              <a:gd name="connsiteX37" fmla="*/ 1128059 w 1176964"/>
              <a:gd name="connsiteY37" fmla="*/ 954462 h 1224226"/>
              <a:gd name="connsiteX38" fmla="*/ 1125227 w 1176964"/>
              <a:gd name="connsiteY38" fmla="*/ 944854 h 1224226"/>
              <a:gd name="connsiteX39" fmla="*/ 1122326 w 1176964"/>
              <a:gd name="connsiteY39" fmla="*/ 935276 h 1224226"/>
              <a:gd name="connsiteX40" fmla="*/ 1119355 w 1176964"/>
              <a:gd name="connsiteY40" fmla="*/ 925728 h 1224226"/>
              <a:gd name="connsiteX41" fmla="*/ 1116314 w 1176964"/>
              <a:gd name="connsiteY41" fmla="*/ 916211 h 1224226"/>
              <a:gd name="connsiteX42" fmla="*/ 1113204 w 1176964"/>
              <a:gd name="connsiteY42" fmla="*/ 906726 h 1224226"/>
              <a:gd name="connsiteX43" fmla="*/ 1110025 w 1176964"/>
              <a:gd name="connsiteY43" fmla="*/ 897271 h 1224226"/>
              <a:gd name="connsiteX44" fmla="*/ 1106778 w 1176964"/>
              <a:gd name="connsiteY44" fmla="*/ 887849 h 1224226"/>
              <a:gd name="connsiteX45" fmla="*/ 1103463 w 1176964"/>
              <a:gd name="connsiteY45" fmla="*/ 878458 h 1224226"/>
              <a:gd name="connsiteX46" fmla="*/ 1100080 w 1176964"/>
              <a:gd name="connsiteY46" fmla="*/ 869099 h 1224226"/>
              <a:gd name="connsiteX47" fmla="*/ 1096629 w 1176964"/>
              <a:gd name="connsiteY47" fmla="*/ 859774 h 1224226"/>
              <a:gd name="connsiteX48" fmla="*/ 1093111 w 1176964"/>
              <a:gd name="connsiteY48" fmla="*/ 850480 h 1224226"/>
              <a:gd name="connsiteX49" fmla="*/ 1089525 w 1176964"/>
              <a:gd name="connsiteY49" fmla="*/ 841221 h 1224226"/>
              <a:gd name="connsiteX50" fmla="*/ 1085873 w 1176964"/>
              <a:gd name="connsiteY50" fmla="*/ 831995 h 1224226"/>
              <a:gd name="connsiteX51" fmla="*/ 1082155 w 1176964"/>
              <a:gd name="connsiteY51" fmla="*/ 822802 h 1224226"/>
              <a:gd name="connsiteX52" fmla="*/ 1078370 w 1176964"/>
              <a:gd name="connsiteY52" fmla="*/ 813643 h 1224226"/>
              <a:gd name="connsiteX53" fmla="*/ 1074520 w 1176964"/>
              <a:gd name="connsiteY53" fmla="*/ 804519 h 1224226"/>
              <a:gd name="connsiteX54" fmla="*/ 1070604 w 1176964"/>
              <a:gd name="connsiteY54" fmla="*/ 795430 h 1224226"/>
              <a:gd name="connsiteX55" fmla="*/ 1066622 w 1176964"/>
              <a:gd name="connsiteY55" fmla="*/ 786375 h 1224226"/>
              <a:gd name="connsiteX56" fmla="*/ 1062576 w 1176964"/>
              <a:gd name="connsiteY56" fmla="*/ 777356 h 1224226"/>
              <a:gd name="connsiteX57" fmla="*/ 1058465 w 1176964"/>
              <a:gd name="connsiteY57" fmla="*/ 768372 h 1224226"/>
              <a:gd name="connsiteX58" fmla="*/ 1054290 w 1176964"/>
              <a:gd name="connsiteY58" fmla="*/ 759425 h 1224226"/>
              <a:gd name="connsiteX59" fmla="*/ 1050050 w 1176964"/>
              <a:gd name="connsiteY59" fmla="*/ 750513 h 1224226"/>
              <a:gd name="connsiteX60" fmla="*/ 1045747 w 1176964"/>
              <a:gd name="connsiteY60" fmla="*/ 741638 h 1224226"/>
              <a:gd name="connsiteX61" fmla="*/ 1041381 w 1176964"/>
              <a:gd name="connsiteY61" fmla="*/ 732799 h 1224226"/>
              <a:gd name="connsiteX62" fmla="*/ 1036951 w 1176964"/>
              <a:gd name="connsiteY62" fmla="*/ 723998 h 1224226"/>
              <a:gd name="connsiteX63" fmla="*/ 1032458 w 1176964"/>
              <a:gd name="connsiteY63" fmla="*/ 715233 h 1224226"/>
              <a:gd name="connsiteX64" fmla="*/ 1027903 w 1176964"/>
              <a:gd name="connsiteY64" fmla="*/ 706507 h 1224226"/>
              <a:gd name="connsiteX65" fmla="*/ 1023285 w 1176964"/>
              <a:gd name="connsiteY65" fmla="*/ 697818 h 1224226"/>
              <a:gd name="connsiteX66" fmla="*/ 1018605 w 1176964"/>
              <a:gd name="connsiteY66" fmla="*/ 689168 h 1224226"/>
              <a:gd name="connsiteX67" fmla="*/ 1013864 w 1176964"/>
              <a:gd name="connsiteY67" fmla="*/ 680556 h 1224226"/>
              <a:gd name="connsiteX68" fmla="*/ 1009061 w 1176964"/>
              <a:gd name="connsiteY68" fmla="*/ 671983 h 1224226"/>
              <a:gd name="connsiteX69" fmla="*/ 1004197 w 1176964"/>
              <a:gd name="connsiteY69" fmla="*/ 663449 h 1224226"/>
              <a:gd name="connsiteX70" fmla="*/ 999273 w 1176964"/>
              <a:gd name="connsiteY70" fmla="*/ 654954 h 1224226"/>
              <a:gd name="connsiteX71" fmla="*/ 994288 w 1176964"/>
              <a:gd name="connsiteY71" fmla="*/ 646499 h 1224226"/>
              <a:gd name="connsiteX72" fmla="*/ 989242 w 1176964"/>
              <a:gd name="connsiteY72" fmla="*/ 638084 h 1224226"/>
              <a:gd name="connsiteX73" fmla="*/ 984137 w 1176964"/>
              <a:gd name="connsiteY73" fmla="*/ 629710 h 1224226"/>
              <a:gd name="connsiteX74" fmla="*/ 978972 w 1176964"/>
              <a:gd name="connsiteY74" fmla="*/ 621376 h 1224226"/>
              <a:gd name="connsiteX75" fmla="*/ 973748 w 1176964"/>
              <a:gd name="connsiteY75" fmla="*/ 613082 h 1224226"/>
              <a:gd name="connsiteX76" fmla="*/ 968464 w 1176964"/>
              <a:gd name="connsiteY76" fmla="*/ 604830 h 1224226"/>
              <a:gd name="connsiteX77" fmla="*/ 963122 w 1176964"/>
              <a:gd name="connsiteY77" fmla="*/ 596620 h 1224226"/>
              <a:gd name="connsiteX78" fmla="*/ 957721 w 1176964"/>
              <a:gd name="connsiteY78" fmla="*/ 588451 h 1224226"/>
              <a:gd name="connsiteX79" fmla="*/ 952263 w 1176964"/>
              <a:gd name="connsiteY79" fmla="*/ 580324 h 1224226"/>
              <a:gd name="connsiteX80" fmla="*/ 946746 w 1176964"/>
              <a:gd name="connsiteY80" fmla="*/ 572240 h 1224226"/>
              <a:gd name="connsiteX81" fmla="*/ 941172 w 1176964"/>
              <a:gd name="connsiteY81" fmla="*/ 564199 h 1224226"/>
              <a:gd name="connsiteX82" fmla="*/ 935541 w 1176964"/>
              <a:gd name="connsiteY82" fmla="*/ 556200 h 1224226"/>
              <a:gd name="connsiteX83" fmla="*/ 929852 w 1176964"/>
              <a:gd name="connsiteY83" fmla="*/ 548244 h 1224226"/>
              <a:gd name="connsiteX84" fmla="*/ 924108 w 1176964"/>
              <a:gd name="connsiteY84" fmla="*/ 540332 h 1224226"/>
              <a:gd name="connsiteX85" fmla="*/ 918306 w 1176964"/>
              <a:gd name="connsiteY85" fmla="*/ 532464 h 1224226"/>
              <a:gd name="connsiteX86" fmla="*/ 912449 w 1176964"/>
              <a:gd name="connsiteY86" fmla="*/ 524641 h 1224226"/>
              <a:gd name="connsiteX87" fmla="*/ 906535 w 1176964"/>
              <a:gd name="connsiteY87" fmla="*/ 516861 h 1224226"/>
              <a:gd name="connsiteX88" fmla="*/ 900567 w 1176964"/>
              <a:gd name="connsiteY88" fmla="*/ 509126 h 1224226"/>
              <a:gd name="connsiteX89" fmla="*/ 894543 w 1176964"/>
              <a:gd name="connsiteY89" fmla="*/ 501437 h 1224226"/>
              <a:gd name="connsiteX90" fmla="*/ 888464 w 1176964"/>
              <a:gd name="connsiteY90" fmla="*/ 493792 h 1224226"/>
              <a:gd name="connsiteX91" fmla="*/ 882331 w 1176964"/>
              <a:gd name="connsiteY91" fmla="*/ 486194 h 1224226"/>
              <a:gd name="connsiteX92" fmla="*/ 876143 w 1176964"/>
              <a:gd name="connsiteY92" fmla="*/ 478641 h 1224226"/>
              <a:gd name="connsiteX93" fmla="*/ 869901 w 1176964"/>
              <a:gd name="connsiteY93" fmla="*/ 471134 h 1224226"/>
              <a:gd name="connsiteX94" fmla="*/ 863606 w 1176964"/>
              <a:gd name="connsiteY94" fmla="*/ 463674 h 1224226"/>
              <a:gd name="connsiteX95" fmla="*/ 857258 w 1176964"/>
              <a:gd name="connsiteY95" fmla="*/ 456261 h 1224226"/>
              <a:gd name="connsiteX96" fmla="*/ 850856 w 1176964"/>
              <a:gd name="connsiteY96" fmla="*/ 448895 h 1224226"/>
              <a:gd name="connsiteX97" fmla="*/ 844401 w 1176964"/>
              <a:gd name="connsiteY97" fmla="*/ 441576 h 1224226"/>
              <a:gd name="connsiteX98" fmla="*/ 837894 w 1176964"/>
              <a:gd name="connsiteY98" fmla="*/ 434305 h 1224226"/>
              <a:gd name="connsiteX99" fmla="*/ 831334 w 1176964"/>
              <a:gd name="connsiteY99" fmla="*/ 427082 h 1224226"/>
              <a:gd name="connsiteX100" fmla="*/ 824723 w 1176964"/>
              <a:gd name="connsiteY100" fmla="*/ 419907 h 1224226"/>
              <a:gd name="connsiteX101" fmla="*/ 818060 w 1176964"/>
              <a:gd name="connsiteY101" fmla="*/ 412781 h 1224226"/>
              <a:gd name="connsiteX102" fmla="*/ 811346 w 1176964"/>
              <a:gd name="connsiteY102" fmla="*/ 405704 h 1224226"/>
              <a:gd name="connsiteX103" fmla="*/ 804580 w 1176964"/>
              <a:gd name="connsiteY103" fmla="*/ 398676 h 1224226"/>
              <a:gd name="connsiteX104" fmla="*/ 797764 w 1176964"/>
              <a:gd name="connsiteY104" fmla="*/ 391697 h 1224226"/>
              <a:gd name="connsiteX105" fmla="*/ 790898 w 1176964"/>
              <a:gd name="connsiteY105" fmla="*/ 384768 h 1224226"/>
              <a:gd name="connsiteX106" fmla="*/ 783981 w 1176964"/>
              <a:gd name="connsiteY106" fmla="*/ 377889 h 1224226"/>
              <a:gd name="connsiteX107" fmla="*/ 777015 w 1176964"/>
              <a:gd name="connsiteY107" fmla="*/ 371061 h 1224226"/>
              <a:gd name="connsiteX108" fmla="*/ 769999 w 1176964"/>
              <a:gd name="connsiteY108" fmla="*/ 364283 h 1224226"/>
              <a:gd name="connsiteX109" fmla="*/ 762933 w 1176964"/>
              <a:gd name="connsiteY109" fmla="*/ 357557 h 1224226"/>
              <a:gd name="connsiteX110" fmla="*/ 755819 w 1176964"/>
              <a:gd name="connsiteY110" fmla="*/ 350881 h 1224226"/>
              <a:gd name="connsiteX111" fmla="*/ 748656 w 1176964"/>
              <a:gd name="connsiteY111" fmla="*/ 344257 h 1224226"/>
              <a:gd name="connsiteX112" fmla="*/ 741445 w 1176964"/>
              <a:gd name="connsiteY112" fmla="*/ 337685 h 1224226"/>
              <a:gd name="connsiteX113" fmla="*/ 734185 w 1176964"/>
              <a:gd name="connsiteY113" fmla="*/ 331165 h 1224226"/>
              <a:gd name="connsiteX114" fmla="*/ 726878 w 1176964"/>
              <a:gd name="connsiteY114" fmla="*/ 324698 h 1224226"/>
              <a:gd name="connsiteX115" fmla="*/ 719524 w 1176964"/>
              <a:gd name="connsiteY115" fmla="*/ 318283 h 1224226"/>
              <a:gd name="connsiteX116" fmla="*/ 712122 w 1176964"/>
              <a:gd name="connsiteY116" fmla="*/ 311921 h 1224226"/>
              <a:gd name="connsiteX117" fmla="*/ 704673 w 1176964"/>
              <a:gd name="connsiteY117" fmla="*/ 305613 h 1224226"/>
              <a:gd name="connsiteX118" fmla="*/ 697178 w 1176964"/>
              <a:gd name="connsiteY118" fmla="*/ 299358 h 1224226"/>
              <a:gd name="connsiteX119" fmla="*/ 689636 w 1176964"/>
              <a:gd name="connsiteY119" fmla="*/ 293157 h 1224226"/>
              <a:gd name="connsiteX120" fmla="*/ 682049 w 1176964"/>
              <a:gd name="connsiteY120" fmla="*/ 287010 h 1224226"/>
              <a:gd name="connsiteX121" fmla="*/ 674415 w 1176964"/>
              <a:gd name="connsiteY121" fmla="*/ 280918 h 1224226"/>
              <a:gd name="connsiteX122" fmla="*/ 666737 w 1176964"/>
              <a:gd name="connsiteY122" fmla="*/ 274881 h 1224226"/>
              <a:gd name="connsiteX123" fmla="*/ 659013 w 1176964"/>
              <a:gd name="connsiteY123" fmla="*/ 268899 h 1224226"/>
              <a:gd name="connsiteX124" fmla="*/ 651245 w 1176964"/>
              <a:gd name="connsiteY124" fmla="*/ 262972 h 1224226"/>
              <a:gd name="connsiteX125" fmla="*/ 643431 w 1176964"/>
              <a:gd name="connsiteY125" fmla="*/ 257101 h 1224226"/>
              <a:gd name="connsiteX126" fmla="*/ 635574 w 1176964"/>
              <a:gd name="connsiteY126" fmla="*/ 251286 h 1224226"/>
              <a:gd name="connsiteX127" fmla="*/ 627673 w 1176964"/>
              <a:gd name="connsiteY127" fmla="*/ 245527 h 1224226"/>
              <a:gd name="connsiteX128" fmla="*/ 619728 w 1176964"/>
              <a:gd name="connsiteY128" fmla="*/ 239825 h 1224226"/>
              <a:gd name="connsiteX129" fmla="*/ 611740 w 1176964"/>
              <a:gd name="connsiteY129" fmla="*/ 234179 h 1224226"/>
              <a:gd name="connsiteX130" fmla="*/ 603709 w 1176964"/>
              <a:gd name="connsiteY130" fmla="*/ 228591 h 1224226"/>
              <a:gd name="connsiteX131" fmla="*/ 595635 w 1176964"/>
              <a:gd name="connsiteY131" fmla="*/ 223061 h 1224226"/>
              <a:gd name="connsiteX132" fmla="*/ 587518 w 1176964"/>
              <a:gd name="connsiteY132" fmla="*/ 217588 h 1224226"/>
              <a:gd name="connsiteX133" fmla="*/ 579360 w 1176964"/>
              <a:gd name="connsiteY133" fmla="*/ 212173 h 1224226"/>
              <a:gd name="connsiteX134" fmla="*/ 571160 w 1176964"/>
              <a:gd name="connsiteY134" fmla="*/ 206817 h 1224226"/>
              <a:gd name="connsiteX135" fmla="*/ 562918 w 1176964"/>
              <a:gd name="connsiteY135" fmla="*/ 201519 h 1224226"/>
              <a:gd name="connsiteX136" fmla="*/ 554634 w 1176964"/>
              <a:gd name="connsiteY136" fmla="*/ 196280 h 1224226"/>
              <a:gd name="connsiteX137" fmla="*/ 546310 w 1176964"/>
              <a:gd name="connsiteY137" fmla="*/ 191101 h 1224226"/>
              <a:gd name="connsiteX138" fmla="*/ 537946 w 1176964"/>
              <a:gd name="connsiteY138" fmla="*/ 185981 h 1224226"/>
              <a:gd name="connsiteX139" fmla="*/ 529540 w 1176964"/>
              <a:gd name="connsiteY139" fmla="*/ 180921 h 1224226"/>
              <a:gd name="connsiteX140" fmla="*/ 521095 w 1176964"/>
              <a:gd name="connsiteY140" fmla="*/ 175921 h 1224226"/>
              <a:gd name="connsiteX141" fmla="*/ 512610 w 1176964"/>
              <a:gd name="connsiteY141" fmla="*/ 170981 h 1224226"/>
              <a:gd name="connsiteX142" fmla="*/ 504086 w 1176964"/>
              <a:gd name="connsiteY142" fmla="*/ 166103 h 1224226"/>
              <a:gd name="connsiteX143" fmla="*/ 495522 w 1176964"/>
              <a:gd name="connsiteY143" fmla="*/ 161285 h 1224226"/>
              <a:gd name="connsiteX144" fmla="*/ 486920 w 1176964"/>
              <a:gd name="connsiteY144" fmla="*/ 156529 h 1224226"/>
              <a:gd name="connsiteX145" fmla="*/ 478279 w 1176964"/>
              <a:gd name="connsiteY145" fmla="*/ 151834 h 1224226"/>
              <a:gd name="connsiteX146" fmla="*/ 469599 w 1176964"/>
              <a:gd name="connsiteY146" fmla="*/ 147201 h 1224226"/>
              <a:gd name="connsiteX147" fmla="*/ 460882 w 1176964"/>
              <a:gd name="connsiteY147" fmla="*/ 142630 h 1224226"/>
              <a:gd name="connsiteX148" fmla="*/ 452127 w 1176964"/>
              <a:gd name="connsiteY148" fmla="*/ 138122 h 1224226"/>
              <a:gd name="connsiteX149" fmla="*/ 443334 w 1176964"/>
              <a:gd name="connsiteY149" fmla="*/ 133677 h 1224226"/>
              <a:gd name="connsiteX150" fmla="*/ 434505 w 1176964"/>
              <a:gd name="connsiteY150" fmla="*/ 129295 h 1224226"/>
              <a:gd name="connsiteX151" fmla="*/ 425639 w 1176964"/>
              <a:gd name="connsiteY151" fmla="*/ 124976 h 1224226"/>
              <a:gd name="connsiteX152" fmla="*/ 416736 w 1176964"/>
              <a:gd name="connsiteY152" fmla="*/ 120721 h 1224226"/>
              <a:gd name="connsiteX153" fmla="*/ 407797 w 1176964"/>
              <a:gd name="connsiteY153" fmla="*/ 116530 h 1224226"/>
              <a:gd name="connsiteX154" fmla="*/ 398822 w 1176964"/>
              <a:gd name="connsiteY154" fmla="*/ 112403 h 1224226"/>
              <a:gd name="connsiteX155" fmla="*/ 389811 w 1176964"/>
              <a:gd name="connsiteY155" fmla="*/ 108341 h 1224226"/>
              <a:gd name="connsiteX156" fmla="*/ 380765 w 1176964"/>
              <a:gd name="connsiteY156" fmla="*/ 104344 h 1224226"/>
              <a:gd name="connsiteX157" fmla="*/ 371684 w 1176964"/>
              <a:gd name="connsiteY157" fmla="*/ 100412 h 1224226"/>
              <a:gd name="connsiteX158" fmla="*/ 362568 w 1176964"/>
              <a:gd name="connsiteY158" fmla="*/ 96546 h 1224226"/>
              <a:gd name="connsiteX159" fmla="*/ 353418 w 1176964"/>
              <a:gd name="connsiteY159" fmla="*/ 92745 h 1224226"/>
              <a:gd name="connsiteX160" fmla="*/ 344234 w 1176964"/>
              <a:gd name="connsiteY160" fmla="*/ 89010 h 1224226"/>
              <a:gd name="connsiteX161" fmla="*/ 335016 w 1176964"/>
              <a:gd name="connsiteY161" fmla="*/ 85342 h 1224226"/>
              <a:gd name="connsiteX162" fmla="*/ 325764 w 1176964"/>
              <a:gd name="connsiteY162" fmla="*/ 81740 h 1224226"/>
              <a:gd name="connsiteX163" fmla="*/ 316479 w 1176964"/>
              <a:gd name="connsiteY163" fmla="*/ 78205 h 1224226"/>
              <a:gd name="connsiteX164" fmla="*/ 307162 w 1176964"/>
              <a:gd name="connsiteY164" fmla="*/ 74738 h 1224226"/>
              <a:gd name="connsiteX165" fmla="*/ 297811 w 1176964"/>
              <a:gd name="connsiteY165" fmla="*/ 71338 h 1224226"/>
              <a:gd name="connsiteX166" fmla="*/ 288428 w 1176964"/>
              <a:gd name="connsiteY166" fmla="*/ 68006 h 1224226"/>
              <a:gd name="connsiteX167" fmla="*/ 279013 w 1176964"/>
              <a:gd name="connsiteY167" fmla="*/ 64743 h 1224226"/>
              <a:gd name="connsiteX168" fmla="*/ 269566 w 1176964"/>
              <a:gd name="connsiteY168" fmla="*/ 61547 h 1224226"/>
              <a:gd name="connsiteX169" fmla="*/ 260088 w 1176964"/>
              <a:gd name="connsiteY169" fmla="*/ 58421 h 1224226"/>
              <a:gd name="connsiteX170" fmla="*/ 250579 w 1176964"/>
              <a:gd name="connsiteY170" fmla="*/ 55363 h 1224226"/>
              <a:gd name="connsiteX171" fmla="*/ 241039 w 1176964"/>
              <a:gd name="connsiteY171" fmla="*/ 52375 h 1224226"/>
              <a:gd name="connsiteX172" fmla="*/ 231468 w 1176964"/>
              <a:gd name="connsiteY172" fmla="*/ 49456 h 1224226"/>
              <a:gd name="connsiteX173" fmla="*/ 221867 w 1176964"/>
              <a:gd name="connsiteY173" fmla="*/ 46607 h 1224226"/>
              <a:gd name="connsiteX174" fmla="*/ 212236 w 1176964"/>
              <a:gd name="connsiteY174" fmla="*/ 43829 h 1224226"/>
              <a:gd name="connsiteX175" fmla="*/ 202575 w 1176964"/>
              <a:gd name="connsiteY175" fmla="*/ 41121 h 1224226"/>
              <a:gd name="connsiteX176" fmla="*/ 192885 w 1176964"/>
              <a:gd name="connsiteY176" fmla="*/ 38484 h 1224226"/>
              <a:gd name="connsiteX177" fmla="*/ 183166 w 1176964"/>
              <a:gd name="connsiteY177" fmla="*/ 35918 h 1224226"/>
              <a:gd name="connsiteX178" fmla="*/ 173418 w 1176964"/>
              <a:gd name="connsiteY178" fmla="*/ 33423 h 1224226"/>
              <a:gd name="connsiteX179" fmla="*/ 163641 w 1176964"/>
              <a:gd name="connsiteY179" fmla="*/ 31000 h 1224226"/>
              <a:gd name="connsiteX180" fmla="*/ 153836 w 1176964"/>
              <a:gd name="connsiteY180" fmla="*/ 28650 h 1224226"/>
              <a:gd name="connsiteX181" fmla="*/ 144004 w 1176964"/>
              <a:gd name="connsiteY181" fmla="*/ 26371 h 1224226"/>
              <a:gd name="connsiteX182" fmla="*/ 134144 w 1176964"/>
              <a:gd name="connsiteY182" fmla="*/ 24165 h 1224226"/>
              <a:gd name="connsiteX183" fmla="*/ 124256 w 1176964"/>
              <a:gd name="connsiteY183" fmla="*/ 22032 h 1224226"/>
              <a:gd name="connsiteX184" fmla="*/ 114341 w 1176964"/>
              <a:gd name="connsiteY184" fmla="*/ 19972 h 1224226"/>
              <a:gd name="connsiteX185" fmla="*/ 104400 w 1176964"/>
              <a:gd name="connsiteY185" fmla="*/ 17986 h 1224226"/>
              <a:gd name="connsiteX186" fmla="*/ 94432 w 1176964"/>
              <a:gd name="connsiteY186" fmla="*/ 16073 h 1224226"/>
              <a:gd name="connsiteX187" fmla="*/ 84438 w 1176964"/>
              <a:gd name="connsiteY187" fmla="*/ 14235 h 1224226"/>
              <a:gd name="connsiteX188" fmla="*/ 74418 w 1176964"/>
              <a:gd name="connsiteY188" fmla="*/ 12471 h 1224226"/>
              <a:gd name="connsiteX189" fmla="*/ 64373 w 1176964"/>
              <a:gd name="connsiteY189" fmla="*/ 10781 h 1224226"/>
              <a:gd name="connsiteX190" fmla="*/ 54303 w 1176964"/>
              <a:gd name="connsiteY190" fmla="*/ 9167 h 1224226"/>
              <a:gd name="connsiteX191" fmla="*/ 44207 w 1176964"/>
              <a:gd name="connsiteY191" fmla="*/ 7628 h 1224226"/>
              <a:gd name="connsiteX192" fmla="*/ 34087 w 1176964"/>
              <a:gd name="connsiteY192" fmla="*/ 6164 h 1224226"/>
              <a:gd name="connsiteX193" fmla="*/ 23942 w 1176964"/>
              <a:gd name="connsiteY193" fmla="*/ 4776 h 1224226"/>
              <a:gd name="connsiteX194" fmla="*/ 13774 w 1176964"/>
              <a:gd name="connsiteY194" fmla="*/ 3465 h 1224226"/>
              <a:gd name="connsiteX195" fmla="*/ 3582 w 1176964"/>
              <a:gd name="connsiteY195" fmla="*/ 2229 h 1224226"/>
              <a:gd name="connsiteX196" fmla="*/ 0 w 1176964"/>
              <a:gd name="connsiteY196" fmla="*/ 1823 h 1224226"/>
              <a:gd name="connsiteX197" fmla="*/ 405937 w 1176964"/>
              <a:gd name="connsiteY197" fmla="*/ 1823 h 1224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</a:cxnLst>
            <a:rect l="l" t="t" r="r" b="b"/>
            <a:pathLst>
              <a:path w="1176964" h="1224226">
                <a:moveTo>
                  <a:pt x="414967" y="0"/>
                </a:moveTo>
                <a:lnTo>
                  <a:pt x="782255" y="0"/>
                </a:lnTo>
                <a:lnTo>
                  <a:pt x="1024561" y="0"/>
                </a:lnTo>
                <a:lnTo>
                  <a:pt x="1068808" y="0"/>
                </a:lnTo>
                <a:lnTo>
                  <a:pt x="1122562" y="0"/>
                </a:lnTo>
                <a:lnTo>
                  <a:pt x="1176963" y="0"/>
                </a:lnTo>
                <a:lnTo>
                  <a:pt x="1176963" y="152398"/>
                </a:lnTo>
                <a:lnTo>
                  <a:pt x="1176964" y="152403"/>
                </a:lnTo>
                <a:lnTo>
                  <a:pt x="1176964" y="326955"/>
                </a:lnTo>
                <a:lnTo>
                  <a:pt x="1176964" y="761997"/>
                </a:lnTo>
                <a:lnTo>
                  <a:pt x="1176964" y="1224226"/>
                </a:lnTo>
                <a:lnTo>
                  <a:pt x="1176135" y="1213914"/>
                </a:lnTo>
                <a:lnTo>
                  <a:pt x="1175227" y="1203625"/>
                </a:lnTo>
                <a:lnTo>
                  <a:pt x="1174242" y="1193357"/>
                </a:lnTo>
                <a:lnTo>
                  <a:pt x="1173180" y="1183113"/>
                </a:lnTo>
                <a:lnTo>
                  <a:pt x="1172040" y="1172891"/>
                </a:lnTo>
                <a:lnTo>
                  <a:pt x="1170824" y="1162693"/>
                </a:lnTo>
                <a:lnTo>
                  <a:pt x="1169531" y="1152519"/>
                </a:lnTo>
                <a:lnTo>
                  <a:pt x="1168162" y="1142368"/>
                </a:lnTo>
                <a:lnTo>
                  <a:pt x="1166717" y="1132242"/>
                </a:lnTo>
                <a:lnTo>
                  <a:pt x="1165196" y="1122141"/>
                </a:lnTo>
                <a:lnTo>
                  <a:pt x="1163600" y="1112064"/>
                </a:lnTo>
                <a:lnTo>
                  <a:pt x="1161929" y="1102013"/>
                </a:lnTo>
                <a:lnTo>
                  <a:pt x="1160183" y="1091987"/>
                </a:lnTo>
                <a:lnTo>
                  <a:pt x="1158363" y="1081986"/>
                </a:lnTo>
                <a:lnTo>
                  <a:pt x="1156468" y="1072012"/>
                </a:lnTo>
                <a:lnTo>
                  <a:pt x="1154500" y="1062064"/>
                </a:lnTo>
                <a:lnTo>
                  <a:pt x="1152458" y="1052143"/>
                </a:lnTo>
                <a:lnTo>
                  <a:pt x="1150343" y="1042249"/>
                </a:lnTo>
                <a:lnTo>
                  <a:pt x="1148155" y="1032382"/>
                </a:lnTo>
                <a:lnTo>
                  <a:pt x="1145894" y="1022542"/>
                </a:lnTo>
                <a:lnTo>
                  <a:pt x="1143561" y="1012731"/>
                </a:lnTo>
                <a:lnTo>
                  <a:pt x="1141156" y="1002947"/>
                </a:lnTo>
                <a:lnTo>
                  <a:pt x="1138679" y="993192"/>
                </a:lnTo>
                <a:lnTo>
                  <a:pt x="1136130" y="983466"/>
                </a:lnTo>
                <a:lnTo>
                  <a:pt x="1133510" y="973769"/>
                </a:lnTo>
                <a:lnTo>
                  <a:pt x="1130820" y="964101"/>
                </a:lnTo>
                <a:lnTo>
                  <a:pt x="1128059" y="954462"/>
                </a:lnTo>
                <a:lnTo>
                  <a:pt x="1125227" y="944854"/>
                </a:lnTo>
                <a:lnTo>
                  <a:pt x="1122326" y="935276"/>
                </a:lnTo>
                <a:lnTo>
                  <a:pt x="1119355" y="925728"/>
                </a:lnTo>
                <a:lnTo>
                  <a:pt x="1116314" y="916211"/>
                </a:lnTo>
                <a:lnTo>
                  <a:pt x="1113204" y="906726"/>
                </a:lnTo>
                <a:lnTo>
                  <a:pt x="1110025" y="897271"/>
                </a:lnTo>
                <a:lnTo>
                  <a:pt x="1106778" y="887849"/>
                </a:lnTo>
                <a:lnTo>
                  <a:pt x="1103463" y="878458"/>
                </a:lnTo>
                <a:lnTo>
                  <a:pt x="1100080" y="869099"/>
                </a:lnTo>
                <a:lnTo>
                  <a:pt x="1096629" y="859774"/>
                </a:lnTo>
                <a:lnTo>
                  <a:pt x="1093111" y="850480"/>
                </a:lnTo>
                <a:lnTo>
                  <a:pt x="1089525" y="841221"/>
                </a:lnTo>
                <a:lnTo>
                  <a:pt x="1085873" y="831995"/>
                </a:lnTo>
                <a:lnTo>
                  <a:pt x="1082155" y="822802"/>
                </a:lnTo>
                <a:lnTo>
                  <a:pt x="1078370" y="813643"/>
                </a:lnTo>
                <a:lnTo>
                  <a:pt x="1074520" y="804519"/>
                </a:lnTo>
                <a:lnTo>
                  <a:pt x="1070604" y="795430"/>
                </a:lnTo>
                <a:lnTo>
                  <a:pt x="1066622" y="786375"/>
                </a:lnTo>
                <a:lnTo>
                  <a:pt x="1062576" y="777356"/>
                </a:lnTo>
                <a:lnTo>
                  <a:pt x="1058465" y="768372"/>
                </a:lnTo>
                <a:lnTo>
                  <a:pt x="1054290" y="759425"/>
                </a:lnTo>
                <a:lnTo>
                  <a:pt x="1050050" y="750513"/>
                </a:lnTo>
                <a:lnTo>
                  <a:pt x="1045747" y="741638"/>
                </a:lnTo>
                <a:lnTo>
                  <a:pt x="1041381" y="732799"/>
                </a:lnTo>
                <a:lnTo>
                  <a:pt x="1036951" y="723998"/>
                </a:lnTo>
                <a:lnTo>
                  <a:pt x="1032458" y="715233"/>
                </a:lnTo>
                <a:lnTo>
                  <a:pt x="1027903" y="706507"/>
                </a:lnTo>
                <a:lnTo>
                  <a:pt x="1023285" y="697818"/>
                </a:lnTo>
                <a:lnTo>
                  <a:pt x="1018605" y="689168"/>
                </a:lnTo>
                <a:lnTo>
                  <a:pt x="1013864" y="680556"/>
                </a:lnTo>
                <a:lnTo>
                  <a:pt x="1009061" y="671983"/>
                </a:lnTo>
                <a:lnTo>
                  <a:pt x="1004197" y="663449"/>
                </a:lnTo>
                <a:lnTo>
                  <a:pt x="999273" y="654954"/>
                </a:lnTo>
                <a:lnTo>
                  <a:pt x="994288" y="646499"/>
                </a:lnTo>
                <a:lnTo>
                  <a:pt x="989242" y="638084"/>
                </a:lnTo>
                <a:lnTo>
                  <a:pt x="984137" y="629710"/>
                </a:lnTo>
                <a:lnTo>
                  <a:pt x="978972" y="621376"/>
                </a:lnTo>
                <a:lnTo>
                  <a:pt x="973748" y="613082"/>
                </a:lnTo>
                <a:lnTo>
                  <a:pt x="968464" y="604830"/>
                </a:lnTo>
                <a:lnTo>
                  <a:pt x="963122" y="596620"/>
                </a:lnTo>
                <a:lnTo>
                  <a:pt x="957721" y="588451"/>
                </a:lnTo>
                <a:lnTo>
                  <a:pt x="952263" y="580324"/>
                </a:lnTo>
                <a:lnTo>
                  <a:pt x="946746" y="572240"/>
                </a:lnTo>
                <a:lnTo>
                  <a:pt x="941172" y="564199"/>
                </a:lnTo>
                <a:lnTo>
                  <a:pt x="935541" y="556200"/>
                </a:lnTo>
                <a:lnTo>
                  <a:pt x="929852" y="548244"/>
                </a:lnTo>
                <a:lnTo>
                  <a:pt x="924108" y="540332"/>
                </a:lnTo>
                <a:lnTo>
                  <a:pt x="918306" y="532464"/>
                </a:lnTo>
                <a:lnTo>
                  <a:pt x="912449" y="524641"/>
                </a:lnTo>
                <a:lnTo>
                  <a:pt x="906535" y="516861"/>
                </a:lnTo>
                <a:lnTo>
                  <a:pt x="900567" y="509126"/>
                </a:lnTo>
                <a:lnTo>
                  <a:pt x="894543" y="501437"/>
                </a:lnTo>
                <a:lnTo>
                  <a:pt x="888464" y="493792"/>
                </a:lnTo>
                <a:lnTo>
                  <a:pt x="882331" y="486194"/>
                </a:lnTo>
                <a:lnTo>
                  <a:pt x="876143" y="478641"/>
                </a:lnTo>
                <a:lnTo>
                  <a:pt x="869901" y="471134"/>
                </a:lnTo>
                <a:lnTo>
                  <a:pt x="863606" y="463674"/>
                </a:lnTo>
                <a:lnTo>
                  <a:pt x="857258" y="456261"/>
                </a:lnTo>
                <a:lnTo>
                  <a:pt x="850856" y="448895"/>
                </a:lnTo>
                <a:lnTo>
                  <a:pt x="844401" y="441576"/>
                </a:lnTo>
                <a:lnTo>
                  <a:pt x="837894" y="434305"/>
                </a:lnTo>
                <a:lnTo>
                  <a:pt x="831334" y="427082"/>
                </a:lnTo>
                <a:lnTo>
                  <a:pt x="824723" y="419907"/>
                </a:lnTo>
                <a:lnTo>
                  <a:pt x="818060" y="412781"/>
                </a:lnTo>
                <a:lnTo>
                  <a:pt x="811346" y="405704"/>
                </a:lnTo>
                <a:lnTo>
                  <a:pt x="804580" y="398676"/>
                </a:lnTo>
                <a:lnTo>
                  <a:pt x="797764" y="391697"/>
                </a:lnTo>
                <a:lnTo>
                  <a:pt x="790898" y="384768"/>
                </a:lnTo>
                <a:lnTo>
                  <a:pt x="783981" y="377889"/>
                </a:lnTo>
                <a:lnTo>
                  <a:pt x="777015" y="371061"/>
                </a:lnTo>
                <a:lnTo>
                  <a:pt x="769999" y="364283"/>
                </a:lnTo>
                <a:lnTo>
                  <a:pt x="762933" y="357557"/>
                </a:lnTo>
                <a:lnTo>
                  <a:pt x="755819" y="350881"/>
                </a:lnTo>
                <a:lnTo>
                  <a:pt x="748656" y="344257"/>
                </a:lnTo>
                <a:lnTo>
                  <a:pt x="741445" y="337685"/>
                </a:lnTo>
                <a:lnTo>
                  <a:pt x="734185" y="331165"/>
                </a:lnTo>
                <a:lnTo>
                  <a:pt x="726878" y="324698"/>
                </a:lnTo>
                <a:lnTo>
                  <a:pt x="719524" y="318283"/>
                </a:lnTo>
                <a:lnTo>
                  <a:pt x="712122" y="311921"/>
                </a:lnTo>
                <a:lnTo>
                  <a:pt x="704673" y="305613"/>
                </a:lnTo>
                <a:lnTo>
                  <a:pt x="697178" y="299358"/>
                </a:lnTo>
                <a:lnTo>
                  <a:pt x="689636" y="293157"/>
                </a:lnTo>
                <a:lnTo>
                  <a:pt x="682049" y="287010"/>
                </a:lnTo>
                <a:lnTo>
                  <a:pt x="674415" y="280918"/>
                </a:lnTo>
                <a:lnTo>
                  <a:pt x="666737" y="274881"/>
                </a:lnTo>
                <a:lnTo>
                  <a:pt x="659013" y="268899"/>
                </a:lnTo>
                <a:lnTo>
                  <a:pt x="651245" y="262972"/>
                </a:lnTo>
                <a:lnTo>
                  <a:pt x="643431" y="257101"/>
                </a:lnTo>
                <a:lnTo>
                  <a:pt x="635574" y="251286"/>
                </a:lnTo>
                <a:lnTo>
                  <a:pt x="627673" y="245527"/>
                </a:lnTo>
                <a:lnTo>
                  <a:pt x="619728" y="239825"/>
                </a:lnTo>
                <a:lnTo>
                  <a:pt x="611740" y="234179"/>
                </a:lnTo>
                <a:lnTo>
                  <a:pt x="603709" y="228591"/>
                </a:lnTo>
                <a:lnTo>
                  <a:pt x="595635" y="223061"/>
                </a:lnTo>
                <a:lnTo>
                  <a:pt x="587518" y="217588"/>
                </a:lnTo>
                <a:lnTo>
                  <a:pt x="579360" y="212173"/>
                </a:lnTo>
                <a:lnTo>
                  <a:pt x="571160" y="206817"/>
                </a:lnTo>
                <a:lnTo>
                  <a:pt x="562918" y="201519"/>
                </a:lnTo>
                <a:lnTo>
                  <a:pt x="554634" y="196280"/>
                </a:lnTo>
                <a:lnTo>
                  <a:pt x="546310" y="191101"/>
                </a:lnTo>
                <a:lnTo>
                  <a:pt x="537946" y="185981"/>
                </a:lnTo>
                <a:lnTo>
                  <a:pt x="529540" y="180921"/>
                </a:lnTo>
                <a:lnTo>
                  <a:pt x="521095" y="175921"/>
                </a:lnTo>
                <a:lnTo>
                  <a:pt x="512610" y="170981"/>
                </a:lnTo>
                <a:lnTo>
                  <a:pt x="504086" y="166103"/>
                </a:lnTo>
                <a:lnTo>
                  <a:pt x="495522" y="161285"/>
                </a:lnTo>
                <a:lnTo>
                  <a:pt x="486920" y="156529"/>
                </a:lnTo>
                <a:lnTo>
                  <a:pt x="478279" y="151834"/>
                </a:lnTo>
                <a:lnTo>
                  <a:pt x="469599" y="147201"/>
                </a:lnTo>
                <a:lnTo>
                  <a:pt x="460882" y="142630"/>
                </a:lnTo>
                <a:lnTo>
                  <a:pt x="452127" y="138122"/>
                </a:lnTo>
                <a:lnTo>
                  <a:pt x="443334" y="133677"/>
                </a:lnTo>
                <a:lnTo>
                  <a:pt x="434505" y="129295"/>
                </a:lnTo>
                <a:lnTo>
                  <a:pt x="425639" y="124976"/>
                </a:lnTo>
                <a:lnTo>
                  <a:pt x="416736" y="120721"/>
                </a:lnTo>
                <a:lnTo>
                  <a:pt x="407797" y="116530"/>
                </a:lnTo>
                <a:lnTo>
                  <a:pt x="398822" y="112403"/>
                </a:lnTo>
                <a:lnTo>
                  <a:pt x="389811" y="108341"/>
                </a:lnTo>
                <a:lnTo>
                  <a:pt x="380765" y="104344"/>
                </a:lnTo>
                <a:lnTo>
                  <a:pt x="371684" y="100412"/>
                </a:lnTo>
                <a:lnTo>
                  <a:pt x="362568" y="96546"/>
                </a:lnTo>
                <a:lnTo>
                  <a:pt x="353418" y="92745"/>
                </a:lnTo>
                <a:lnTo>
                  <a:pt x="344234" y="89010"/>
                </a:lnTo>
                <a:lnTo>
                  <a:pt x="335016" y="85342"/>
                </a:lnTo>
                <a:lnTo>
                  <a:pt x="325764" y="81740"/>
                </a:lnTo>
                <a:lnTo>
                  <a:pt x="316479" y="78205"/>
                </a:lnTo>
                <a:lnTo>
                  <a:pt x="307162" y="74738"/>
                </a:lnTo>
                <a:lnTo>
                  <a:pt x="297811" y="71338"/>
                </a:lnTo>
                <a:lnTo>
                  <a:pt x="288428" y="68006"/>
                </a:lnTo>
                <a:lnTo>
                  <a:pt x="279013" y="64743"/>
                </a:lnTo>
                <a:lnTo>
                  <a:pt x="269566" y="61547"/>
                </a:lnTo>
                <a:lnTo>
                  <a:pt x="260088" y="58421"/>
                </a:lnTo>
                <a:lnTo>
                  <a:pt x="250579" y="55363"/>
                </a:lnTo>
                <a:lnTo>
                  <a:pt x="241039" y="52375"/>
                </a:lnTo>
                <a:lnTo>
                  <a:pt x="231468" y="49456"/>
                </a:lnTo>
                <a:lnTo>
                  <a:pt x="221867" y="46607"/>
                </a:lnTo>
                <a:lnTo>
                  <a:pt x="212236" y="43829"/>
                </a:lnTo>
                <a:lnTo>
                  <a:pt x="202575" y="41121"/>
                </a:lnTo>
                <a:lnTo>
                  <a:pt x="192885" y="38484"/>
                </a:lnTo>
                <a:lnTo>
                  <a:pt x="183166" y="35918"/>
                </a:lnTo>
                <a:lnTo>
                  <a:pt x="173418" y="33423"/>
                </a:lnTo>
                <a:lnTo>
                  <a:pt x="163641" y="31000"/>
                </a:lnTo>
                <a:lnTo>
                  <a:pt x="153836" y="28650"/>
                </a:lnTo>
                <a:lnTo>
                  <a:pt x="144004" y="26371"/>
                </a:lnTo>
                <a:lnTo>
                  <a:pt x="134144" y="24165"/>
                </a:lnTo>
                <a:lnTo>
                  <a:pt x="124256" y="22032"/>
                </a:lnTo>
                <a:lnTo>
                  <a:pt x="114341" y="19972"/>
                </a:lnTo>
                <a:lnTo>
                  <a:pt x="104400" y="17986"/>
                </a:lnTo>
                <a:lnTo>
                  <a:pt x="94432" y="16073"/>
                </a:lnTo>
                <a:lnTo>
                  <a:pt x="84438" y="14235"/>
                </a:lnTo>
                <a:lnTo>
                  <a:pt x="74418" y="12471"/>
                </a:lnTo>
                <a:lnTo>
                  <a:pt x="64373" y="10781"/>
                </a:lnTo>
                <a:lnTo>
                  <a:pt x="54303" y="9167"/>
                </a:lnTo>
                <a:lnTo>
                  <a:pt x="44207" y="7628"/>
                </a:lnTo>
                <a:lnTo>
                  <a:pt x="34087" y="6164"/>
                </a:lnTo>
                <a:lnTo>
                  <a:pt x="23942" y="4776"/>
                </a:lnTo>
                <a:lnTo>
                  <a:pt x="13774" y="3465"/>
                </a:lnTo>
                <a:lnTo>
                  <a:pt x="3582" y="2229"/>
                </a:lnTo>
                <a:lnTo>
                  <a:pt x="0" y="1823"/>
                </a:lnTo>
                <a:lnTo>
                  <a:pt x="405937" y="1823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205DF88-02FF-74EA-7D49-896C43C6FCBB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3" name="Title 9">
            <a:extLst>
              <a:ext uri="{FF2B5EF4-FFF2-40B4-BE49-F238E27FC236}">
                <a16:creationId xmlns:a16="http://schemas.microsoft.com/office/drawing/2014/main" id="{D717C545-132B-53C4-DD95-480705D6E32B}"/>
              </a:ext>
            </a:extLst>
          </p:cNvPr>
          <p:cNvSpPr txBox="1">
            <a:spLocks/>
          </p:cNvSpPr>
          <p:nvPr/>
        </p:nvSpPr>
        <p:spPr>
          <a:xfrm>
            <a:off x="1468177" y="335888"/>
            <a:ext cx="10985500" cy="622300"/>
          </a:xfrm>
          <a:prstGeom prst="rect">
            <a:avLst/>
          </a:prstGeom>
        </p:spPr>
        <p:txBody>
          <a:bodyPr vert="horz" lIns="0" tIns="0" rIns="0" bIns="0" anchor="ctr"/>
          <a:lstStyle>
            <a:defPPr>
              <a:defRPr lang="en-US"/>
            </a:defPPr>
            <a:lvl1pPr>
              <a:lnSpc>
                <a:spcPct val="90000"/>
              </a:lnSpc>
              <a:spcBef>
                <a:spcPct val="0"/>
              </a:spcBef>
              <a:buNone/>
              <a:defRPr sz="3200" b="1" spc="-2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900" b="1" i="0" u="none" strike="noStrike" kern="1200" cap="none" spc="-2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EPSICO OFFERS RECYCLING BINS TO SUIT CUSTOMER NEED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B0A72CB-41AC-0BA0-276A-451E4D325136}"/>
              </a:ext>
            </a:extLst>
          </p:cNvPr>
          <p:cNvSpPr txBox="1"/>
          <p:nvPr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EE3F35-5EAA-0344-B6FC-083E415BACD9}" type="slidenum">
              <a:rPr kumimoji="0" lang="en-US" sz="700" b="0" i="0" u="none" strike="noStrike" kern="1200" cap="none" spc="300" normalizeH="0" baseline="0" noProof="0" smtClean="0">
                <a:ln>
                  <a:noFill/>
                </a:ln>
                <a:solidFill>
                  <a:srgbClr val="0065E5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700" b="0" i="0" u="none" strike="noStrike" kern="1200" cap="none" spc="300" normalizeH="0" baseline="0" noProof="0">
              <a:ln>
                <a:noFill/>
              </a:ln>
              <a:solidFill>
                <a:srgbClr val="0065E5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A4B9BF6-E3A2-DB52-FC67-8A2536F2FB7D}"/>
              </a:ext>
            </a:extLst>
          </p:cNvPr>
          <p:cNvGrpSpPr/>
          <p:nvPr/>
        </p:nvGrpSpPr>
        <p:grpSpPr>
          <a:xfrm flipH="1">
            <a:off x="11177515" y="0"/>
            <a:ext cx="1014483" cy="1132764"/>
            <a:chOff x="0" y="-1390"/>
            <a:chExt cx="5292946" cy="544632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A296C7F2-1E7A-AE5C-0C97-1726DA3CE683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-1390"/>
              <a:ext cx="5292946" cy="5286305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F68B943B-18C9-B3ED-DE27-0B2284EB3B6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165350" y="4549214"/>
              <a:ext cx="895724" cy="895724"/>
            </a:xfrm>
            <a:prstGeom prst="rect">
              <a:avLst/>
            </a:prstGeom>
          </p:spPr>
        </p:pic>
      </p:grpSp>
      <p:pic>
        <p:nvPicPr>
          <p:cNvPr id="13" name="Graphic 12">
            <a:extLst>
              <a:ext uri="{FF2B5EF4-FFF2-40B4-BE49-F238E27FC236}">
                <a16:creationId xmlns:a16="http://schemas.microsoft.com/office/drawing/2014/main" id="{7ADC600D-F42D-E331-F34E-D3C4183639FC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45475" y="4632662"/>
            <a:ext cx="308770" cy="46932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9E8C8BA-7E35-B1B9-C6E2-C9C315D8DFE2}"/>
              </a:ext>
            </a:extLst>
          </p:cNvPr>
          <p:cNvSpPr txBox="1"/>
          <p:nvPr/>
        </p:nvSpPr>
        <p:spPr>
          <a:xfrm>
            <a:off x="4674038" y="3913698"/>
            <a:ext cx="9706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0000"/>
                </a:solidFill>
                <a:effectLst/>
                <a:highlight>
                  <a:srgbClr val="FFFF00"/>
                </a:highlight>
                <a:uLnTx/>
                <a:uFillTx/>
                <a:latin typeface="Calibri" panose="020F0502020204030204"/>
                <a:ea typeface="+mn-ea"/>
                <a:cs typeface="+mn-cs"/>
              </a:rPr>
              <a:t>FPO</a:t>
            </a:r>
          </a:p>
        </p:txBody>
      </p:sp>
      <p:pic>
        <p:nvPicPr>
          <p:cNvPr id="40" name="Picture 39">
            <a:extLst>
              <a:ext uri="{FF2B5EF4-FFF2-40B4-BE49-F238E27FC236}">
                <a16:creationId xmlns:a16="http://schemas.microsoft.com/office/drawing/2014/main" id="{3A5E4F52-FA2F-0EAA-64C1-D88F35118725}"/>
              </a:ext>
            </a:extLst>
          </p:cNvPr>
          <p:cNvPicPr>
            <a:picLocks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1576" r="11576"/>
          <a:stretch/>
        </p:blipFill>
        <p:spPr>
          <a:xfrm>
            <a:off x="3513438" y="1761509"/>
            <a:ext cx="1904238" cy="2477942"/>
          </a:xfrm>
          <a:prstGeom prst="roundRect">
            <a:avLst>
              <a:gd name="adj" fmla="val 4000"/>
            </a:avLst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FA216B5B-E14C-84B8-231D-36B719164166}"/>
              </a:ext>
            </a:extLst>
          </p:cNvPr>
          <p:cNvGrpSpPr/>
          <p:nvPr/>
        </p:nvGrpSpPr>
        <p:grpSpPr>
          <a:xfrm>
            <a:off x="-113341" y="70660"/>
            <a:ext cx="1660531" cy="816195"/>
            <a:chOff x="4744304" y="4019935"/>
            <a:chExt cx="2431183" cy="1194992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27B3153F-457A-5AF6-31F8-0880BF9305AE}"/>
                </a:ext>
              </a:extLst>
            </p:cNvPr>
            <p:cNvSpPr txBox="1"/>
            <p:nvPr/>
          </p:nvSpPr>
          <p:spPr>
            <a:xfrm>
              <a:off x="4744304" y="4722484"/>
              <a:ext cx="2431183" cy="492443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POSITIVE</a:t>
              </a:r>
              <a:b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</a:br>
              <a:r>
                <a:rPr kumimoji="0" lang="en-US" sz="13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Calibri" panose="020F0502020204030204" pitchFamily="34" charset="0"/>
                </a:rPr>
                <a:t>VALUE CHAIN</a:t>
              </a:r>
            </a:p>
          </p:txBody>
        </p:sp>
        <p:pic>
          <p:nvPicPr>
            <p:cNvPr id="33" name="Picture 32" descr="A blue and green windmill with arrows around it&#10;&#10;Description automatically generated">
              <a:extLst>
                <a:ext uri="{FF2B5EF4-FFF2-40B4-BE49-F238E27FC236}">
                  <a16:creationId xmlns:a16="http://schemas.microsoft.com/office/drawing/2014/main" id="{3C974C3A-2AA4-54D3-BFBB-1BF6A8B23C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10575" y="4019935"/>
              <a:ext cx="656095" cy="6560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02137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Rectangle 70">
            <a:extLst>
              <a:ext uri="{FF2B5EF4-FFF2-40B4-BE49-F238E27FC236}">
                <a16:creationId xmlns:a16="http://schemas.microsoft.com/office/drawing/2014/main" id="{A7D80279-BED8-187C-64BB-169E03ED98BA}"/>
              </a:ext>
            </a:extLst>
          </p:cNvPr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133CCF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7143F7D2-1A74-08C6-C4FC-B3EEC7C82557}"/>
              </a:ext>
            </a:extLst>
          </p:cNvPr>
          <p:cNvSpPr/>
          <p:nvPr/>
        </p:nvSpPr>
        <p:spPr>
          <a:xfrm>
            <a:off x="0" y="0"/>
            <a:ext cx="12192000" cy="1683658"/>
          </a:xfrm>
          <a:prstGeom prst="rect">
            <a:avLst/>
          </a:prstGeom>
          <a:solidFill>
            <a:srgbClr val="0052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C2AA6D23-ACE2-D35A-97AC-49566FD188AA}"/>
              </a:ext>
            </a:extLst>
          </p:cNvPr>
          <p:cNvSpPr/>
          <p:nvPr/>
        </p:nvSpPr>
        <p:spPr>
          <a:xfrm flipH="1">
            <a:off x="2162629" y="380164"/>
            <a:ext cx="7866742" cy="923330"/>
          </a:xfrm>
          <a:prstGeom prst="rect">
            <a:avLst/>
          </a:prstGeom>
          <a:noFill/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en-US" sz="3000" b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COMMERCIAL SUSTAINABILITY CONTACTS</a:t>
            </a:r>
            <a:br>
              <a:rPr lang="en-US" sz="3000" b="1">
                <a:solidFill>
                  <a:schemeClr val="bg1"/>
                </a:solidFill>
                <a:latin typeface="+mj-lt"/>
                <a:ea typeface="+mj-ea"/>
                <a:cs typeface="+mj-cs"/>
              </a:rPr>
            </a:br>
            <a:r>
              <a:rPr lang="en-US" sz="3000" b="1" i="1">
                <a:solidFill>
                  <a:schemeClr val="bg1"/>
                </a:solidFill>
                <a:latin typeface="+mj-lt"/>
                <a:ea typeface="+mj-ea"/>
                <a:cs typeface="+mj-cs"/>
              </a:rPr>
              <a:t>LET’S PARTNER!</a:t>
            </a: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8BC78AF9-8DD3-68A5-1606-A267F4B5880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5754914"/>
            <a:ext cx="1069760" cy="1103086"/>
          </a:xfrm>
          <a:prstGeom prst="rect">
            <a:avLst/>
          </a:prstGeom>
        </p:spPr>
      </p:pic>
      <p:pic>
        <p:nvPicPr>
          <p:cNvPr id="74" name="Picture 73">
            <a:extLst>
              <a:ext uri="{FF2B5EF4-FFF2-40B4-BE49-F238E27FC236}">
                <a16:creationId xmlns:a16="http://schemas.microsoft.com/office/drawing/2014/main" id="{E2F4ACD1-D8C4-35A7-BD86-9F462A0851C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40002" y="5791275"/>
            <a:ext cx="1051998" cy="1066725"/>
          </a:xfrm>
          <a:prstGeom prst="rect">
            <a:avLst/>
          </a:prstGeom>
        </p:spPr>
      </p:pic>
      <p:grpSp>
        <p:nvGrpSpPr>
          <p:cNvPr id="75" name="Group 74">
            <a:extLst>
              <a:ext uri="{FF2B5EF4-FFF2-40B4-BE49-F238E27FC236}">
                <a16:creationId xmlns:a16="http://schemas.microsoft.com/office/drawing/2014/main" id="{68CDC209-6B81-9B55-D092-4B797B0B5729}"/>
              </a:ext>
            </a:extLst>
          </p:cNvPr>
          <p:cNvGrpSpPr/>
          <p:nvPr/>
        </p:nvGrpSpPr>
        <p:grpSpPr>
          <a:xfrm flipV="1">
            <a:off x="11139720" y="0"/>
            <a:ext cx="1052280" cy="1052288"/>
            <a:chOff x="11139721" y="5805713"/>
            <a:chExt cx="1052280" cy="1052288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5FD6B2F-BECF-CC2E-78D3-004C2BB26120}"/>
                </a:ext>
              </a:extLst>
            </p:cNvPr>
            <p:cNvSpPr/>
            <p:nvPr/>
          </p:nvSpPr>
          <p:spPr>
            <a:xfrm>
              <a:off x="11139721" y="5805713"/>
              <a:ext cx="1052280" cy="1052288"/>
            </a:xfrm>
            <a:custGeom>
              <a:avLst/>
              <a:gdLst>
                <a:gd name="connsiteX0" fmla="*/ 1052280 w 1052280"/>
                <a:gd name="connsiteY0" fmla="*/ 0 h 1052288"/>
                <a:gd name="connsiteX1" fmla="*/ 1052280 w 1052280"/>
                <a:gd name="connsiteY1" fmla="*/ 1052288 h 1052288"/>
                <a:gd name="connsiteX2" fmla="*/ 0 w 1052280"/>
                <a:gd name="connsiteY2" fmla="*/ 1052288 h 1052288"/>
                <a:gd name="connsiteX3" fmla="*/ 1052280 w 1052280"/>
                <a:gd name="connsiteY3" fmla="*/ 0 h 10522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52280" h="1052288">
                  <a:moveTo>
                    <a:pt x="1052280" y="0"/>
                  </a:moveTo>
                  <a:lnTo>
                    <a:pt x="1052280" y="1052288"/>
                  </a:lnTo>
                  <a:lnTo>
                    <a:pt x="0" y="1052288"/>
                  </a:lnTo>
                  <a:cubicBezTo>
                    <a:pt x="581125" y="1052288"/>
                    <a:pt x="1052280" y="581130"/>
                    <a:pt x="1052280" y="0"/>
                  </a:cubicBezTo>
                  <a:close/>
                </a:path>
              </a:pathLst>
            </a:custGeom>
            <a:solidFill>
              <a:srgbClr val="8EDC43"/>
            </a:solidFill>
            <a:ln w="1788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1D999CCA-8EB1-5044-FE53-AE19FB57F521}"/>
                </a:ext>
              </a:extLst>
            </p:cNvPr>
            <p:cNvGrpSpPr/>
            <p:nvPr/>
          </p:nvGrpSpPr>
          <p:grpSpPr>
            <a:xfrm>
              <a:off x="11342613" y="6117099"/>
              <a:ext cx="490943" cy="497085"/>
              <a:chOff x="10732103" y="6210946"/>
              <a:chExt cx="1006277" cy="1018869"/>
            </a:xfrm>
          </p:grpSpPr>
          <p:sp>
            <p:nvSpPr>
              <p:cNvPr id="78" name="Freeform: Shape 77">
                <a:extLst>
                  <a:ext uri="{FF2B5EF4-FFF2-40B4-BE49-F238E27FC236}">
                    <a16:creationId xmlns:a16="http://schemas.microsoft.com/office/drawing/2014/main" id="{6274E7A6-AAD1-9EED-E781-46F2DAC51FFC}"/>
                  </a:ext>
                </a:extLst>
              </p:cNvPr>
              <p:cNvSpPr/>
              <p:nvPr/>
            </p:nvSpPr>
            <p:spPr>
              <a:xfrm>
                <a:off x="10738446" y="6777435"/>
                <a:ext cx="368617" cy="452380"/>
              </a:xfrm>
              <a:custGeom>
                <a:avLst/>
                <a:gdLst>
                  <a:gd name="connsiteX0" fmla="*/ 368618 w 368617"/>
                  <a:gd name="connsiteY0" fmla="*/ 257842 h 452380"/>
                  <a:gd name="connsiteX1" fmla="*/ 367951 w 368617"/>
                  <a:gd name="connsiteY1" fmla="*/ 245459 h 452380"/>
                  <a:gd name="connsiteX2" fmla="*/ 366808 w 368617"/>
                  <a:gd name="connsiteY2" fmla="*/ 241745 h 452380"/>
                  <a:gd name="connsiteX3" fmla="*/ 365284 w 368617"/>
                  <a:gd name="connsiteY3" fmla="*/ 238601 h 452380"/>
                  <a:gd name="connsiteX4" fmla="*/ 362426 w 368617"/>
                  <a:gd name="connsiteY4" fmla="*/ 228124 h 452380"/>
                  <a:gd name="connsiteX5" fmla="*/ 353854 w 368617"/>
                  <a:gd name="connsiteY5" fmla="*/ 222028 h 452380"/>
                  <a:gd name="connsiteX6" fmla="*/ 339281 w 368617"/>
                  <a:gd name="connsiteY6" fmla="*/ 213360 h 452380"/>
                  <a:gd name="connsiteX7" fmla="*/ 332708 w 368617"/>
                  <a:gd name="connsiteY7" fmla="*/ 210979 h 452380"/>
                  <a:gd name="connsiteX8" fmla="*/ 324517 w 368617"/>
                  <a:gd name="connsiteY8" fmla="*/ 208312 h 452380"/>
                  <a:gd name="connsiteX9" fmla="*/ 323183 w 368617"/>
                  <a:gd name="connsiteY9" fmla="*/ 206121 h 452380"/>
                  <a:gd name="connsiteX10" fmla="*/ 318707 w 368617"/>
                  <a:gd name="connsiteY10" fmla="*/ 205073 h 452380"/>
                  <a:gd name="connsiteX11" fmla="*/ 309944 w 368617"/>
                  <a:gd name="connsiteY11" fmla="*/ 202502 h 452380"/>
                  <a:gd name="connsiteX12" fmla="*/ 308800 w 368617"/>
                  <a:gd name="connsiteY12" fmla="*/ 202692 h 452380"/>
                  <a:gd name="connsiteX13" fmla="*/ 304705 w 368617"/>
                  <a:gd name="connsiteY13" fmla="*/ 203930 h 452380"/>
                  <a:gd name="connsiteX14" fmla="*/ 303086 w 368617"/>
                  <a:gd name="connsiteY14" fmla="*/ 202787 h 452380"/>
                  <a:gd name="connsiteX15" fmla="*/ 297370 w 368617"/>
                  <a:gd name="connsiteY15" fmla="*/ 199358 h 452380"/>
                  <a:gd name="connsiteX16" fmla="*/ 289274 w 368617"/>
                  <a:gd name="connsiteY16" fmla="*/ 197644 h 452380"/>
                  <a:gd name="connsiteX17" fmla="*/ 282797 w 368617"/>
                  <a:gd name="connsiteY17" fmla="*/ 197644 h 452380"/>
                  <a:gd name="connsiteX18" fmla="*/ 278701 w 368617"/>
                  <a:gd name="connsiteY18" fmla="*/ 195929 h 452380"/>
                  <a:gd name="connsiteX19" fmla="*/ 277940 w 368617"/>
                  <a:gd name="connsiteY19" fmla="*/ 200692 h 452380"/>
                  <a:gd name="connsiteX20" fmla="*/ 275558 w 368617"/>
                  <a:gd name="connsiteY20" fmla="*/ 195453 h 452380"/>
                  <a:gd name="connsiteX21" fmla="*/ 272606 w 368617"/>
                  <a:gd name="connsiteY21" fmla="*/ 198025 h 452380"/>
                  <a:gd name="connsiteX22" fmla="*/ 260223 w 368617"/>
                  <a:gd name="connsiteY22" fmla="*/ 197453 h 452380"/>
                  <a:gd name="connsiteX23" fmla="*/ 249555 w 368617"/>
                  <a:gd name="connsiteY23" fmla="*/ 197072 h 452380"/>
                  <a:gd name="connsiteX24" fmla="*/ 238411 w 368617"/>
                  <a:gd name="connsiteY24" fmla="*/ 199263 h 452380"/>
                  <a:gd name="connsiteX25" fmla="*/ 238316 w 368617"/>
                  <a:gd name="connsiteY25" fmla="*/ 198787 h 452380"/>
                  <a:gd name="connsiteX26" fmla="*/ 236982 w 368617"/>
                  <a:gd name="connsiteY26" fmla="*/ 195548 h 452380"/>
                  <a:gd name="connsiteX27" fmla="*/ 237744 w 368617"/>
                  <a:gd name="connsiteY27" fmla="*/ 192596 h 452380"/>
                  <a:gd name="connsiteX28" fmla="*/ 248031 w 368617"/>
                  <a:gd name="connsiteY28" fmla="*/ 178498 h 452380"/>
                  <a:gd name="connsiteX29" fmla="*/ 259175 w 368617"/>
                  <a:gd name="connsiteY29" fmla="*/ 160782 h 452380"/>
                  <a:gd name="connsiteX30" fmla="*/ 260699 w 368617"/>
                  <a:gd name="connsiteY30" fmla="*/ 159829 h 452380"/>
                  <a:gd name="connsiteX31" fmla="*/ 262604 w 368617"/>
                  <a:gd name="connsiteY31" fmla="*/ 157829 h 452380"/>
                  <a:gd name="connsiteX32" fmla="*/ 265747 w 368617"/>
                  <a:gd name="connsiteY32" fmla="*/ 153734 h 452380"/>
                  <a:gd name="connsiteX33" fmla="*/ 270986 w 368617"/>
                  <a:gd name="connsiteY33" fmla="*/ 147542 h 452380"/>
                  <a:gd name="connsiteX34" fmla="*/ 274320 w 368617"/>
                  <a:gd name="connsiteY34" fmla="*/ 143066 h 452380"/>
                  <a:gd name="connsiteX35" fmla="*/ 276416 w 368617"/>
                  <a:gd name="connsiteY35" fmla="*/ 136398 h 452380"/>
                  <a:gd name="connsiteX36" fmla="*/ 277654 w 368617"/>
                  <a:gd name="connsiteY36" fmla="*/ 134207 h 452380"/>
                  <a:gd name="connsiteX37" fmla="*/ 287084 w 368617"/>
                  <a:gd name="connsiteY37" fmla="*/ 125349 h 452380"/>
                  <a:gd name="connsiteX38" fmla="*/ 292322 w 368617"/>
                  <a:gd name="connsiteY38" fmla="*/ 114491 h 452380"/>
                  <a:gd name="connsiteX39" fmla="*/ 294418 w 368617"/>
                  <a:gd name="connsiteY39" fmla="*/ 112681 h 452380"/>
                  <a:gd name="connsiteX40" fmla="*/ 300133 w 368617"/>
                  <a:gd name="connsiteY40" fmla="*/ 102108 h 452380"/>
                  <a:gd name="connsiteX41" fmla="*/ 300895 w 368617"/>
                  <a:gd name="connsiteY41" fmla="*/ 100870 h 452380"/>
                  <a:gd name="connsiteX42" fmla="*/ 307372 w 368617"/>
                  <a:gd name="connsiteY42" fmla="*/ 90488 h 452380"/>
                  <a:gd name="connsiteX43" fmla="*/ 315373 w 368617"/>
                  <a:gd name="connsiteY43" fmla="*/ 72676 h 452380"/>
                  <a:gd name="connsiteX44" fmla="*/ 321564 w 368617"/>
                  <a:gd name="connsiteY44" fmla="*/ 32480 h 452380"/>
                  <a:gd name="connsiteX45" fmla="*/ 315182 w 368617"/>
                  <a:gd name="connsiteY45" fmla="*/ 22003 h 452380"/>
                  <a:gd name="connsiteX46" fmla="*/ 301371 w 368617"/>
                  <a:gd name="connsiteY46" fmla="*/ 18193 h 452380"/>
                  <a:gd name="connsiteX47" fmla="*/ 300799 w 368617"/>
                  <a:gd name="connsiteY47" fmla="*/ 15907 h 452380"/>
                  <a:gd name="connsiteX48" fmla="*/ 293751 w 368617"/>
                  <a:gd name="connsiteY48" fmla="*/ 21527 h 452380"/>
                  <a:gd name="connsiteX49" fmla="*/ 287465 w 368617"/>
                  <a:gd name="connsiteY49" fmla="*/ 26860 h 452380"/>
                  <a:gd name="connsiteX50" fmla="*/ 276606 w 368617"/>
                  <a:gd name="connsiteY50" fmla="*/ 36671 h 452380"/>
                  <a:gd name="connsiteX51" fmla="*/ 270796 w 368617"/>
                  <a:gd name="connsiteY51" fmla="*/ 38005 h 452380"/>
                  <a:gd name="connsiteX52" fmla="*/ 269367 w 368617"/>
                  <a:gd name="connsiteY52" fmla="*/ 39148 h 452380"/>
                  <a:gd name="connsiteX53" fmla="*/ 268129 w 368617"/>
                  <a:gd name="connsiteY53" fmla="*/ 41815 h 452380"/>
                  <a:gd name="connsiteX54" fmla="*/ 256794 w 368617"/>
                  <a:gd name="connsiteY54" fmla="*/ 52673 h 452380"/>
                  <a:gd name="connsiteX55" fmla="*/ 241173 w 368617"/>
                  <a:gd name="connsiteY55" fmla="*/ 69056 h 452380"/>
                  <a:gd name="connsiteX56" fmla="*/ 234696 w 368617"/>
                  <a:gd name="connsiteY56" fmla="*/ 76010 h 452380"/>
                  <a:gd name="connsiteX57" fmla="*/ 233934 w 368617"/>
                  <a:gd name="connsiteY57" fmla="*/ 76581 h 452380"/>
                  <a:gd name="connsiteX58" fmla="*/ 227838 w 368617"/>
                  <a:gd name="connsiteY58" fmla="*/ 82010 h 452380"/>
                  <a:gd name="connsiteX59" fmla="*/ 212408 w 368617"/>
                  <a:gd name="connsiteY59" fmla="*/ 101346 h 452380"/>
                  <a:gd name="connsiteX60" fmla="*/ 204216 w 368617"/>
                  <a:gd name="connsiteY60" fmla="*/ 110109 h 452380"/>
                  <a:gd name="connsiteX61" fmla="*/ 190976 w 368617"/>
                  <a:gd name="connsiteY61" fmla="*/ 125254 h 452380"/>
                  <a:gd name="connsiteX62" fmla="*/ 184975 w 368617"/>
                  <a:gd name="connsiteY62" fmla="*/ 129254 h 452380"/>
                  <a:gd name="connsiteX63" fmla="*/ 181451 w 368617"/>
                  <a:gd name="connsiteY63" fmla="*/ 125158 h 452380"/>
                  <a:gd name="connsiteX64" fmla="*/ 180499 w 368617"/>
                  <a:gd name="connsiteY64" fmla="*/ 123349 h 452380"/>
                  <a:gd name="connsiteX65" fmla="*/ 165068 w 368617"/>
                  <a:gd name="connsiteY65" fmla="*/ 94393 h 452380"/>
                  <a:gd name="connsiteX66" fmla="*/ 161925 w 368617"/>
                  <a:gd name="connsiteY66" fmla="*/ 89725 h 452380"/>
                  <a:gd name="connsiteX67" fmla="*/ 153162 w 368617"/>
                  <a:gd name="connsiteY67" fmla="*/ 75819 h 452380"/>
                  <a:gd name="connsiteX68" fmla="*/ 153734 w 368617"/>
                  <a:gd name="connsiteY68" fmla="*/ 74962 h 452380"/>
                  <a:gd name="connsiteX69" fmla="*/ 152876 w 368617"/>
                  <a:gd name="connsiteY69" fmla="*/ 72771 h 452380"/>
                  <a:gd name="connsiteX70" fmla="*/ 145637 w 368617"/>
                  <a:gd name="connsiteY70" fmla="*/ 62484 h 452380"/>
                  <a:gd name="connsiteX71" fmla="*/ 141161 w 368617"/>
                  <a:gd name="connsiteY71" fmla="*/ 53531 h 452380"/>
                  <a:gd name="connsiteX72" fmla="*/ 132016 w 368617"/>
                  <a:gd name="connsiteY72" fmla="*/ 35719 h 452380"/>
                  <a:gd name="connsiteX73" fmla="*/ 127921 w 368617"/>
                  <a:gd name="connsiteY73" fmla="*/ 26194 h 452380"/>
                  <a:gd name="connsiteX74" fmla="*/ 127064 w 368617"/>
                  <a:gd name="connsiteY74" fmla="*/ 22384 h 452380"/>
                  <a:gd name="connsiteX75" fmla="*/ 119729 w 368617"/>
                  <a:gd name="connsiteY75" fmla="*/ 4286 h 452380"/>
                  <a:gd name="connsiteX76" fmla="*/ 117824 w 368617"/>
                  <a:gd name="connsiteY76" fmla="*/ 0 h 452380"/>
                  <a:gd name="connsiteX77" fmla="*/ 113062 w 368617"/>
                  <a:gd name="connsiteY77" fmla="*/ 2477 h 452380"/>
                  <a:gd name="connsiteX78" fmla="*/ 105061 w 368617"/>
                  <a:gd name="connsiteY78" fmla="*/ 15811 h 452380"/>
                  <a:gd name="connsiteX79" fmla="*/ 102108 w 368617"/>
                  <a:gd name="connsiteY79" fmla="*/ 20383 h 452380"/>
                  <a:gd name="connsiteX80" fmla="*/ 97726 w 368617"/>
                  <a:gd name="connsiteY80" fmla="*/ 26765 h 452380"/>
                  <a:gd name="connsiteX81" fmla="*/ 95345 w 368617"/>
                  <a:gd name="connsiteY81" fmla="*/ 37433 h 452380"/>
                  <a:gd name="connsiteX82" fmla="*/ 100013 w 368617"/>
                  <a:gd name="connsiteY82" fmla="*/ 53340 h 452380"/>
                  <a:gd name="connsiteX83" fmla="*/ 102299 w 368617"/>
                  <a:gd name="connsiteY83" fmla="*/ 58293 h 452380"/>
                  <a:gd name="connsiteX84" fmla="*/ 103918 w 368617"/>
                  <a:gd name="connsiteY84" fmla="*/ 60008 h 452380"/>
                  <a:gd name="connsiteX85" fmla="*/ 105156 w 368617"/>
                  <a:gd name="connsiteY85" fmla="*/ 72866 h 452380"/>
                  <a:gd name="connsiteX86" fmla="*/ 107251 w 368617"/>
                  <a:gd name="connsiteY86" fmla="*/ 80581 h 452380"/>
                  <a:gd name="connsiteX87" fmla="*/ 108299 w 368617"/>
                  <a:gd name="connsiteY87" fmla="*/ 83820 h 452380"/>
                  <a:gd name="connsiteX88" fmla="*/ 110014 w 368617"/>
                  <a:gd name="connsiteY88" fmla="*/ 101156 h 452380"/>
                  <a:gd name="connsiteX89" fmla="*/ 112776 w 368617"/>
                  <a:gd name="connsiteY89" fmla="*/ 114586 h 452380"/>
                  <a:gd name="connsiteX90" fmla="*/ 118872 w 368617"/>
                  <a:gd name="connsiteY90" fmla="*/ 142780 h 452380"/>
                  <a:gd name="connsiteX91" fmla="*/ 123444 w 368617"/>
                  <a:gd name="connsiteY91" fmla="*/ 160401 h 452380"/>
                  <a:gd name="connsiteX92" fmla="*/ 128492 w 368617"/>
                  <a:gd name="connsiteY92" fmla="*/ 178308 h 452380"/>
                  <a:gd name="connsiteX93" fmla="*/ 128492 w 368617"/>
                  <a:gd name="connsiteY93" fmla="*/ 182594 h 452380"/>
                  <a:gd name="connsiteX94" fmla="*/ 124587 w 368617"/>
                  <a:gd name="connsiteY94" fmla="*/ 183166 h 452380"/>
                  <a:gd name="connsiteX95" fmla="*/ 115633 w 368617"/>
                  <a:gd name="connsiteY95" fmla="*/ 179261 h 452380"/>
                  <a:gd name="connsiteX96" fmla="*/ 110204 w 368617"/>
                  <a:gd name="connsiteY96" fmla="*/ 175641 h 452380"/>
                  <a:gd name="connsiteX97" fmla="*/ 99251 w 368617"/>
                  <a:gd name="connsiteY97" fmla="*/ 171641 h 452380"/>
                  <a:gd name="connsiteX98" fmla="*/ 89726 w 368617"/>
                  <a:gd name="connsiteY98" fmla="*/ 169926 h 452380"/>
                  <a:gd name="connsiteX99" fmla="*/ 88582 w 368617"/>
                  <a:gd name="connsiteY99" fmla="*/ 170879 h 452380"/>
                  <a:gd name="connsiteX100" fmla="*/ 88011 w 368617"/>
                  <a:gd name="connsiteY100" fmla="*/ 168497 h 452380"/>
                  <a:gd name="connsiteX101" fmla="*/ 87535 w 368617"/>
                  <a:gd name="connsiteY101" fmla="*/ 171641 h 452380"/>
                  <a:gd name="connsiteX102" fmla="*/ 79915 w 368617"/>
                  <a:gd name="connsiteY102" fmla="*/ 169164 h 452380"/>
                  <a:gd name="connsiteX103" fmla="*/ 66675 w 368617"/>
                  <a:gd name="connsiteY103" fmla="*/ 166306 h 452380"/>
                  <a:gd name="connsiteX104" fmla="*/ 64579 w 368617"/>
                  <a:gd name="connsiteY104" fmla="*/ 165354 h 452380"/>
                  <a:gd name="connsiteX105" fmla="*/ 49339 w 368617"/>
                  <a:gd name="connsiteY105" fmla="*/ 167164 h 452380"/>
                  <a:gd name="connsiteX106" fmla="*/ 48863 w 368617"/>
                  <a:gd name="connsiteY106" fmla="*/ 167069 h 452380"/>
                  <a:gd name="connsiteX107" fmla="*/ 34576 w 368617"/>
                  <a:gd name="connsiteY107" fmla="*/ 166402 h 452380"/>
                  <a:gd name="connsiteX108" fmla="*/ 28289 w 368617"/>
                  <a:gd name="connsiteY108" fmla="*/ 168402 h 452380"/>
                  <a:gd name="connsiteX109" fmla="*/ 21431 w 368617"/>
                  <a:gd name="connsiteY109" fmla="*/ 173450 h 452380"/>
                  <a:gd name="connsiteX110" fmla="*/ 18097 w 368617"/>
                  <a:gd name="connsiteY110" fmla="*/ 171260 h 452380"/>
                  <a:gd name="connsiteX111" fmla="*/ 11716 w 368617"/>
                  <a:gd name="connsiteY111" fmla="*/ 173927 h 452380"/>
                  <a:gd name="connsiteX112" fmla="*/ 9430 w 368617"/>
                  <a:gd name="connsiteY112" fmla="*/ 178022 h 452380"/>
                  <a:gd name="connsiteX113" fmla="*/ 6953 w 368617"/>
                  <a:gd name="connsiteY113" fmla="*/ 186404 h 452380"/>
                  <a:gd name="connsiteX114" fmla="*/ 7239 w 368617"/>
                  <a:gd name="connsiteY114" fmla="*/ 190310 h 452380"/>
                  <a:gd name="connsiteX115" fmla="*/ 1143 w 368617"/>
                  <a:gd name="connsiteY115" fmla="*/ 203264 h 452380"/>
                  <a:gd name="connsiteX116" fmla="*/ 0 w 368617"/>
                  <a:gd name="connsiteY116" fmla="*/ 216789 h 452380"/>
                  <a:gd name="connsiteX117" fmla="*/ 571 w 368617"/>
                  <a:gd name="connsiteY117" fmla="*/ 217646 h 452380"/>
                  <a:gd name="connsiteX118" fmla="*/ 10001 w 368617"/>
                  <a:gd name="connsiteY118" fmla="*/ 221742 h 452380"/>
                  <a:gd name="connsiteX119" fmla="*/ 27718 w 368617"/>
                  <a:gd name="connsiteY119" fmla="*/ 227743 h 452380"/>
                  <a:gd name="connsiteX120" fmla="*/ 51054 w 368617"/>
                  <a:gd name="connsiteY120" fmla="*/ 236982 h 452380"/>
                  <a:gd name="connsiteX121" fmla="*/ 52959 w 368617"/>
                  <a:gd name="connsiteY121" fmla="*/ 236792 h 452380"/>
                  <a:gd name="connsiteX122" fmla="*/ 60293 w 368617"/>
                  <a:gd name="connsiteY122" fmla="*/ 236220 h 452380"/>
                  <a:gd name="connsiteX123" fmla="*/ 65818 w 368617"/>
                  <a:gd name="connsiteY123" fmla="*/ 237649 h 452380"/>
                  <a:gd name="connsiteX124" fmla="*/ 79915 w 368617"/>
                  <a:gd name="connsiteY124" fmla="*/ 239363 h 452380"/>
                  <a:gd name="connsiteX125" fmla="*/ 97060 w 368617"/>
                  <a:gd name="connsiteY125" fmla="*/ 240030 h 452380"/>
                  <a:gd name="connsiteX126" fmla="*/ 104489 w 368617"/>
                  <a:gd name="connsiteY126" fmla="*/ 240030 h 452380"/>
                  <a:gd name="connsiteX127" fmla="*/ 110871 w 368617"/>
                  <a:gd name="connsiteY127" fmla="*/ 239744 h 452380"/>
                  <a:gd name="connsiteX128" fmla="*/ 116205 w 368617"/>
                  <a:gd name="connsiteY128" fmla="*/ 242125 h 452380"/>
                  <a:gd name="connsiteX129" fmla="*/ 120491 w 368617"/>
                  <a:gd name="connsiteY129" fmla="*/ 243078 h 452380"/>
                  <a:gd name="connsiteX130" fmla="*/ 123634 w 368617"/>
                  <a:gd name="connsiteY130" fmla="*/ 244412 h 452380"/>
                  <a:gd name="connsiteX131" fmla="*/ 133255 w 368617"/>
                  <a:gd name="connsiteY131" fmla="*/ 244412 h 452380"/>
                  <a:gd name="connsiteX132" fmla="*/ 128492 w 368617"/>
                  <a:gd name="connsiteY132" fmla="*/ 247745 h 452380"/>
                  <a:gd name="connsiteX133" fmla="*/ 121444 w 368617"/>
                  <a:gd name="connsiteY133" fmla="*/ 257270 h 452380"/>
                  <a:gd name="connsiteX134" fmla="*/ 112966 w 368617"/>
                  <a:gd name="connsiteY134" fmla="*/ 271082 h 452380"/>
                  <a:gd name="connsiteX135" fmla="*/ 105156 w 368617"/>
                  <a:gd name="connsiteY135" fmla="*/ 280702 h 452380"/>
                  <a:gd name="connsiteX136" fmla="*/ 96202 w 368617"/>
                  <a:gd name="connsiteY136" fmla="*/ 289465 h 452380"/>
                  <a:gd name="connsiteX137" fmla="*/ 86582 w 368617"/>
                  <a:gd name="connsiteY137" fmla="*/ 303371 h 452380"/>
                  <a:gd name="connsiteX138" fmla="*/ 81629 w 368617"/>
                  <a:gd name="connsiteY138" fmla="*/ 309658 h 452380"/>
                  <a:gd name="connsiteX139" fmla="*/ 74104 w 368617"/>
                  <a:gd name="connsiteY139" fmla="*/ 317468 h 452380"/>
                  <a:gd name="connsiteX140" fmla="*/ 72295 w 368617"/>
                  <a:gd name="connsiteY140" fmla="*/ 319088 h 452380"/>
                  <a:gd name="connsiteX141" fmla="*/ 64865 w 368617"/>
                  <a:gd name="connsiteY141" fmla="*/ 327184 h 452380"/>
                  <a:gd name="connsiteX142" fmla="*/ 62293 w 368617"/>
                  <a:gd name="connsiteY142" fmla="*/ 330898 h 452380"/>
                  <a:gd name="connsiteX143" fmla="*/ 55435 w 368617"/>
                  <a:gd name="connsiteY143" fmla="*/ 339185 h 452380"/>
                  <a:gd name="connsiteX144" fmla="*/ 52864 w 368617"/>
                  <a:gd name="connsiteY144" fmla="*/ 349758 h 452380"/>
                  <a:gd name="connsiteX145" fmla="*/ 51149 w 368617"/>
                  <a:gd name="connsiteY145" fmla="*/ 364903 h 452380"/>
                  <a:gd name="connsiteX146" fmla="*/ 50959 w 368617"/>
                  <a:gd name="connsiteY146" fmla="*/ 370046 h 452380"/>
                  <a:gd name="connsiteX147" fmla="*/ 51149 w 368617"/>
                  <a:gd name="connsiteY147" fmla="*/ 385953 h 452380"/>
                  <a:gd name="connsiteX148" fmla="*/ 50578 w 368617"/>
                  <a:gd name="connsiteY148" fmla="*/ 388620 h 452380"/>
                  <a:gd name="connsiteX149" fmla="*/ 50578 w 368617"/>
                  <a:gd name="connsiteY149" fmla="*/ 392621 h 452380"/>
                  <a:gd name="connsiteX150" fmla="*/ 64484 w 368617"/>
                  <a:gd name="connsiteY150" fmla="*/ 400241 h 452380"/>
                  <a:gd name="connsiteX151" fmla="*/ 66199 w 368617"/>
                  <a:gd name="connsiteY151" fmla="*/ 399479 h 452380"/>
                  <a:gd name="connsiteX152" fmla="*/ 74009 w 368617"/>
                  <a:gd name="connsiteY152" fmla="*/ 396621 h 452380"/>
                  <a:gd name="connsiteX153" fmla="*/ 81629 w 368617"/>
                  <a:gd name="connsiteY153" fmla="*/ 389573 h 452380"/>
                  <a:gd name="connsiteX154" fmla="*/ 83629 w 368617"/>
                  <a:gd name="connsiteY154" fmla="*/ 385763 h 452380"/>
                  <a:gd name="connsiteX155" fmla="*/ 88868 w 368617"/>
                  <a:gd name="connsiteY155" fmla="*/ 379095 h 452380"/>
                  <a:gd name="connsiteX156" fmla="*/ 90773 w 368617"/>
                  <a:gd name="connsiteY156" fmla="*/ 381476 h 452380"/>
                  <a:gd name="connsiteX157" fmla="*/ 103537 w 368617"/>
                  <a:gd name="connsiteY157" fmla="*/ 366903 h 452380"/>
                  <a:gd name="connsiteX158" fmla="*/ 107537 w 368617"/>
                  <a:gd name="connsiteY158" fmla="*/ 362426 h 452380"/>
                  <a:gd name="connsiteX159" fmla="*/ 117157 w 368617"/>
                  <a:gd name="connsiteY159" fmla="*/ 353568 h 452380"/>
                  <a:gd name="connsiteX160" fmla="*/ 127826 w 368617"/>
                  <a:gd name="connsiteY160" fmla="*/ 345377 h 452380"/>
                  <a:gd name="connsiteX161" fmla="*/ 129826 w 368617"/>
                  <a:gd name="connsiteY161" fmla="*/ 340043 h 452380"/>
                  <a:gd name="connsiteX162" fmla="*/ 133636 w 368617"/>
                  <a:gd name="connsiteY162" fmla="*/ 337375 h 452380"/>
                  <a:gd name="connsiteX163" fmla="*/ 138017 w 368617"/>
                  <a:gd name="connsiteY163" fmla="*/ 333756 h 452380"/>
                  <a:gd name="connsiteX164" fmla="*/ 146018 w 368617"/>
                  <a:gd name="connsiteY164" fmla="*/ 324612 h 452380"/>
                  <a:gd name="connsiteX165" fmla="*/ 147733 w 368617"/>
                  <a:gd name="connsiteY165" fmla="*/ 322421 h 452380"/>
                  <a:gd name="connsiteX166" fmla="*/ 160592 w 368617"/>
                  <a:gd name="connsiteY166" fmla="*/ 308134 h 452380"/>
                  <a:gd name="connsiteX167" fmla="*/ 167069 w 368617"/>
                  <a:gd name="connsiteY167" fmla="*/ 303657 h 452380"/>
                  <a:gd name="connsiteX168" fmla="*/ 171831 w 368617"/>
                  <a:gd name="connsiteY168" fmla="*/ 301181 h 452380"/>
                  <a:gd name="connsiteX169" fmla="*/ 173355 w 368617"/>
                  <a:gd name="connsiteY169" fmla="*/ 299085 h 452380"/>
                  <a:gd name="connsiteX170" fmla="*/ 176117 w 368617"/>
                  <a:gd name="connsiteY170" fmla="*/ 296037 h 452380"/>
                  <a:gd name="connsiteX171" fmla="*/ 179737 w 368617"/>
                  <a:gd name="connsiteY171" fmla="*/ 300800 h 452380"/>
                  <a:gd name="connsiteX172" fmla="*/ 184309 w 368617"/>
                  <a:gd name="connsiteY172" fmla="*/ 318897 h 452380"/>
                  <a:gd name="connsiteX173" fmla="*/ 189547 w 368617"/>
                  <a:gd name="connsiteY173" fmla="*/ 337375 h 452380"/>
                  <a:gd name="connsiteX174" fmla="*/ 192595 w 368617"/>
                  <a:gd name="connsiteY174" fmla="*/ 352139 h 452380"/>
                  <a:gd name="connsiteX175" fmla="*/ 196024 w 368617"/>
                  <a:gd name="connsiteY175" fmla="*/ 367094 h 452380"/>
                  <a:gd name="connsiteX176" fmla="*/ 198596 w 368617"/>
                  <a:gd name="connsiteY176" fmla="*/ 374523 h 452380"/>
                  <a:gd name="connsiteX177" fmla="*/ 201263 w 368617"/>
                  <a:gd name="connsiteY177" fmla="*/ 393859 h 452380"/>
                  <a:gd name="connsiteX178" fmla="*/ 204406 w 368617"/>
                  <a:gd name="connsiteY178" fmla="*/ 403098 h 452380"/>
                  <a:gd name="connsiteX179" fmla="*/ 207931 w 368617"/>
                  <a:gd name="connsiteY179" fmla="*/ 416243 h 452380"/>
                  <a:gd name="connsiteX180" fmla="*/ 211741 w 368617"/>
                  <a:gd name="connsiteY180" fmla="*/ 422053 h 452380"/>
                  <a:gd name="connsiteX181" fmla="*/ 212122 w 368617"/>
                  <a:gd name="connsiteY181" fmla="*/ 431864 h 452380"/>
                  <a:gd name="connsiteX182" fmla="*/ 223266 w 368617"/>
                  <a:gd name="connsiteY182" fmla="*/ 449580 h 452380"/>
                  <a:gd name="connsiteX183" fmla="*/ 228695 w 368617"/>
                  <a:gd name="connsiteY183" fmla="*/ 451580 h 452380"/>
                  <a:gd name="connsiteX184" fmla="*/ 228695 w 368617"/>
                  <a:gd name="connsiteY184" fmla="*/ 451580 h 452380"/>
                  <a:gd name="connsiteX185" fmla="*/ 233648 w 368617"/>
                  <a:gd name="connsiteY185" fmla="*/ 451580 h 452380"/>
                  <a:gd name="connsiteX186" fmla="*/ 241840 w 368617"/>
                  <a:gd name="connsiteY186" fmla="*/ 448913 h 452380"/>
                  <a:gd name="connsiteX187" fmla="*/ 244030 w 368617"/>
                  <a:gd name="connsiteY187" fmla="*/ 423386 h 452380"/>
                  <a:gd name="connsiteX188" fmla="*/ 240601 w 368617"/>
                  <a:gd name="connsiteY188" fmla="*/ 404622 h 452380"/>
                  <a:gd name="connsiteX189" fmla="*/ 237172 w 368617"/>
                  <a:gd name="connsiteY189" fmla="*/ 386620 h 452380"/>
                  <a:gd name="connsiteX190" fmla="*/ 236982 w 368617"/>
                  <a:gd name="connsiteY190" fmla="*/ 384620 h 452380"/>
                  <a:gd name="connsiteX191" fmla="*/ 232981 w 368617"/>
                  <a:gd name="connsiteY191" fmla="*/ 361855 h 452380"/>
                  <a:gd name="connsiteX192" fmla="*/ 232029 w 368617"/>
                  <a:gd name="connsiteY192" fmla="*/ 350044 h 452380"/>
                  <a:gd name="connsiteX193" fmla="*/ 223456 w 368617"/>
                  <a:gd name="connsiteY193" fmla="*/ 323279 h 452380"/>
                  <a:gd name="connsiteX194" fmla="*/ 212503 w 368617"/>
                  <a:gd name="connsiteY194" fmla="*/ 294037 h 452380"/>
                  <a:gd name="connsiteX195" fmla="*/ 212217 w 368617"/>
                  <a:gd name="connsiteY195" fmla="*/ 285655 h 452380"/>
                  <a:gd name="connsiteX196" fmla="*/ 222123 w 368617"/>
                  <a:gd name="connsiteY196" fmla="*/ 284988 h 452380"/>
                  <a:gd name="connsiteX197" fmla="*/ 234410 w 368617"/>
                  <a:gd name="connsiteY197" fmla="*/ 289560 h 452380"/>
                  <a:gd name="connsiteX198" fmla="*/ 249079 w 368617"/>
                  <a:gd name="connsiteY198" fmla="*/ 291179 h 452380"/>
                  <a:gd name="connsiteX199" fmla="*/ 267843 w 368617"/>
                  <a:gd name="connsiteY199" fmla="*/ 292227 h 452380"/>
                  <a:gd name="connsiteX200" fmla="*/ 272701 w 368617"/>
                  <a:gd name="connsiteY200" fmla="*/ 291560 h 452380"/>
                  <a:gd name="connsiteX201" fmla="*/ 282893 w 368617"/>
                  <a:gd name="connsiteY201" fmla="*/ 292798 h 452380"/>
                  <a:gd name="connsiteX202" fmla="*/ 283464 w 368617"/>
                  <a:gd name="connsiteY202" fmla="*/ 291179 h 452380"/>
                  <a:gd name="connsiteX203" fmla="*/ 283464 w 368617"/>
                  <a:gd name="connsiteY203" fmla="*/ 289179 h 452380"/>
                  <a:gd name="connsiteX204" fmla="*/ 285560 w 368617"/>
                  <a:gd name="connsiteY204" fmla="*/ 290132 h 452380"/>
                  <a:gd name="connsiteX205" fmla="*/ 288893 w 368617"/>
                  <a:gd name="connsiteY205" fmla="*/ 291656 h 452380"/>
                  <a:gd name="connsiteX206" fmla="*/ 309944 w 368617"/>
                  <a:gd name="connsiteY206" fmla="*/ 288893 h 452380"/>
                  <a:gd name="connsiteX207" fmla="*/ 322421 w 368617"/>
                  <a:gd name="connsiteY207" fmla="*/ 283083 h 452380"/>
                  <a:gd name="connsiteX208" fmla="*/ 324517 w 368617"/>
                  <a:gd name="connsiteY208" fmla="*/ 282797 h 452380"/>
                  <a:gd name="connsiteX209" fmla="*/ 333756 w 368617"/>
                  <a:gd name="connsiteY209" fmla="*/ 283940 h 452380"/>
                  <a:gd name="connsiteX210" fmla="*/ 341567 w 368617"/>
                  <a:gd name="connsiteY210" fmla="*/ 285941 h 452380"/>
                  <a:gd name="connsiteX211" fmla="*/ 345853 w 368617"/>
                  <a:gd name="connsiteY211" fmla="*/ 283940 h 452380"/>
                  <a:gd name="connsiteX212" fmla="*/ 346996 w 368617"/>
                  <a:gd name="connsiteY212" fmla="*/ 284988 h 452380"/>
                  <a:gd name="connsiteX213" fmla="*/ 346710 w 368617"/>
                  <a:gd name="connsiteY213" fmla="*/ 281750 h 452380"/>
                  <a:gd name="connsiteX214" fmla="*/ 361474 w 368617"/>
                  <a:gd name="connsiteY214" fmla="*/ 279559 h 452380"/>
                  <a:gd name="connsiteX215" fmla="*/ 363569 w 368617"/>
                  <a:gd name="connsiteY215" fmla="*/ 277749 h 452380"/>
                  <a:gd name="connsiteX216" fmla="*/ 366046 w 368617"/>
                  <a:gd name="connsiteY216" fmla="*/ 270129 h 452380"/>
                  <a:gd name="connsiteX217" fmla="*/ 366903 w 368617"/>
                  <a:gd name="connsiteY217" fmla="*/ 263271 h 452380"/>
                  <a:gd name="connsiteX218" fmla="*/ 367951 w 368617"/>
                  <a:gd name="connsiteY218" fmla="*/ 257556 h 452380"/>
                  <a:gd name="connsiteX219" fmla="*/ 155543 w 368617"/>
                  <a:gd name="connsiteY219" fmla="*/ 115348 h 452380"/>
                  <a:gd name="connsiteX220" fmla="*/ 157448 w 368617"/>
                  <a:gd name="connsiteY220" fmla="*/ 117729 h 452380"/>
                  <a:gd name="connsiteX221" fmla="*/ 156305 w 368617"/>
                  <a:gd name="connsiteY221" fmla="*/ 119158 h 452380"/>
                  <a:gd name="connsiteX222" fmla="*/ 154115 w 368617"/>
                  <a:gd name="connsiteY222" fmla="*/ 116586 h 452380"/>
                  <a:gd name="connsiteX223" fmla="*/ 155543 w 368617"/>
                  <a:gd name="connsiteY223" fmla="*/ 115348 h 452380"/>
                  <a:gd name="connsiteX224" fmla="*/ 158591 w 368617"/>
                  <a:gd name="connsiteY224" fmla="*/ 155543 h 452380"/>
                  <a:gd name="connsiteX225" fmla="*/ 155353 w 368617"/>
                  <a:gd name="connsiteY225" fmla="*/ 156877 h 452380"/>
                  <a:gd name="connsiteX226" fmla="*/ 149447 w 368617"/>
                  <a:gd name="connsiteY226" fmla="*/ 154591 h 452380"/>
                  <a:gd name="connsiteX227" fmla="*/ 141161 w 368617"/>
                  <a:gd name="connsiteY227" fmla="*/ 121920 h 452380"/>
                  <a:gd name="connsiteX228" fmla="*/ 141637 w 368617"/>
                  <a:gd name="connsiteY228" fmla="*/ 118491 h 452380"/>
                  <a:gd name="connsiteX229" fmla="*/ 143066 w 368617"/>
                  <a:gd name="connsiteY229" fmla="*/ 118491 h 452380"/>
                  <a:gd name="connsiteX230" fmla="*/ 151257 w 368617"/>
                  <a:gd name="connsiteY230" fmla="*/ 127921 h 452380"/>
                  <a:gd name="connsiteX231" fmla="*/ 151543 w 368617"/>
                  <a:gd name="connsiteY231" fmla="*/ 128683 h 452380"/>
                  <a:gd name="connsiteX232" fmla="*/ 156972 w 368617"/>
                  <a:gd name="connsiteY232" fmla="*/ 138303 h 452380"/>
                  <a:gd name="connsiteX233" fmla="*/ 163830 w 368617"/>
                  <a:gd name="connsiteY233" fmla="*/ 148876 h 452380"/>
                  <a:gd name="connsiteX234" fmla="*/ 158591 w 368617"/>
                  <a:gd name="connsiteY234" fmla="*/ 155543 h 452380"/>
                  <a:gd name="connsiteX235" fmla="*/ 228028 w 368617"/>
                  <a:gd name="connsiteY235" fmla="*/ 149257 h 452380"/>
                  <a:gd name="connsiteX236" fmla="*/ 218503 w 368617"/>
                  <a:gd name="connsiteY236" fmla="*/ 161735 h 452380"/>
                  <a:gd name="connsiteX237" fmla="*/ 206978 w 368617"/>
                  <a:gd name="connsiteY237" fmla="*/ 178689 h 452380"/>
                  <a:gd name="connsiteX238" fmla="*/ 206026 w 368617"/>
                  <a:gd name="connsiteY238" fmla="*/ 180404 h 452380"/>
                  <a:gd name="connsiteX239" fmla="*/ 189643 w 368617"/>
                  <a:gd name="connsiteY239" fmla="*/ 189548 h 452380"/>
                  <a:gd name="connsiteX240" fmla="*/ 185642 w 368617"/>
                  <a:gd name="connsiteY240" fmla="*/ 198025 h 452380"/>
                  <a:gd name="connsiteX241" fmla="*/ 182690 w 368617"/>
                  <a:gd name="connsiteY241" fmla="*/ 202597 h 452380"/>
                  <a:gd name="connsiteX242" fmla="*/ 180689 w 368617"/>
                  <a:gd name="connsiteY242" fmla="*/ 199168 h 452380"/>
                  <a:gd name="connsiteX243" fmla="*/ 176403 w 368617"/>
                  <a:gd name="connsiteY243" fmla="*/ 193453 h 452380"/>
                  <a:gd name="connsiteX244" fmla="*/ 182023 w 368617"/>
                  <a:gd name="connsiteY244" fmla="*/ 184404 h 452380"/>
                  <a:gd name="connsiteX245" fmla="*/ 184880 w 368617"/>
                  <a:gd name="connsiteY245" fmla="*/ 179261 h 452380"/>
                  <a:gd name="connsiteX246" fmla="*/ 186214 w 368617"/>
                  <a:gd name="connsiteY246" fmla="*/ 178879 h 452380"/>
                  <a:gd name="connsiteX247" fmla="*/ 188500 w 368617"/>
                  <a:gd name="connsiteY247" fmla="*/ 177641 h 452380"/>
                  <a:gd name="connsiteX248" fmla="*/ 194500 w 368617"/>
                  <a:gd name="connsiteY248" fmla="*/ 171736 h 452380"/>
                  <a:gd name="connsiteX249" fmla="*/ 207073 w 368617"/>
                  <a:gd name="connsiteY249" fmla="*/ 155829 h 452380"/>
                  <a:gd name="connsiteX250" fmla="*/ 218313 w 368617"/>
                  <a:gd name="connsiteY250" fmla="*/ 143542 h 452380"/>
                  <a:gd name="connsiteX251" fmla="*/ 229267 w 368617"/>
                  <a:gd name="connsiteY251" fmla="*/ 130588 h 452380"/>
                  <a:gd name="connsiteX252" fmla="*/ 240316 w 368617"/>
                  <a:gd name="connsiteY252" fmla="*/ 114871 h 452380"/>
                  <a:gd name="connsiteX253" fmla="*/ 249936 w 368617"/>
                  <a:gd name="connsiteY253" fmla="*/ 105346 h 452380"/>
                  <a:gd name="connsiteX254" fmla="*/ 262795 w 368617"/>
                  <a:gd name="connsiteY254" fmla="*/ 94107 h 452380"/>
                  <a:gd name="connsiteX255" fmla="*/ 272129 w 368617"/>
                  <a:gd name="connsiteY255" fmla="*/ 84201 h 452380"/>
                  <a:gd name="connsiteX256" fmla="*/ 275368 w 368617"/>
                  <a:gd name="connsiteY256" fmla="*/ 81153 h 452380"/>
                  <a:gd name="connsiteX257" fmla="*/ 278320 w 368617"/>
                  <a:gd name="connsiteY257" fmla="*/ 81820 h 452380"/>
                  <a:gd name="connsiteX258" fmla="*/ 277273 w 368617"/>
                  <a:gd name="connsiteY258" fmla="*/ 85916 h 452380"/>
                  <a:gd name="connsiteX259" fmla="*/ 266319 w 368617"/>
                  <a:gd name="connsiteY259" fmla="*/ 97917 h 452380"/>
                  <a:gd name="connsiteX260" fmla="*/ 256889 w 368617"/>
                  <a:gd name="connsiteY260" fmla="*/ 109728 h 452380"/>
                  <a:gd name="connsiteX261" fmla="*/ 247174 w 368617"/>
                  <a:gd name="connsiteY261" fmla="*/ 123349 h 452380"/>
                  <a:gd name="connsiteX262" fmla="*/ 245173 w 368617"/>
                  <a:gd name="connsiteY262" fmla="*/ 125730 h 452380"/>
                  <a:gd name="connsiteX263" fmla="*/ 242125 w 368617"/>
                  <a:gd name="connsiteY263" fmla="*/ 129635 h 452380"/>
                  <a:gd name="connsiteX264" fmla="*/ 241268 w 368617"/>
                  <a:gd name="connsiteY264" fmla="*/ 128397 h 452380"/>
                  <a:gd name="connsiteX265" fmla="*/ 240887 w 368617"/>
                  <a:gd name="connsiteY265" fmla="*/ 131921 h 452380"/>
                  <a:gd name="connsiteX266" fmla="*/ 228314 w 368617"/>
                  <a:gd name="connsiteY266" fmla="*/ 149257 h 4523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</a:cxnLst>
                <a:rect l="l" t="t" r="r" b="b"/>
                <a:pathLst>
                  <a:path w="368617" h="452380">
                    <a:moveTo>
                      <a:pt x="368618" y="257842"/>
                    </a:moveTo>
                    <a:cubicBezTo>
                      <a:pt x="366141" y="253746"/>
                      <a:pt x="367760" y="249555"/>
                      <a:pt x="367951" y="245459"/>
                    </a:cubicBezTo>
                    <a:cubicBezTo>
                      <a:pt x="367951" y="243935"/>
                      <a:pt x="369094" y="242030"/>
                      <a:pt x="366808" y="241745"/>
                    </a:cubicBezTo>
                    <a:cubicBezTo>
                      <a:pt x="364045" y="241459"/>
                      <a:pt x="364808" y="239649"/>
                      <a:pt x="365284" y="238601"/>
                    </a:cubicBezTo>
                    <a:cubicBezTo>
                      <a:pt x="367284" y="234220"/>
                      <a:pt x="364522" y="231267"/>
                      <a:pt x="362426" y="228124"/>
                    </a:cubicBezTo>
                    <a:cubicBezTo>
                      <a:pt x="360426" y="224981"/>
                      <a:pt x="357092" y="223742"/>
                      <a:pt x="353854" y="222028"/>
                    </a:cubicBezTo>
                    <a:cubicBezTo>
                      <a:pt x="348996" y="219361"/>
                      <a:pt x="343853" y="216884"/>
                      <a:pt x="339281" y="213360"/>
                    </a:cubicBezTo>
                    <a:cubicBezTo>
                      <a:pt x="337566" y="212027"/>
                      <a:pt x="335661" y="209550"/>
                      <a:pt x="332708" y="210979"/>
                    </a:cubicBezTo>
                    <a:cubicBezTo>
                      <a:pt x="330898" y="207169"/>
                      <a:pt x="327660" y="207931"/>
                      <a:pt x="324517" y="208312"/>
                    </a:cubicBezTo>
                    <a:cubicBezTo>
                      <a:pt x="324517" y="207359"/>
                      <a:pt x="324326" y="206502"/>
                      <a:pt x="323183" y="206121"/>
                    </a:cubicBezTo>
                    <a:cubicBezTo>
                      <a:pt x="321755" y="205740"/>
                      <a:pt x="320231" y="205264"/>
                      <a:pt x="318707" y="205073"/>
                    </a:cubicBezTo>
                    <a:cubicBezTo>
                      <a:pt x="315659" y="204788"/>
                      <a:pt x="311563" y="208121"/>
                      <a:pt x="309944" y="202502"/>
                    </a:cubicBezTo>
                    <a:cubicBezTo>
                      <a:pt x="309848" y="202025"/>
                      <a:pt x="308991" y="202692"/>
                      <a:pt x="308800" y="202692"/>
                    </a:cubicBezTo>
                    <a:cubicBezTo>
                      <a:pt x="307181" y="202406"/>
                      <a:pt x="305371" y="201168"/>
                      <a:pt x="304705" y="203930"/>
                    </a:cubicBezTo>
                    <a:cubicBezTo>
                      <a:pt x="304229" y="203549"/>
                      <a:pt x="303657" y="203073"/>
                      <a:pt x="303086" y="202787"/>
                    </a:cubicBezTo>
                    <a:cubicBezTo>
                      <a:pt x="301181" y="201644"/>
                      <a:pt x="299180" y="200692"/>
                      <a:pt x="297370" y="199358"/>
                    </a:cubicBezTo>
                    <a:cubicBezTo>
                      <a:pt x="294894" y="197644"/>
                      <a:pt x="291751" y="199549"/>
                      <a:pt x="289274" y="197644"/>
                    </a:cubicBezTo>
                    <a:cubicBezTo>
                      <a:pt x="287084" y="202406"/>
                      <a:pt x="284988" y="198501"/>
                      <a:pt x="282797" y="197644"/>
                    </a:cubicBezTo>
                    <a:cubicBezTo>
                      <a:pt x="281464" y="197072"/>
                      <a:pt x="280416" y="195263"/>
                      <a:pt x="278701" y="195929"/>
                    </a:cubicBezTo>
                    <a:cubicBezTo>
                      <a:pt x="276035" y="196977"/>
                      <a:pt x="279273" y="199263"/>
                      <a:pt x="277940" y="200692"/>
                    </a:cubicBezTo>
                    <a:cubicBezTo>
                      <a:pt x="274511" y="200596"/>
                      <a:pt x="275654" y="197739"/>
                      <a:pt x="275558" y="195453"/>
                    </a:cubicBezTo>
                    <a:cubicBezTo>
                      <a:pt x="274130" y="196691"/>
                      <a:pt x="272891" y="198215"/>
                      <a:pt x="272606" y="198025"/>
                    </a:cubicBezTo>
                    <a:cubicBezTo>
                      <a:pt x="268510" y="195548"/>
                      <a:pt x="263938" y="199073"/>
                      <a:pt x="260223" y="197453"/>
                    </a:cubicBezTo>
                    <a:cubicBezTo>
                      <a:pt x="256508" y="195739"/>
                      <a:pt x="253841" y="193643"/>
                      <a:pt x="249555" y="197072"/>
                    </a:cubicBezTo>
                    <a:cubicBezTo>
                      <a:pt x="246793" y="199168"/>
                      <a:pt x="241554" y="194881"/>
                      <a:pt x="238411" y="199263"/>
                    </a:cubicBezTo>
                    <a:cubicBezTo>
                      <a:pt x="238411" y="199073"/>
                      <a:pt x="238411" y="198882"/>
                      <a:pt x="238316" y="198787"/>
                    </a:cubicBezTo>
                    <a:cubicBezTo>
                      <a:pt x="240030" y="196787"/>
                      <a:pt x="237172" y="196787"/>
                      <a:pt x="236982" y="195548"/>
                    </a:cubicBezTo>
                    <a:cubicBezTo>
                      <a:pt x="237268" y="194596"/>
                      <a:pt x="237553" y="193548"/>
                      <a:pt x="237744" y="192596"/>
                    </a:cubicBezTo>
                    <a:cubicBezTo>
                      <a:pt x="238887" y="186309"/>
                      <a:pt x="245650" y="184118"/>
                      <a:pt x="248031" y="178498"/>
                    </a:cubicBezTo>
                    <a:cubicBezTo>
                      <a:pt x="250889" y="172117"/>
                      <a:pt x="259461" y="169259"/>
                      <a:pt x="259175" y="160782"/>
                    </a:cubicBezTo>
                    <a:cubicBezTo>
                      <a:pt x="259175" y="160496"/>
                      <a:pt x="260223" y="159829"/>
                      <a:pt x="260699" y="159829"/>
                    </a:cubicBezTo>
                    <a:cubicBezTo>
                      <a:pt x="262319" y="160020"/>
                      <a:pt x="262795" y="159639"/>
                      <a:pt x="262604" y="157829"/>
                    </a:cubicBezTo>
                    <a:cubicBezTo>
                      <a:pt x="262414" y="155639"/>
                      <a:pt x="264223" y="154019"/>
                      <a:pt x="265747" y="153734"/>
                    </a:cubicBezTo>
                    <a:cubicBezTo>
                      <a:pt x="269558" y="153067"/>
                      <a:pt x="269939" y="150114"/>
                      <a:pt x="270986" y="147542"/>
                    </a:cubicBezTo>
                    <a:cubicBezTo>
                      <a:pt x="271748" y="145733"/>
                      <a:pt x="271367" y="143161"/>
                      <a:pt x="274320" y="143066"/>
                    </a:cubicBezTo>
                    <a:cubicBezTo>
                      <a:pt x="274034" y="140589"/>
                      <a:pt x="279368" y="139827"/>
                      <a:pt x="276416" y="136398"/>
                    </a:cubicBezTo>
                    <a:cubicBezTo>
                      <a:pt x="276796" y="135636"/>
                      <a:pt x="277178" y="134969"/>
                      <a:pt x="277654" y="134207"/>
                    </a:cubicBezTo>
                    <a:cubicBezTo>
                      <a:pt x="280797" y="131254"/>
                      <a:pt x="284512" y="128683"/>
                      <a:pt x="287084" y="125349"/>
                    </a:cubicBezTo>
                    <a:cubicBezTo>
                      <a:pt x="289465" y="122206"/>
                      <a:pt x="292703" y="119158"/>
                      <a:pt x="292322" y="114491"/>
                    </a:cubicBezTo>
                    <a:cubicBezTo>
                      <a:pt x="294132" y="115157"/>
                      <a:pt x="294608" y="114300"/>
                      <a:pt x="294418" y="112681"/>
                    </a:cubicBezTo>
                    <a:cubicBezTo>
                      <a:pt x="299466" y="108871"/>
                      <a:pt x="300228" y="107347"/>
                      <a:pt x="300133" y="102108"/>
                    </a:cubicBezTo>
                    <a:cubicBezTo>
                      <a:pt x="300133" y="101727"/>
                      <a:pt x="300704" y="101251"/>
                      <a:pt x="300895" y="100870"/>
                    </a:cubicBezTo>
                    <a:cubicBezTo>
                      <a:pt x="302800" y="97250"/>
                      <a:pt x="305467" y="94107"/>
                      <a:pt x="307372" y="90488"/>
                    </a:cubicBezTo>
                    <a:cubicBezTo>
                      <a:pt x="310420" y="84677"/>
                      <a:pt x="313563" y="78867"/>
                      <a:pt x="315373" y="72676"/>
                    </a:cubicBezTo>
                    <a:cubicBezTo>
                      <a:pt x="319183" y="59627"/>
                      <a:pt x="322326" y="46292"/>
                      <a:pt x="321564" y="32480"/>
                    </a:cubicBezTo>
                    <a:cubicBezTo>
                      <a:pt x="321278" y="28099"/>
                      <a:pt x="319183" y="22003"/>
                      <a:pt x="315182" y="22003"/>
                    </a:cubicBezTo>
                    <a:cubicBezTo>
                      <a:pt x="309848" y="22003"/>
                      <a:pt x="306800" y="16288"/>
                      <a:pt x="301371" y="18193"/>
                    </a:cubicBezTo>
                    <a:cubicBezTo>
                      <a:pt x="300038" y="18669"/>
                      <a:pt x="301752" y="16478"/>
                      <a:pt x="300799" y="15907"/>
                    </a:cubicBezTo>
                    <a:cubicBezTo>
                      <a:pt x="297751" y="16955"/>
                      <a:pt x="298323" y="22098"/>
                      <a:pt x="293751" y="21527"/>
                    </a:cubicBezTo>
                    <a:cubicBezTo>
                      <a:pt x="290322" y="21050"/>
                      <a:pt x="290132" y="25241"/>
                      <a:pt x="287465" y="26860"/>
                    </a:cubicBezTo>
                    <a:cubicBezTo>
                      <a:pt x="283464" y="29242"/>
                      <a:pt x="277654" y="30671"/>
                      <a:pt x="276606" y="36671"/>
                    </a:cubicBezTo>
                    <a:cubicBezTo>
                      <a:pt x="274511" y="36100"/>
                      <a:pt x="274130" y="42863"/>
                      <a:pt x="270796" y="38005"/>
                    </a:cubicBezTo>
                    <a:cubicBezTo>
                      <a:pt x="270129" y="37052"/>
                      <a:pt x="269462" y="38291"/>
                      <a:pt x="269367" y="39148"/>
                    </a:cubicBezTo>
                    <a:cubicBezTo>
                      <a:pt x="269272" y="40196"/>
                      <a:pt x="269176" y="41243"/>
                      <a:pt x="268129" y="41815"/>
                    </a:cubicBezTo>
                    <a:cubicBezTo>
                      <a:pt x="263462" y="44482"/>
                      <a:pt x="261175" y="49625"/>
                      <a:pt x="256794" y="52673"/>
                    </a:cubicBezTo>
                    <a:cubicBezTo>
                      <a:pt x="250508" y="57055"/>
                      <a:pt x="247555" y="64865"/>
                      <a:pt x="241173" y="69056"/>
                    </a:cubicBezTo>
                    <a:cubicBezTo>
                      <a:pt x="238316" y="70961"/>
                      <a:pt x="235077" y="72009"/>
                      <a:pt x="234696" y="76010"/>
                    </a:cubicBezTo>
                    <a:cubicBezTo>
                      <a:pt x="234696" y="76200"/>
                      <a:pt x="234124" y="76581"/>
                      <a:pt x="233934" y="76581"/>
                    </a:cubicBezTo>
                    <a:cubicBezTo>
                      <a:pt x="229648" y="75724"/>
                      <a:pt x="228791" y="79915"/>
                      <a:pt x="227838" y="82010"/>
                    </a:cubicBezTo>
                    <a:cubicBezTo>
                      <a:pt x="224219" y="89725"/>
                      <a:pt x="217456" y="94869"/>
                      <a:pt x="212408" y="101346"/>
                    </a:cubicBezTo>
                    <a:cubicBezTo>
                      <a:pt x="210217" y="104204"/>
                      <a:pt x="208026" y="107823"/>
                      <a:pt x="204216" y="110109"/>
                    </a:cubicBezTo>
                    <a:cubicBezTo>
                      <a:pt x="198501" y="113538"/>
                      <a:pt x="192786" y="117729"/>
                      <a:pt x="190976" y="125254"/>
                    </a:cubicBezTo>
                    <a:cubicBezTo>
                      <a:pt x="190500" y="127445"/>
                      <a:pt x="187738" y="129064"/>
                      <a:pt x="184975" y="129254"/>
                    </a:cubicBezTo>
                    <a:cubicBezTo>
                      <a:pt x="182118" y="129445"/>
                      <a:pt x="181927" y="127159"/>
                      <a:pt x="181451" y="125158"/>
                    </a:cubicBezTo>
                    <a:cubicBezTo>
                      <a:pt x="181261" y="124492"/>
                      <a:pt x="180785" y="123920"/>
                      <a:pt x="180499" y="123349"/>
                    </a:cubicBezTo>
                    <a:cubicBezTo>
                      <a:pt x="175355" y="113729"/>
                      <a:pt x="170117" y="104108"/>
                      <a:pt x="165068" y="94393"/>
                    </a:cubicBezTo>
                    <a:cubicBezTo>
                      <a:pt x="164211" y="92678"/>
                      <a:pt x="163830" y="90964"/>
                      <a:pt x="161925" y="89725"/>
                    </a:cubicBezTo>
                    <a:cubicBezTo>
                      <a:pt x="156877" y="86487"/>
                      <a:pt x="158972" y="78677"/>
                      <a:pt x="153162" y="75819"/>
                    </a:cubicBezTo>
                    <a:cubicBezTo>
                      <a:pt x="153352" y="75533"/>
                      <a:pt x="153543" y="75248"/>
                      <a:pt x="153734" y="74962"/>
                    </a:cubicBezTo>
                    <a:cubicBezTo>
                      <a:pt x="154781" y="73723"/>
                      <a:pt x="153829" y="73343"/>
                      <a:pt x="152876" y="72771"/>
                    </a:cubicBezTo>
                    <a:cubicBezTo>
                      <a:pt x="148971" y="70390"/>
                      <a:pt x="145733" y="67437"/>
                      <a:pt x="145637" y="62484"/>
                    </a:cubicBezTo>
                    <a:cubicBezTo>
                      <a:pt x="145637" y="58674"/>
                      <a:pt x="142303" y="56674"/>
                      <a:pt x="141161" y="53531"/>
                    </a:cubicBezTo>
                    <a:cubicBezTo>
                      <a:pt x="138874" y="47149"/>
                      <a:pt x="135922" y="41148"/>
                      <a:pt x="132016" y="35719"/>
                    </a:cubicBezTo>
                    <a:cubicBezTo>
                      <a:pt x="129921" y="32766"/>
                      <a:pt x="126587" y="30575"/>
                      <a:pt x="127921" y="26194"/>
                    </a:cubicBezTo>
                    <a:cubicBezTo>
                      <a:pt x="128302" y="24956"/>
                      <a:pt x="128206" y="23527"/>
                      <a:pt x="127064" y="22384"/>
                    </a:cubicBezTo>
                    <a:cubicBezTo>
                      <a:pt x="121825" y="17526"/>
                      <a:pt x="120205" y="11049"/>
                      <a:pt x="119729" y="4286"/>
                    </a:cubicBezTo>
                    <a:cubicBezTo>
                      <a:pt x="119634" y="2477"/>
                      <a:pt x="119348" y="95"/>
                      <a:pt x="117824" y="0"/>
                    </a:cubicBezTo>
                    <a:cubicBezTo>
                      <a:pt x="116395" y="0"/>
                      <a:pt x="114205" y="572"/>
                      <a:pt x="113062" y="2477"/>
                    </a:cubicBezTo>
                    <a:cubicBezTo>
                      <a:pt x="110490" y="6953"/>
                      <a:pt x="107061" y="11144"/>
                      <a:pt x="105061" y="15811"/>
                    </a:cubicBezTo>
                    <a:cubicBezTo>
                      <a:pt x="104203" y="17812"/>
                      <a:pt x="101727" y="19431"/>
                      <a:pt x="102108" y="20383"/>
                    </a:cubicBezTo>
                    <a:cubicBezTo>
                      <a:pt x="104013" y="25146"/>
                      <a:pt x="100013" y="25527"/>
                      <a:pt x="97726" y="26765"/>
                    </a:cubicBezTo>
                    <a:cubicBezTo>
                      <a:pt x="92964" y="29432"/>
                      <a:pt x="92012" y="32957"/>
                      <a:pt x="95345" y="37433"/>
                    </a:cubicBezTo>
                    <a:cubicBezTo>
                      <a:pt x="98869" y="42101"/>
                      <a:pt x="101441" y="47054"/>
                      <a:pt x="100013" y="53340"/>
                    </a:cubicBezTo>
                    <a:cubicBezTo>
                      <a:pt x="99536" y="55340"/>
                      <a:pt x="99441" y="57626"/>
                      <a:pt x="102299" y="58293"/>
                    </a:cubicBezTo>
                    <a:cubicBezTo>
                      <a:pt x="103251" y="58483"/>
                      <a:pt x="103823" y="59055"/>
                      <a:pt x="103918" y="60008"/>
                    </a:cubicBezTo>
                    <a:cubicBezTo>
                      <a:pt x="104203" y="64294"/>
                      <a:pt x="106394" y="68485"/>
                      <a:pt x="105156" y="72866"/>
                    </a:cubicBezTo>
                    <a:cubicBezTo>
                      <a:pt x="104203" y="76105"/>
                      <a:pt x="105061" y="78296"/>
                      <a:pt x="107251" y="80581"/>
                    </a:cubicBezTo>
                    <a:cubicBezTo>
                      <a:pt x="108014" y="81344"/>
                      <a:pt x="108776" y="83248"/>
                      <a:pt x="108299" y="83820"/>
                    </a:cubicBezTo>
                    <a:cubicBezTo>
                      <a:pt x="103918" y="89916"/>
                      <a:pt x="111728" y="94679"/>
                      <a:pt x="110014" y="101156"/>
                    </a:cubicBezTo>
                    <a:cubicBezTo>
                      <a:pt x="109061" y="104680"/>
                      <a:pt x="112871" y="110585"/>
                      <a:pt x="112776" y="114586"/>
                    </a:cubicBezTo>
                    <a:cubicBezTo>
                      <a:pt x="112395" y="124682"/>
                      <a:pt x="119158" y="132779"/>
                      <a:pt x="118872" y="142780"/>
                    </a:cubicBezTo>
                    <a:cubicBezTo>
                      <a:pt x="118681" y="148781"/>
                      <a:pt x="122111" y="154496"/>
                      <a:pt x="123444" y="160401"/>
                    </a:cubicBezTo>
                    <a:cubicBezTo>
                      <a:pt x="124777" y="166497"/>
                      <a:pt x="127064" y="172307"/>
                      <a:pt x="128492" y="178308"/>
                    </a:cubicBezTo>
                    <a:cubicBezTo>
                      <a:pt x="128873" y="179832"/>
                      <a:pt x="129635" y="181546"/>
                      <a:pt x="128492" y="182594"/>
                    </a:cubicBezTo>
                    <a:cubicBezTo>
                      <a:pt x="127730" y="183261"/>
                      <a:pt x="126111" y="183547"/>
                      <a:pt x="124587" y="183166"/>
                    </a:cubicBezTo>
                    <a:cubicBezTo>
                      <a:pt x="121349" y="182309"/>
                      <a:pt x="120872" y="175165"/>
                      <a:pt x="115633" y="179261"/>
                    </a:cubicBezTo>
                    <a:cubicBezTo>
                      <a:pt x="114490" y="176879"/>
                      <a:pt x="112109" y="176784"/>
                      <a:pt x="110204" y="175641"/>
                    </a:cubicBezTo>
                    <a:cubicBezTo>
                      <a:pt x="106489" y="173546"/>
                      <a:pt x="100679" y="170021"/>
                      <a:pt x="99251" y="171641"/>
                    </a:cubicBezTo>
                    <a:cubicBezTo>
                      <a:pt x="94107" y="177546"/>
                      <a:pt x="92869" y="169926"/>
                      <a:pt x="89726" y="169926"/>
                    </a:cubicBezTo>
                    <a:cubicBezTo>
                      <a:pt x="89344" y="169926"/>
                      <a:pt x="88964" y="170593"/>
                      <a:pt x="88582" y="170879"/>
                    </a:cubicBezTo>
                    <a:cubicBezTo>
                      <a:pt x="88392" y="170021"/>
                      <a:pt x="88964" y="168307"/>
                      <a:pt x="88011" y="168497"/>
                    </a:cubicBezTo>
                    <a:cubicBezTo>
                      <a:pt x="86296" y="168878"/>
                      <a:pt x="86963" y="170498"/>
                      <a:pt x="87535" y="171641"/>
                    </a:cubicBezTo>
                    <a:cubicBezTo>
                      <a:pt x="84963" y="170879"/>
                      <a:pt x="82010" y="170688"/>
                      <a:pt x="79915" y="169164"/>
                    </a:cubicBezTo>
                    <a:cubicBezTo>
                      <a:pt x="75724" y="166116"/>
                      <a:pt x="71342" y="166116"/>
                      <a:pt x="66675" y="166306"/>
                    </a:cubicBezTo>
                    <a:cubicBezTo>
                      <a:pt x="66199" y="165640"/>
                      <a:pt x="65532" y="165259"/>
                      <a:pt x="64579" y="165354"/>
                    </a:cubicBezTo>
                    <a:cubicBezTo>
                      <a:pt x="59436" y="165830"/>
                      <a:pt x="54959" y="171736"/>
                      <a:pt x="49339" y="167164"/>
                    </a:cubicBezTo>
                    <a:cubicBezTo>
                      <a:pt x="49244" y="167164"/>
                      <a:pt x="48958" y="166973"/>
                      <a:pt x="48863" y="167069"/>
                    </a:cubicBezTo>
                    <a:cubicBezTo>
                      <a:pt x="44005" y="169354"/>
                      <a:pt x="39338" y="167259"/>
                      <a:pt x="34576" y="166402"/>
                    </a:cubicBezTo>
                    <a:cubicBezTo>
                      <a:pt x="31909" y="165164"/>
                      <a:pt x="30099" y="166973"/>
                      <a:pt x="28289" y="168402"/>
                    </a:cubicBezTo>
                    <a:cubicBezTo>
                      <a:pt x="25717" y="169736"/>
                      <a:pt x="22289" y="169926"/>
                      <a:pt x="21431" y="173450"/>
                    </a:cubicBezTo>
                    <a:cubicBezTo>
                      <a:pt x="21050" y="171641"/>
                      <a:pt x="20574" y="170212"/>
                      <a:pt x="18097" y="171260"/>
                    </a:cubicBezTo>
                    <a:cubicBezTo>
                      <a:pt x="16002" y="172212"/>
                      <a:pt x="12478" y="170117"/>
                      <a:pt x="11716" y="173927"/>
                    </a:cubicBezTo>
                    <a:cubicBezTo>
                      <a:pt x="11335" y="175641"/>
                      <a:pt x="11144" y="176784"/>
                      <a:pt x="9430" y="178022"/>
                    </a:cubicBezTo>
                    <a:cubicBezTo>
                      <a:pt x="6953" y="179927"/>
                      <a:pt x="4858" y="182690"/>
                      <a:pt x="6953" y="186404"/>
                    </a:cubicBezTo>
                    <a:cubicBezTo>
                      <a:pt x="7525" y="187452"/>
                      <a:pt x="7620" y="189167"/>
                      <a:pt x="7239" y="190310"/>
                    </a:cubicBezTo>
                    <a:cubicBezTo>
                      <a:pt x="5429" y="194691"/>
                      <a:pt x="3810" y="199358"/>
                      <a:pt x="1143" y="203264"/>
                    </a:cubicBezTo>
                    <a:cubicBezTo>
                      <a:pt x="-1905" y="207836"/>
                      <a:pt x="4096" y="212693"/>
                      <a:pt x="0" y="216789"/>
                    </a:cubicBezTo>
                    <a:cubicBezTo>
                      <a:pt x="0" y="216789"/>
                      <a:pt x="381" y="217265"/>
                      <a:pt x="571" y="217646"/>
                    </a:cubicBezTo>
                    <a:cubicBezTo>
                      <a:pt x="2572" y="221456"/>
                      <a:pt x="7239" y="220980"/>
                      <a:pt x="10001" y="221742"/>
                    </a:cubicBezTo>
                    <a:cubicBezTo>
                      <a:pt x="16097" y="223361"/>
                      <a:pt x="22384" y="222980"/>
                      <a:pt x="27718" y="227743"/>
                    </a:cubicBezTo>
                    <a:cubicBezTo>
                      <a:pt x="34290" y="233553"/>
                      <a:pt x="44767" y="230219"/>
                      <a:pt x="51054" y="236982"/>
                    </a:cubicBezTo>
                    <a:cubicBezTo>
                      <a:pt x="51340" y="237268"/>
                      <a:pt x="52673" y="237173"/>
                      <a:pt x="52959" y="236792"/>
                    </a:cubicBezTo>
                    <a:cubicBezTo>
                      <a:pt x="55245" y="234029"/>
                      <a:pt x="57817" y="236125"/>
                      <a:pt x="60293" y="236220"/>
                    </a:cubicBezTo>
                    <a:cubicBezTo>
                      <a:pt x="61817" y="237839"/>
                      <a:pt x="63627" y="237649"/>
                      <a:pt x="65818" y="237649"/>
                    </a:cubicBezTo>
                    <a:cubicBezTo>
                      <a:pt x="70485" y="237649"/>
                      <a:pt x="75248" y="238982"/>
                      <a:pt x="79915" y="239363"/>
                    </a:cubicBezTo>
                    <a:cubicBezTo>
                      <a:pt x="85534" y="239744"/>
                      <a:pt x="90964" y="242888"/>
                      <a:pt x="97060" y="240030"/>
                    </a:cubicBezTo>
                    <a:cubicBezTo>
                      <a:pt x="98489" y="239363"/>
                      <a:pt x="103251" y="237649"/>
                      <a:pt x="104489" y="240030"/>
                    </a:cubicBezTo>
                    <a:cubicBezTo>
                      <a:pt x="106870" y="244697"/>
                      <a:pt x="108490" y="243840"/>
                      <a:pt x="110871" y="239744"/>
                    </a:cubicBezTo>
                    <a:cubicBezTo>
                      <a:pt x="112109" y="242888"/>
                      <a:pt x="112871" y="246507"/>
                      <a:pt x="116205" y="242125"/>
                    </a:cubicBezTo>
                    <a:cubicBezTo>
                      <a:pt x="117919" y="239840"/>
                      <a:pt x="119063" y="242411"/>
                      <a:pt x="120491" y="243078"/>
                    </a:cubicBezTo>
                    <a:cubicBezTo>
                      <a:pt x="121539" y="243459"/>
                      <a:pt x="121920" y="245554"/>
                      <a:pt x="123634" y="244412"/>
                    </a:cubicBezTo>
                    <a:cubicBezTo>
                      <a:pt x="126778" y="248984"/>
                      <a:pt x="130016" y="242983"/>
                      <a:pt x="133255" y="244412"/>
                    </a:cubicBezTo>
                    <a:cubicBezTo>
                      <a:pt x="133636" y="248317"/>
                      <a:pt x="131350" y="248507"/>
                      <a:pt x="128492" y="247745"/>
                    </a:cubicBezTo>
                    <a:cubicBezTo>
                      <a:pt x="127826" y="252127"/>
                      <a:pt x="123253" y="253556"/>
                      <a:pt x="121444" y="257270"/>
                    </a:cubicBezTo>
                    <a:cubicBezTo>
                      <a:pt x="119158" y="262223"/>
                      <a:pt x="116872" y="267843"/>
                      <a:pt x="112966" y="271082"/>
                    </a:cubicBezTo>
                    <a:cubicBezTo>
                      <a:pt x="109538" y="273939"/>
                      <a:pt x="106680" y="276511"/>
                      <a:pt x="105156" y="280702"/>
                    </a:cubicBezTo>
                    <a:cubicBezTo>
                      <a:pt x="101917" y="283369"/>
                      <a:pt x="99441" y="287084"/>
                      <a:pt x="96202" y="289465"/>
                    </a:cubicBezTo>
                    <a:cubicBezTo>
                      <a:pt x="91250" y="293180"/>
                      <a:pt x="89440" y="298514"/>
                      <a:pt x="86582" y="303371"/>
                    </a:cubicBezTo>
                    <a:cubicBezTo>
                      <a:pt x="85153" y="305848"/>
                      <a:pt x="84201" y="307848"/>
                      <a:pt x="81629" y="309658"/>
                    </a:cubicBezTo>
                    <a:cubicBezTo>
                      <a:pt x="78867" y="311658"/>
                      <a:pt x="73533" y="311944"/>
                      <a:pt x="74104" y="317468"/>
                    </a:cubicBezTo>
                    <a:cubicBezTo>
                      <a:pt x="74104" y="317945"/>
                      <a:pt x="73057" y="318707"/>
                      <a:pt x="72295" y="319088"/>
                    </a:cubicBezTo>
                    <a:cubicBezTo>
                      <a:pt x="69056" y="321088"/>
                      <a:pt x="65913" y="322993"/>
                      <a:pt x="64865" y="327184"/>
                    </a:cubicBezTo>
                    <a:cubicBezTo>
                      <a:pt x="64579" y="328613"/>
                      <a:pt x="63437" y="330041"/>
                      <a:pt x="62293" y="330898"/>
                    </a:cubicBezTo>
                    <a:cubicBezTo>
                      <a:pt x="60293" y="332327"/>
                      <a:pt x="55912" y="337185"/>
                      <a:pt x="55435" y="339185"/>
                    </a:cubicBezTo>
                    <a:cubicBezTo>
                      <a:pt x="54578" y="342710"/>
                      <a:pt x="53530" y="346234"/>
                      <a:pt x="52864" y="349758"/>
                    </a:cubicBezTo>
                    <a:cubicBezTo>
                      <a:pt x="51911" y="354711"/>
                      <a:pt x="48958" y="359473"/>
                      <a:pt x="51149" y="364903"/>
                    </a:cubicBezTo>
                    <a:cubicBezTo>
                      <a:pt x="51721" y="366332"/>
                      <a:pt x="50864" y="368332"/>
                      <a:pt x="50959" y="370046"/>
                    </a:cubicBezTo>
                    <a:cubicBezTo>
                      <a:pt x="51244" y="375285"/>
                      <a:pt x="46006" y="380619"/>
                      <a:pt x="51149" y="385953"/>
                    </a:cubicBezTo>
                    <a:cubicBezTo>
                      <a:pt x="51911" y="386810"/>
                      <a:pt x="51530" y="388144"/>
                      <a:pt x="50578" y="388620"/>
                    </a:cubicBezTo>
                    <a:cubicBezTo>
                      <a:pt x="47625" y="389954"/>
                      <a:pt x="49816" y="391573"/>
                      <a:pt x="50578" y="392621"/>
                    </a:cubicBezTo>
                    <a:cubicBezTo>
                      <a:pt x="53912" y="397383"/>
                      <a:pt x="61341" y="394811"/>
                      <a:pt x="64484" y="400241"/>
                    </a:cubicBezTo>
                    <a:cubicBezTo>
                      <a:pt x="64484" y="400241"/>
                      <a:pt x="65913" y="399955"/>
                      <a:pt x="66199" y="399479"/>
                    </a:cubicBezTo>
                    <a:cubicBezTo>
                      <a:pt x="68199" y="396621"/>
                      <a:pt x="71342" y="397478"/>
                      <a:pt x="74009" y="396621"/>
                    </a:cubicBezTo>
                    <a:cubicBezTo>
                      <a:pt x="77343" y="395573"/>
                      <a:pt x="82582" y="395859"/>
                      <a:pt x="81629" y="389573"/>
                    </a:cubicBezTo>
                    <a:cubicBezTo>
                      <a:pt x="81439" y="388334"/>
                      <a:pt x="82772" y="385858"/>
                      <a:pt x="83629" y="385763"/>
                    </a:cubicBezTo>
                    <a:cubicBezTo>
                      <a:pt x="87820" y="385382"/>
                      <a:pt x="87439" y="381571"/>
                      <a:pt x="88868" y="379095"/>
                    </a:cubicBezTo>
                    <a:cubicBezTo>
                      <a:pt x="89630" y="380048"/>
                      <a:pt x="90297" y="380810"/>
                      <a:pt x="90773" y="381476"/>
                    </a:cubicBezTo>
                    <a:cubicBezTo>
                      <a:pt x="95155" y="376523"/>
                      <a:pt x="99346" y="371666"/>
                      <a:pt x="103537" y="366903"/>
                    </a:cubicBezTo>
                    <a:cubicBezTo>
                      <a:pt x="104870" y="365379"/>
                      <a:pt x="106013" y="362712"/>
                      <a:pt x="107537" y="362426"/>
                    </a:cubicBezTo>
                    <a:cubicBezTo>
                      <a:pt x="112776" y="361379"/>
                      <a:pt x="115824" y="357759"/>
                      <a:pt x="117157" y="353568"/>
                    </a:cubicBezTo>
                    <a:cubicBezTo>
                      <a:pt x="118967" y="347853"/>
                      <a:pt x="123253" y="346710"/>
                      <a:pt x="127826" y="345377"/>
                    </a:cubicBezTo>
                    <a:cubicBezTo>
                      <a:pt x="131731" y="344805"/>
                      <a:pt x="129159" y="341852"/>
                      <a:pt x="129826" y="340043"/>
                    </a:cubicBezTo>
                    <a:cubicBezTo>
                      <a:pt x="130874" y="338900"/>
                      <a:pt x="129445" y="334804"/>
                      <a:pt x="133636" y="337375"/>
                    </a:cubicBezTo>
                    <a:cubicBezTo>
                      <a:pt x="134779" y="338042"/>
                      <a:pt x="137065" y="335756"/>
                      <a:pt x="138017" y="333756"/>
                    </a:cubicBezTo>
                    <a:cubicBezTo>
                      <a:pt x="139827" y="329946"/>
                      <a:pt x="141161" y="325755"/>
                      <a:pt x="146018" y="324612"/>
                    </a:cubicBezTo>
                    <a:cubicBezTo>
                      <a:pt x="147066" y="324326"/>
                      <a:pt x="148590" y="324231"/>
                      <a:pt x="147733" y="322421"/>
                    </a:cubicBezTo>
                    <a:cubicBezTo>
                      <a:pt x="150304" y="316135"/>
                      <a:pt x="155639" y="312039"/>
                      <a:pt x="160592" y="308134"/>
                    </a:cubicBezTo>
                    <a:cubicBezTo>
                      <a:pt x="162401" y="306705"/>
                      <a:pt x="165735" y="306324"/>
                      <a:pt x="167069" y="303657"/>
                    </a:cubicBezTo>
                    <a:cubicBezTo>
                      <a:pt x="168116" y="301562"/>
                      <a:pt x="168688" y="299371"/>
                      <a:pt x="171831" y="301181"/>
                    </a:cubicBezTo>
                    <a:cubicBezTo>
                      <a:pt x="172402" y="301466"/>
                      <a:pt x="173545" y="300419"/>
                      <a:pt x="173355" y="299085"/>
                    </a:cubicBezTo>
                    <a:cubicBezTo>
                      <a:pt x="172974" y="296990"/>
                      <a:pt x="174784" y="296704"/>
                      <a:pt x="176117" y="296037"/>
                    </a:cubicBezTo>
                    <a:cubicBezTo>
                      <a:pt x="176308" y="298418"/>
                      <a:pt x="180118" y="298133"/>
                      <a:pt x="179737" y="300800"/>
                    </a:cubicBezTo>
                    <a:cubicBezTo>
                      <a:pt x="178689" y="307467"/>
                      <a:pt x="181737" y="313373"/>
                      <a:pt x="184309" y="318897"/>
                    </a:cubicBezTo>
                    <a:cubicBezTo>
                      <a:pt x="186976" y="324898"/>
                      <a:pt x="188214" y="331089"/>
                      <a:pt x="189547" y="337375"/>
                    </a:cubicBezTo>
                    <a:cubicBezTo>
                      <a:pt x="190595" y="342329"/>
                      <a:pt x="190405" y="347853"/>
                      <a:pt x="192595" y="352139"/>
                    </a:cubicBezTo>
                    <a:cubicBezTo>
                      <a:pt x="195072" y="356997"/>
                      <a:pt x="192595" y="362426"/>
                      <a:pt x="196024" y="367094"/>
                    </a:cubicBezTo>
                    <a:cubicBezTo>
                      <a:pt x="197263" y="368713"/>
                      <a:pt x="197072" y="372237"/>
                      <a:pt x="198596" y="374523"/>
                    </a:cubicBezTo>
                    <a:cubicBezTo>
                      <a:pt x="197834" y="381191"/>
                      <a:pt x="201549" y="387287"/>
                      <a:pt x="201263" y="393859"/>
                    </a:cubicBezTo>
                    <a:cubicBezTo>
                      <a:pt x="201073" y="397383"/>
                      <a:pt x="204121" y="399955"/>
                      <a:pt x="204406" y="403098"/>
                    </a:cubicBezTo>
                    <a:cubicBezTo>
                      <a:pt x="204883" y="407765"/>
                      <a:pt x="205740" y="412052"/>
                      <a:pt x="207931" y="416243"/>
                    </a:cubicBezTo>
                    <a:cubicBezTo>
                      <a:pt x="208978" y="418338"/>
                      <a:pt x="208502" y="421386"/>
                      <a:pt x="211741" y="422053"/>
                    </a:cubicBezTo>
                    <a:cubicBezTo>
                      <a:pt x="208693" y="425387"/>
                      <a:pt x="211360" y="428625"/>
                      <a:pt x="212122" y="431864"/>
                    </a:cubicBezTo>
                    <a:cubicBezTo>
                      <a:pt x="213931" y="438912"/>
                      <a:pt x="216884" y="445389"/>
                      <a:pt x="223266" y="449580"/>
                    </a:cubicBezTo>
                    <a:cubicBezTo>
                      <a:pt x="224790" y="450914"/>
                      <a:pt x="225838" y="453771"/>
                      <a:pt x="228695" y="451580"/>
                    </a:cubicBezTo>
                    <a:lnTo>
                      <a:pt x="228695" y="451580"/>
                    </a:lnTo>
                    <a:cubicBezTo>
                      <a:pt x="230315" y="450533"/>
                      <a:pt x="231934" y="449485"/>
                      <a:pt x="233648" y="451580"/>
                    </a:cubicBezTo>
                    <a:cubicBezTo>
                      <a:pt x="234220" y="452342"/>
                      <a:pt x="241554" y="449866"/>
                      <a:pt x="241840" y="448913"/>
                    </a:cubicBezTo>
                    <a:cubicBezTo>
                      <a:pt x="244602" y="440531"/>
                      <a:pt x="245173" y="431959"/>
                      <a:pt x="244030" y="423386"/>
                    </a:cubicBezTo>
                    <a:cubicBezTo>
                      <a:pt x="243173" y="417100"/>
                      <a:pt x="241745" y="410813"/>
                      <a:pt x="240601" y="404622"/>
                    </a:cubicBezTo>
                    <a:cubicBezTo>
                      <a:pt x="239459" y="398621"/>
                      <a:pt x="242221" y="391954"/>
                      <a:pt x="237172" y="386620"/>
                    </a:cubicBezTo>
                    <a:cubicBezTo>
                      <a:pt x="236792" y="386239"/>
                      <a:pt x="236982" y="385286"/>
                      <a:pt x="236982" y="384620"/>
                    </a:cubicBezTo>
                    <a:cubicBezTo>
                      <a:pt x="237268" y="376714"/>
                      <a:pt x="235172" y="369284"/>
                      <a:pt x="232981" y="361855"/>
                    </a:cubicBezTo>
                    <a:cubicBezTo>
                      <a:pt x="235077" y="357759"/>
                      <a:pt x="229648" y="354235"/>
                      <a:pt x="232029" y="350044"/>
                    </a:cubicBezTo>
                    <a:cubicBezTo>
                      <a:pt x="226409" y="342043"/>
                      <a:pt x="226123" y="332232"/>
                      <a:pt x="223456" y="323279"/>
                    </a:cubicBezTo>
                    <a:cubicBezTo>
                      <a:pt x="220409" y="313182"/>
                      <a:pt x="215360" y="304038"/>
                      <a:pt x="212503" y="294037"/>
                    </a:cubicBezTo>
                    <a:cubicBezTo>
                      <a:pt x="211741" y="291275"/>
                      <a:pt x="210217" y="287274"/>
                      <a:pt x="212217" y="285655"/>
                    </a:cubicBezTo>
                    <a:cubicBezTo>
                      <a:pt x="214694" y="283750"/>
                      <a:pt x="218885" y="288227"/>
                      <a:pt x="222123" y="284988"/>
                    </a:cubicBezTo>
                    <a:cubicBezTo>
                      <a:pt x="224599" y="290703"/>
                      <a:pt x="230695" y="290036"/>
                      <a:pt x="234410" y="289560"/>
                    </a:cubicBezTo>
                    <a:cubicBezTo>
                      <a:pt x="239649" y="288893"/>
                      <a:pt x="244030" y="291370"/>
                      <a:pt x="249079" y="291179"/>
                    </a:cubicBezTo>
                    <a:cubicBezTo>
                      <a:pt x="255175" y="290989"/>
                      <a:pt x="261556" y="292132"/>
                      <a:pt x="267843" y="292227"/>
                    </a:cubicBezTo>
                    <a:cubicBezTo>
                      <a:pt x="269367" y="292227"/>
                      <a:pt x="270891" y="290608"/>
                      <a:pt x="272701" y="291560"/>
                    </a:cubicBezTo>
                    <a:cubicBezTo>
                      <a:pt x="275939" y="293370"/>
                      <a:pt x="279749" y="290132"/>
                      <a:pt x="282893" y="292798"/>
                    </a:cubicBezTo>
                    <a:cubicBezTo>
                      <a:pt x="283083" y="292989"/>
                      <a:pt x="283750" y="291941"/>
                      <a:pt x="283464" y="291179"/>
                    </a:cubicBezTo>
                    <a:cubicBezTo>
                      <a:pt x="283178" y="290513"/>
                      <a:pt x="282131" y="289655"/>
                      <a:pt x="283464" y="289179"/>
                    </a:cubicBezTo>
                    <a:cubicBezTo>
                      <a:pt x="284226" y="288893"/>
                      <a:pt x="285179" y="289084"/>
                      <a:pt x="285560" y="290132"/>
                    </a:cubicBezTo>
                    <a:cubicBezTo>
                      <a:pt x="286226" y="291751"/>
                      <a:pt x="287179" y="291465"/>
                      <a:pt x="288893" y="291656"/>
                    </a:cubicBezTo>
                    <a:cubicBezTo>
                      <a:pt x="296132" y="292418"/>
                      <a:pt x="302419" y="287655"/>
                      <a:pt x="309944" y="288893"/>
                    </a:cubicBezTo>
                    <a:cubicBezTo>
                      <a:pt x="313468" y="289465"/>
                      <a:pt x="319849" y="288417"/>
                      <a:pt x="322421" y="283083"/>
                    </a:cubicBezTo>
                    <a:cubicBezTo>
                      <a:pt x="322802" y="282226"/>
                      <a:pt x="323755" y="281845"/>
                      <a:pt x="324517" y="282797"/>
                    </a:cubicBezTo>
                    <a:cubicBezTo>
                      <a:pt x="327184" y="286417"/>
                      <a:pt x="330803" y="284702"/>
                      <a:pt x="333756" y="283940"/>
                    </a:cubicBezTo>
                    <a:cubicBezTo>
                      <a:pt x="336995" y="283178"/>
                      <a:pt x="339376" y="283940"/>
                      <a:pt x="341567" y="285941"/>
                    </a:cubicBezTo>
                    <a:cubicBezTo>
                      <a:pt x="343567" y="286417"/>
                      <a:pt x="344615" y="285083"/>
                      <a:pt x="345853" y="283940"/>
                    </a:cubicBezTo>
                    <a:cubicBezTo>
                      <a:pt x="346043" y="284512"/>
                      <a:pt x="346139" y="285750"/>
                      <a:pt x="346996" y="284988"/>
                    </a:cubicBezTo>
                    <a:cubicBezTo>
                      <a:pt x="348234" y="284036"/>
                      <a:pt x="346424" y="282893"/>
                      <a:pt x="346710" y="281750"/>
                    </a:cubicBezTo>
                    <a:cubicBezTo>
                      <a:pt x="351282" y="278606"/>
                      <a:pt x="356807" y="282035"/>
                      <a:pt x="361474" y="279559"/>
                    </a:cubicBezTo>
                    <a:cubicBezTo>
                      <a:pt x="364331" y="281369"/>
                      <a:pt x="363093" y="278511"/>
                      <a:pt x="363569" y="277749"/>
                    </a:cubicBezTo>
                    <a:cubicBezTo>
                      <a:pt x="366617" y="275939"/>
                      <a:pt x="367665" y="273177"/>
                      <a:pt x="366046" y="270129"/>
                    </a:cubicBezTo>
                    <a:cubicBezTo>
                      <a:pt x="364522" y="267367"/>
                      <a:pt x="364236" y="265462"/>
                      <a:pt x="366903" y="263271"/>
                    </a:cubicBezTo>
                    <a:cubicBezTo>
                      <a:pt x="368522" y="262033"/>
                      <a:pt x="369094" y="259461"/>
                      <a:pt x="367951" y="257556"/>
                    </a:cubicBezTo>
                    <a:moveTo>
                      <a:pt x="155543" y="115348"/>
                    </a:moveTo>
                    <a:cubicBezTo>
                      <a:pt x="157067" y="115443"/>
                      <a:pt x="157734" y="116205"/>
                      <a:pt x="157448" y="117729"/>
                    </a:cubicBezTo>
                    <a:cubicBezTo>
                      <a:pt x="157353" y="118396"/>
                      <a:pt x="157163" y="119253"/>
                      <a:pt x="156305" y="119158"/>
                    </a:cubicBezTo>
                    <a:cubicBezTo>
                      <a:pt x="154876" y="118967"/>
                      <a:pt x="154495" y="117824"/>
                      <a:pt x="154115" y="116586"/>
                    </a:cubicBezTo>
                    <a:cubicBezTo>
                      <a:pt x="153638" y="115062"/>
                      <a:pt x="154876" y="115443"/>
                      <a:pt x="155543" y="115348"/>
                    </a:cubicBezTo>
                    <a:moveTo>
                      <a:pt x="158591" y="155543"/>
                    </a:moveTo>
                    <a:cubicBezTo>
                      <a:pt x="157544" y="156020"/>
                      <a:pt x="156305" y="156020"/>
                      <a:pt x="155353" y="156877"/>
                    </a:cubicBezTo>
                    <a:cubicBezTo>
                      <a:pt x="152305" y="159544"/>
                      <a:pt x="150876" y="158687"/>
                      <a:pt x="149447" y="154591"/>
                    </a:cubicBezTo>
                    <a:cubicBezTo>
                      <a:pt x="145733" y="143923"/>
                      <a:pt x="145923" y="132302"/>
                      <a:pt x="141161" y="121920"/>
                    </a:cubicBezTo>
                    <a:cubicBezTo>
                      <a:pt x="140779" y="121063"/>
                      <a:pt x="141446" y="119634"/>
                      <a:pt x="141637" y="118491"/>
                    </a:cubicBezTo>
                    <a:lnTo>
                      <a:pt x="143066" y="118491"/>
                    </a:lnTo>
                    <a:cubicBezTo>
                      <a:pt x="146399" y="121063"/>
                      <a:pt x="145733" y="127159"/>
                      <a:pt x="151257" y="127921"/>
                    </a:cubicBezTo>
                    <a:cubicBezTo>
                      <a:pt x="151352" y="127921"/>
                      <a:pt x="151543" y="128492"/>
                      <a:pt x="151543" y="128683"/>
                    </a:cubicBezTo>
                    <a:cubicBezTo>
                      <a:pt x="149543" y="134017"/>
                      <a:pt x="154305" y="136208"/>
                      <a:pt x="156972" y="138303"/>
                    </a:cubicBezTo>
                    <a:cubicBezTo>
                      <a:pt x="160782" y="141161"/>
                      <a:pt x="162877" y="144971"/>
                      <a:pt x="163830" y="148876"/>
                    </a:cubicBezTo>
                    <a:cubicBezTo>
                      <a:pt x="164306" y="150876"/>
                      <a:pt x="161449" y="154210"/>
                      <a:pt x="158591" y="155543"/>
                    </a:cubicBezTo>
                    <a:moveTo>
                      <a:pt x="228028" y="149257"/>
                    </a:moveTo>
                    <a:cubicBezTo>
                      <a:pt x="224504" y="153352"/>
                      <a:pt x="222409" y="159734"/>
                      <a:pt x="218503" y="161735"/>
                    </a:cubicBezTo>
                    <a:cubicBezTo>
                      <a:pt x="210979" y="165735"/>
                      <a:pt x="211169" y="173450"/>
                      <a:pt x="206978" y="178689"/>
                    </a:cubicBezTo>
                    <a:cubicBezTo>
                      <a:pt x="206597" y="179165"/>
                      <a:pt x="206216" y="180404"/>
                      <a:pt x="206026" y="180404"/>
                    </a:cubicBezTo>
                    <a:cubicBezTo>
                      <a:pt x="198120" y="178879"/>
                      <a:pt x="196596" y="188690"/>
                      <a:pt x="189643" y="189548"/>
                    </a:cubicBezTo>
                    <a:cubicBezTo>
                      <a:pt x="187643" y="189833"/>
                      <a:pt x="187928" y="195453"/>
                      <a:pt x="185642" y="198025"/>
                    </a:cubicBezTo>
                    <a:cubicBezTo>
                      <a:pt x="184499" y="199358"/>
                      <a:pt x="184499" y="201549"/>
                      <a:pt x="182690" y="202597"/>
                    </a:cubicBezTo>
                    <a:cubicBezTo>
                      <a:pt x="182690" y="201073"/>
                      <a:pt x="182690" y="199549"/>
                      <a:pt x="180689" y="199168"/>
                    </a:cubicBezTo>
                    <a:cubicBezTo>
                      <a:pt x="179451" y="197072"/>
                      <a:pt x="178498" y="194786"/>
                      <a:pt x="176403" y="193453"/>
                    </a:cubicBezTo>
                    <a:cubicBezTo>
                      <a:pt x="176403" y="189262"/>
                      <a:pt x="179642" y="187166"/>
                      <a:pt x="182023" y="184404"/>
                    </a:cubicBezTo>
                    <a:cubicBezTo>
                      <a:pt x="183261" y="182975"/>
                      <a:pt x="186309" y="182499"/>
                      <a:pt x="184880" y="179261"/>
                    </a:cubicBezTo>
                    <a:cubicBezTo>
                      <a:pt x="184404" y="178213"/>
                      <a:pt x="185356" y="178118"/>
                      <a:pt x="186214" y="178879"/>
                    </a:cubicBezTo>
                    <a:cubicBezTo>
                      <a:pt x="187547" y="180023"/>
                      <a:pt x="188023" y="178213"/>
                      <a:pt x="188500" y="177641"/>
                    </a:cubicBezTo>
                    <a:cubicBezTo>
                      <a:pt x="190310" y="175546"/>
                      <a:pt x="189643" y="170879"/>
                      <a:pt x="194500" y="171736"/>
                    </a:cubicBezTo>
                    <a:cubicBezTo>
                      <a:pt x="196787" y="165068"/>
                      <a:pt x="203740" y="162116"/>
                      <a:pt x="207073" y="155829"/>
                    </a:cubicBezTo>
                    <a:cubicBezTo>
                      <a:pt x="209550" y="151257"/>
                      <a:pt x="214408" y="147542"/>
                      <a:pt x="218313" y="143542"/>
                    </a:cubicBezTo>
                    <a:cubicBezTo>
                      <a:pt x="222314" y="139446"/>
                      <a:pt x="225552" y="134874"/>
                      <a:pt x="229267" y="130588"/>
                    </a:cubicBezTo>
                    <a:cubicBezTo>
                      <a:pt x="233553" y="125635"/>
                      <a:pt x="235553" y="119158"/>
                      <a:pt x="240316" y="114871"/>
                    </a:cubicBezTo>
                    <a:cubicBezTo>
                      <a:pt x="243649" y="111823"/>
                      <a:pt x="247078" y="108966"/>
                      <a:pt x="249936" y="105346"/>
                    </a:cubicBezTo>
                    <a:cubicBezTo>
                      <a:pt x="253460" y="100965"/>
                      <a:pt x="257461" y="96869"/>
                      <a:pt x="262795" y="94107"/>
                    </a:cubicBezTo>
                    <a:cubicBezTo>
                      <a:pt x="266795" y="92012"/>
                      <a:pt x="268224" y="86677"/>
                      <a:pt x="272129" y="84201"/>
                    </a:cubicBezTo>
                    <a:cubicBezTo>
                      <a:pt x="274511" y="84582"/>
                      <a:pt x="275749" y="83725"/>
                      <a:pt x="275368" y="81153"/>
                    </a:cubicBezTo>
                    <a:cubicBezTo>
                      <a:pt x="276320" y="81725"/>
                      <a:pt x="278035" y="79915"/>
                      <a:pt x="278320" y="81820"/>
                    </a:cubicBezTo>
                    <a:cubicBezTo>
                      <a:pt x="278511" y="83153"/>
                      <a:pt x="279083" y="85249"/>
                      <a:pt x="277273" y="85916"/>
                    </a:cubicBezTo>
                    <a:cubicBezTo>
                      <a:pt x="271653" y="88106"/>
                      <a:pt x="270034" y="94012"/>
                      <a:pt x="266319" y="97917"/>
                    </a:cubicBezTo>
                    <a:cubicBezTo>
                      <a:pt x="262890" y="101537"/>
                      <a:pt x="259651" y="105632"/>
                      <a:pt x="256889" y="109728"/>
                    </a:cubicBezTo>
                    <a:cubicBezTo>
                      <a:pt x="253651" y="114300"/>
                      <a:pt x="249841" y="118491"/>
                      <a:pt x="247174" y="123349"/>
                    </a:cubicBezTo>
                    <a:cubicBezTo>
                      <a:pt x="245936" y="123635"/>
                      <a:pt x="245459" y="124587"/>
                      <a:pt x="245173" y="125730"/>
                    </a:cubicBezTo>
                    <a:cubicBezTo>
                      <a:pt x="242888" y="126016"/>
                      <a:pt x="244793" y="129635"/>
                      <a:pt x="242125" y="129635"/>
                    </a:cubicBezTo>
                    <a:cubicBezTo>
                      <a:pt x="242125" y="128969"/>
                      <a:pt x="242125" y="128016"/>
                      <a:pt x="241268" y="128397"/>
                    </a:cubicBezTo>
                    <a:cubicBezTo>
                      <a:pt x="239363" y="129254"/>
                      <a:pt x="241268" y="130778"/>
                      <a:pt x="240887" y="131921"/>
                    </a:cubicBezTo>
                    <a:cubicBezTo>
                      <a:pt x="233744" y="135636"/>
                      <a:pt x="232886" y="143923"/>
                      <a:pt x="228314" y="149257"/>
                    </a:cubicBezTo>
                  </a:path>
                </a:pathLst>
              </a:custGeom>
              <a:solidFill>
                <a:schemeClr val="accent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79" name="Freeform: Shape 78">
                <a:extLst>
                  <a:ext uri="{FF2B5EF4-FFF2-40B4-BE49-F238E27FC236}">
                    <a16:creationId xmlns:a16="http://schemas.microsoft.com/office/drawing/2014/main" id="{8A8069C7-3F86-5A17-38ED-AAD689FDC004}"/>
                  </a:ext>
                </a:extLst>
              </p:cNvPr>
              <p:cNvSpPr/>
              <p:nvPr/>
            </p:nvSpPr>
            <p:spPr>
              <a:xfrm>
                <a:off x="11226339" y="6219846"/>
                <a:ext cx="512041" cy="776474"/>
              </a:xfrm>
              <a:custGeom>
                <a:avLst/>
                <a:gdLst>
                  <a:gd name="connsiteX0" fmla="*/ 468035 w 512041"/>
                  <a:gd name="connsiteY0" fmla="*/ 583116 h 776474"/>
                  <a:gd name="connsiteX1" fmla="*/ 467945 w 512041"/>
                  <a:gd name="connsiteY1" fmla="*/ 583143 h 776474"/>
                  <a:gd name="connsiteX2" fmla="*/ 468894 w 512041"/>
                  <a:gd name="connsiteY2" fmla="*/ 588831 h 776474"/>
                  <a:gd name="connsiteX3" fmla="*/ 467101 w 512041"/>
                  <a:gd name="connsiteY3" fmla="*/ 585493 h 776474"/>
                  <a:gd name="connsiteX4" fmla="*/ 468893 w 512041"/>
                  <a:gd name="connsiteY4" fmla="*/ 588831 h 776474"/>
                  <a:gd name="connsiteX5" fmla="*/ 468894 w 512041"/>
                  <a:gd name="connsiteY5" fmla="*/ 588831 h 776474"/>
                  <a:gd name="connsiteX6" fmla="*/ 468988 w 512041"/>
                  <a:gd name="connsiteY6" fmla="*/ 588831 h 776474"/>
                  <a:gd name="connsiteX7" fmla="*/ 468035 w 512041"/>
                  <a:gd name="connsiteY7" fmla="*/ 583116 h 776474"/>
                  <a:gd name="connsiteX8" fmla="*/ 457368 w 512041"/>
                  <a:gd name="connsiteY8" fmla="*/ 573019 h 776474"/>
                  <a:gd name="connsiteX9" fmla="*/ 449843 w 512041"/>
                  <a:gd name="connsiteY9" fmla="*/ 576162 h 776474"/>
                  <a:gd name="connsiteX10" fmla="*/ 449844 w 512041"/>
                  <a:gd name="connsiteY10" fmla="*/ 576163 h 776474"/>
                  <a:gd name="connsiteX11" fmla="*/ 453142 w 512041"/>
                  <a:gd name="connsiteY11" fmla="*/ 574128 h 776474"/>
                  <a:gd name="connsiteX12" fmla="*/ 457368 w 512041"/>
                  <a:gd name="connsiteY12" fmla="*/ 573020 h 776474"/>
                  <a:gd name="connsiteX13" fmla="*/ 251628 w 512041"/>
                  <a:gd name="connsiteY13" fmla="*/ 544349 h 776474"/>
                  <a:gd name="connsiteX14" fmla="*/ 250675 w 512041"/>
                  <a:gd name="connsiteY14" fmla="*/ 552255 h 776474"/>
                  <a:gd name="connsiteX15" fmla="*/ 250676 w 512041"/>
                  <a:gd name="connsiteY15" fmla="*/ 552253 h 776474"/>
                  <a:gd name="connsiteX16" fmla="*/ 50174 w 512041"/>
                  <a:gd name="connsiteY16" fmla="*/ 541301 h 776474"/>
                  <a:gd name="connsiteX17" fmla="*/ 51222 w 512041"/>
                  <a:gd name="connsiteY17" fmla="*/ 547111 h 776474"/>
                  <a:gd name="connsiteX18" fmla="*/ 50174 w 512041"/>
                  <a:gd name="connsiteY18" fmla="*/ 541301 h 776474"/>
                  <a:gd name="connsiteX19" fmla="*/ 447843 w 512041"/>
                  <a:gd name="connsiteY19" fmla="*/ 531204 h 776474"/>
                  <a:gd name="connsiteX20" fmla="*/ 447843 w 512041"/>
                  <a:gd name="connsiteY20" fmla="*/ 538443 h 776474"/>
                  <a:gd name="connsiteX21" fmla="*/ 447938 w 512041"/>
                  <a:gd name="connsiteY21" fmla="*/ 538090 h 776474"/>
                  <a:gd name="connsiteX22" fmla="*/ 447938 w 512041"/>
                  <a:gd name="connsiteY22" fmla="*/ 531653 h 776474"/>
                  <a:gd name="connsiteX23" fmla="*/ 373738 w 512041"/>
                  <a:gd name="connsiteY23" fmla="*/ 497391 h 776474"/>
                  <a:gd name="connsiteX24" fmla="*/ 371547 w 512041"/>
                  <a:gd name="connsiteY24" fmla="*/ 499581 h 776474"/>
                  <a:gd name="connsiteX25" fmla="*/ 372404 w 512041"/>
                  <a:gd name="connsiteY25" fmla="*/ 502534 h 776474"/>
                  <a:gd name="connsiteX26" fmla="*/ 372404 w 512041"/>
                  <a:gd name="connsiteY26" fmla="*/ 502629 h 776474"/>
                  <a:gd name="connsiteX27" fmla="*/ 374976 w 512041"/>
                  <a:gd name="connsiteY27" fmla="*/ 499391 h 776474"/>
                  <a:gd name="connsiteX28" fmla="*/ 374952 w 512041"/>
                  <a:gd name="connsiteY28" fmla="*/ 499351 h 776474"/>
                  <a:gd name="connsiteX29" fmla="*/ 372500 w 512041"/>
                  <a:gd name="connsiteY29" fmla="*/ 502439 h 776474"/>
                  <a:gd name="connsiteX30" fmla="*/ 371643 w 512041"/>
                  <a:gd name="connsiteY30" fmla="*/ 499486 h 776474"/>
                  <a:gd name="connsiteX31" fmla="*/ 373738 w 512041"/>
                  <a:gd name="connsiteY31" fmla="*/ 497391 h 776474"/>
                  <a:gd name="connsiteX32" fmla="*/ 359260 w 512041"/>
                  <a:gd name="connsiteY32" fmla="*/ 480341 h 776474"/>
                  <a:gd name="connsiteX33" fmla="*/ 357164 w 512041"/>
                  <a:gd name="connsiteY33" fmla="*/ 481674 h 776474"/>
                  <a:gd name="connsiteX34" fmla="*/ 361070 w 512041"/>
                  <a:gd name="connsiteY34" fmla="*/ 486532 h 776474"/>
                  <a:gd name="connsiteX35" fmla="*/ 361165 w 512041"/>
                  <a:gd name="connsiteY35" fmla="*/ 486532 h 776474"/>
                  <a:gd name="connsiteX36" fmla="*/ 357260 w 512041"/>
                  <a:gd name="connsiteY36" fmla="*/ 481675 h 776474"/>
                  <a:gd name="connsiteX37" fmla="*/ 359276 w 512041"/>
                  <a:gd name="connsiteY37" fmla="*/ 480391 h 776474"/>
                  <a:gd name="connsiteX38" fmla="*/ 351354 w 512041"/>
                  <a:gd name="connsiteY38" fmla="*/ 471959 h 776474"/>
                  <a:gd name="connsiteX39" fmla="*/ 348592 w 512041"/>
                  <a:gd name="connsiteY39" fmla="*/ 473769 h 776474"/>
                  <a:gd name="connsiteX40" fmla="*/ 351450 w 512041"/>
                  <a:gd name="connsiteY40" fmla="*/ 476817 h 776474"/>
                  <a:gd name="connsiteX41" fmla="*/ 351578 w 512041"/>
                  <a:gd name="connsiteY41" fmla="*/ 476750 h 776474"/>
                  <a:gd name="connsiteX42" fmla="*/ 348783 w 512041"/>
                  <a:gd name="connsiteY42" fmla="*/ 473769 h 776474"/>
                  <a:gd name="connsiteX43" fmla="*/ 351413 w 512041"/>
                  <a:gd name="connsiteY43" fmla="*/ 472045 h 776474"/>
                  <a:gd name="connsiteX44" fmla="*/ 76273 w 512041"/>
                  <a:gd name="connsiteY44" fmla="*/ 434145 h 776474"/>
                  <a:gd name="connsiteX45" fmla="*/ 87131 w 512041"/>
                  <a:gd name="connsiteY45" fmla="*/ 444242 h 776474"/>
                  <a:gd name="connsiteX46" fmla="*/ 87417 w 512041"/>
                  <a:gd name="connsiteY46" fmla="*/ 444242 h 776474"/>
                  <a:gd name="connsiteX47" fmla="*/ 87703 w 512041"/>
                  <a:gd name="connsiteY47" fmla="*/ 465482 h 776474"/>
                  <a:gd name="connsiteX48" fmla="*/ 80559 w 512041"/>
                  <a:gd name="connsiteY48" fmla="*/ 489199 h 776474"/>
                  <a:gd name="connsiteX49" fmla="*/ 76273 w 512041"/>
                  <a:gd name="connsiteY49" fmla="*/ 497772 h 776474"/>
                  <a:gd name="connsiteX50" fmla="*/ 76844 w 512041"/>
                  <a:gd name="connsiteY50" fmla="*/ 500629 h 776474"/>
                  <a:gd name="connsiteX51" fmla="*/ 73891 w 512041"/>
                  <a:gd name="connsiteY51" fmla="*/ 507488 h 776474"/>
                  <a:gd name="connsiteX52" fmla="*/ 71510 w 512041"/>
                  <a:gd name="connsiteY52" fmla="*/ 511202 h 776474"/>
                  <a:gd name="connsiteX53" fmla="*/ 63033 w 512041"/>
                  <a:gd name="connsiteY53" fmla="*/ 525299 h 776474"/>
                  <a:gd name="connsiteX54" fmla="*/ 50269 w 512041"/>
                  <a:gd name="connsiteY54" fmla="*/ 541206 h 776474"/>
                  <a:gd name="connsiteX55" fmla="*/ 49412 w 512041"/>
                  <a:gd name="connsiteY55" fmla="*/ 541587 h 776474"/>
                  <a:gd name="connsiteX56" fmla="*/ 32267 w 512041"/>
                  <a:gd name="connsiteY56" fmla="*/ 570257 h 776474"/>
                  <a:gd name="connsiteX57" fmla="*/ 29314 w 512041"/>
                  <a:gd name="connsiteY57" fmla="*/ 573686 h 776474"/>
                  <a:gd name="connsiteX58" fmla="*/ 21028 w 512041"/>
                  <a:gd name="connsiteY58" fmla="*/ 579497 h 776474"/>
                  <a:gd name="connsiteX59" fmla="*/ 9979 w 512041"/>
                  <a:gd name="connsiteY59" fmla="*/ 569400 h 776474"/>
                  <a:gd name="connsiteX60" fmla="*/ 11979 w 512041"/>
                  <a:gd name="connsiteY60" fmla="*/ 548064 h 776474"/>
                  <a:gd name="connsiteX61" fmla="*/ 15408 w 512041"/>
                  <a:gd name="connsiteY61" fmla="*/ 520061 h 776474"/>
                  <a:gd name="connsiteX62" fmla="*/ 26933 w 512041"/>
                  <a:gd name="connsiteY62" fmla="*/ 491581 h 776474"/>
                  <a:gd name="connsiteX63" fmla="*/ 37506 w 512041"/>
                  <a:gd name="connsiteY63" fmla="*/ 476626 h 776474"/>
                  <a:gd name="connsiteX64" fmla="*/ 54651 w 512041"/>
                  <a:gd name="connsiteY64" fmla="*/ 452623 h 776474"/>
                  <a:gd name="connsiteX65" fmla="*/ 65890 w 512041"/>
                  <a:gd name="connsiteY65" fmla="*/ 441479 h 776474"/>
                  <a:gd name="connsiteX66" fmla="*/ 76273 w 512041"/>
                  <a:gd name="connsiteY66" fmla="*/ 434145 h 776474"/>
                  <a:gd name="connsiteX67" fmla="*/ 337484 w 512041"/>
                  <a:gd name="connsiteY67" fmla="*/ 428358 h 776474"/>
                  <a:gd name="connsiteX68" fmla="*/ 340591 w 512041"/>
                  <a:gd name="connsiteY68" fmla="*/ 431668 h 776474"/>
                  <a:gd name="connsiteX69" fmla="*/ 348687 w 512041"/>
                  <a:gd name="connsiteY69" fmla="*/ 432906 h 776474"/>
                  <a:gd name="connsiteX70" fmla="*/ 350021 w 512041"/>
                  <a:gd name="connsiteY70" fmla="*/ 431859 h 776474"/>
                  <a:gd name="connsiteX71" fmla="*/ 363260 w 512041"/>
                  <a:gd name="connsiteY71" fmla="*/ 440431 h 776474"/>
                  <a:gd name="connsiteX72" fmla="*/ 370214 w 512041"/>
                  <a:gd name="connsiteY72" fmla="*/ 448623 h 776474"/>
                  <a:gd name="connsiteX73" fmla="*/ 381453 w 512041"/>
                  <a:gd name="connsiteY73" fmla="*/ 462720 h 776474"/>
                  <a:gd name="connsiteX74" fmla="*/ 383739 w 512041"/>
                  <a:gd name="connsiteY74" fmla="*/ 465482 h 776474"/>
                  <a:gd name="connsiteX75" fmla="*/ 410600 w 512041"/>
                  <a:gd name="connsiteY75" fmla="*/ 489009 h 776474"/>
                  <a:gd name="connsiteX76" fmla="*/ 414314 w 512041"/>
                  <a:gd name="connsiteY76" fmla="*/ 496248 h 776474"/>
                  <a:gd name="connsiteX77" fmla="*/ 422220 w 512041"/>
                  <a:gd name="connsiteY77" fmla="*/ 502058 h 776474"/>
                  <a:gd name="connsiteX78" fmla="*/ 428602 w 512041"/>
                  <a:gd name="connsiteY78" fmla="*/ 507487 h 776474"/>
                  <a:gd name="connsiteX79" fmla="*/ 454796 w 512041"/>
                  <a:gd name="connsiteY79" fmla="*/ 529395 h 776474"/>
                  <a:gd name="connsiteX80" fmla="*/ 458987 w 512041"/>
                  <a:gd name="connsiteY80" fmla="*/ 535586 h 776474"/>
                  <a:gd name="connsiteX81" fmla="*/ 466893 w 512041"/>
                  <a:gd name="connsiteY81" fmla="*/ 542730 h 776474"/>
                  <a:gd name="connsiteX82" fmla="*/ 466797 w 512041"/>
                  <a:gd name="connsiteY82" fmla="*/ 542730 h 776474"/>
                  <a:gd name="connsiteX83" fmla="*/ 469560 w 512041"/>
                  <a:gd name="connsiteY83" fmla="*/ 543777 h 776474"/>
                  <a:gd name="connsiteX84" fmla="*/ 478989 w 512041"/>
                  <a:gd name="connsiteY84" fmla="*/ 582354 h 776474"/>
                  <a:gd name="connsiteX85" fmla="*/ 476227 w 512041"/>
                  <a:gd name="connsiteY85" fmla="*/ 600832 h 776474"/>
                  <a:gd name="connsiteX86" fmla="*/ 473274 w 512041"/>
                  <a:gd name="connsiteY86" fmla="*/ 602642 h 776474"/>
                  <a:gd name="connsiteX87" fmla="*/ 445461 w 512041"/>
                  <a:gd name="connsiteY87" fmla="*/ 596070 h 776474"/>
                  <a:gd name="connsiteX88" fmla="*/ 433269 w 512041"/>
                  <a:gd name="connsiteY88" fmla="*/ 591117 h 776474"/>
                  <a:gd name="connsiteX89" fmla="*/ 417362 w 512041"/>
                  <a:gd name="connsiteY89" fmla="*/ 577305 h 776474"/>
                  <a:gd name="connsiteX90" fmla="*/ 414886 w 512041"/>
                  <a:gd name="connsiteY90" fmla="*/ 574734 h 776474"/>
                  <a:gd name="connsiteX91" fmla="*/ 405171 w 512041"/>
                  <a:gd name="connsiteY91" fmla="*/ 568257 h 776474"/>
                  <a:gd name="connsiteX92" fmla="*/ 390121 w 512041"/>
                  <a:gd name="connsiteY92" fmla="*/ 554350 h 776474"/>
                  <a:gd name="connsiteX93" fmla="*/ 378215 w 512041"/>
                  <a:gd name="connsiteY93" fmla="*/ 542634 h 776474"/>
                  <a:gd name="connsiteX94" fmla="*/ 355545 w 512041"/>
                  <a:gd name="connsiteY94" fmla="*/ 511297 h 776474"/>
                  <a:gd name="connsiteX95" fmla="*/ 337924 w 512041"/>
                  <a:gd name="connsiteY95" fmla="*/ 491390 h 776474"/>
                  <a:gd name="connsiteX96" fmla="*/ 329447 w 512041"/>
                  <a:gd name="connsiteY96" fmla="*/ 472054 h 776474"/>
                  <a:gd name="connsiteX97" fmla="*/ 331066 w 512041"/>
                  <a:gd name="connsiteY97" fmla="*/ 468244 h 776474"/>
                  <a:gd name="connsiteX98" fmla="*/ 330971 w 512041"/>
                  <a:gd name="connsiteY98" fmla="*/ 465958 h 776474"/>
                  <a:gd name="connsiteX99" fmla="*/ 329733 w 512041"/>
                  <a:gd name="connsiteY99" fmla="*/ 463101 h 776474"/>
                  <a:gd name="connsiteX100" fmla="*/ 331542 w 512041"/>
                  <a:gd name="connsiteY100" fmla="*/ 440336 h 776474"/>
                  <a:gd name="connsiteX101" fmla="*/ 334304 w 512041"/>
                  <a:gd name="connsiteY101" fmla="*/ 431478 h 776474"/>
                  <a:gd name="connsiteX102" fmla="*/ 337484 w 512041"/>
                  <a:gd name="connsiteY102" fmla="*/ 428358 h 776474"/>
                  <a:gd name="connsiteX103" fmla="*/ 307445 w 512041"/>
                  <a:gd name="connsiteY103" fmla="*/ 252503 h 776474"/>
                  <a:gd name="connsiteX104" fmla="*/ 307540 w 512041"/>
                  <a:gd name="connsiteY104" fmla="*/ 252503 h 776474"/>
                  <a:gd name="connsiteX105" fmla="*/ 307505 w 512041"/>
                  <a:gd name="connsiteY105" fmla="*/ 252555 h 776474"/>
                  <a:gd name="connsiteX106" fmla="*/ 307444 w 512041"/>
                  <a:gd name="connsiteY106" fmla="*/ 252218 h 776474"/>
                  <a:gd name="connsiteX107" fmla="*/ 305920 w 512041"/>
                  <a:gd name="connsiteY107" fmla="*/ 254599 h 776474"/>
                  <a:gd name="connsiteX108" fmla="*/ 306068 w 512041"/>
                  <a:gd name="connsiteY108" fmla="*/ 254711 h 776474"/>
                  <a:gd name="connsiteX109" fmla="*/ 307505 w 512041"/>
                  <a:gd name="connsiteY109" fmla="*/ 252555 h 776474"/>
                  <a:gd name="connsiteX110" fmla="*/ 309672 w 512041"/>
                  <a:gd name="connsiteY110" fmla="*/ 254452 h 776474"/>
                  <a:gd name="connsiteX111" fmla="*/ 309730 w 512041"/>
                  <a:gd name="connsiteY111" fmla="*/ 254218 h 776474"/>
                  <a:gd name="connsiteX112" fmla="*/ 307444 w 512041"/>
                  <a:gd name="connsiteY112" fmla="*/ 252218 h 776474"/>
                  <a:gd name="connsiteX113" fmla="*/ 227148 w 512041"/>
                  <a:gd name="connsiteY113" fmla="*/ 202307 h 776474"/>
                  <a:gd name="connsiteX114" fmla="*/ 225625 w 512041"/>
                  <a:gd name="connsiteY114" fmla="*/ 207641 h 776474"/>
                  <a:gd name="connsiteX115" fmla="*/ 215528 w 512041"/>
                  <a:gd name="connsiteY115" fmla="*/ 246122 h 776474"/>
                  <a:gd name="connsiteX116" fmla="*/ 206860 w 512041"/>
                  <a:gd name="connsiteY116" fmla="*/ 272982 h 776474"/>
                  <a:gd name="connsiteX117" fmla="*/ 198383 w 512041"/>
                  <a:gd name="connsiteY117" fmla="*/ 290699 h 776474"/>
                  <a:gd name="connsiteX118" fmla="*/ 196192 w 512041"/>
                  <a:gd name="connsiteY118" fmla="*/ 294128 h 776474"/>
                  <a:gd name="connsiteX119" fmla="*/ 182667 w 512041"/>
                  <a:gd name="connsiteY119" fmla="*/ 305367 h 776474"/>
                  <a:gd name="connsiteX120" fmla="*/ 182667 w 512041"/>
                  <a:gd name="connsiteY120" fmla="*/ 311844 h 776474"/>
                  <a:gd name="connsiteX121" fmla="*/ 192382 w 512041"/>
                  <a:gd name="connsiteY121" fmla="*/ 324131 h 776474"/>
                  <a:gd name="connsiteX122" fmla="*/ 204003 w 512041"/>
                  <a:gd name="connsiteY122" fmla="*/ 363946 h 776474"/>
                  <a:gd name="connsiteX123" fmla="*/ 215528 w 512041"/>
                  <a:gd name="connsiteY123" fmla="*/ 439384 h 776474"/>
                  <a:gd name="connsiteX124" fmla="*/ 222100 w 512041"/>
                  <a:gd name="connsiteY124" fmla="*/ 409475 h 776474"/>
                  <a:gd name="connsiteX125" fmla="*/ 221148 w 512041"/>
                  <a:gd name="connsiteY125" fmla="*/ 389282 h 776474"/>
                  <a:gd name="connsiteX126" fmla="*/ 228958 w 512041"/>
                  <a:gd name="connsiteY126" fmla="*/ 363184 h 776474"/>
                  <a:gd name="connsiteX127" fmla="*/ 239626 w 512041"/>
                  <a:gd name="connsiteY127" fmla="*/ 328037 h 776474"/>
                  <a:gd name="connsiteX128" fmla="*/ 243627 w 512041"/>
                  <a:gd name="connsiteY128" fmla="*/ 318512 h 776474"/>
                  <a:gd name="connsiteX129" fmla="*/ 252390 w 512041"/>
                  <a:gd name="connsiteY129" fmla="*/ 311177 h 776474"/>
                  <a:gd name="connsiteX130" fmla="*/ 260677 w 512041"/>
                  <a:gd name="connsiteY130" fmla="*/ 304891 h 776474"/>
                  <a:gd name="connsiteX131" fmla="*/ 265820 w 512041"/>
                  <a:gd name="connsiteY131" fmla="*/ 313368 h 776474"/>
                  <a:gd name="connsiteX132" fmla="*/ 271630 w 512041"/>
                  <a:gd name="connsiteY132" fmla="*/ 308034 h 776474"/>
                  <a:gd name="connsiteX133" fmla="*/ 273345 w 512041"/>
                  <a:gd name="connsiteY133" fmla="*/ 306891 h 776474"/>
                  <a:gd name="connsiteX134" fmla="*/ 279155 w 512041"/>
                  <a:gd name="connsiteY134" fmla="*/ 304986 h 776474"/>
                  <a:gd name="connsiteX135" fmla="*/ 292490 w 512041"/>
                  <a:gd name="connsiteY135" fmla="*/ 300605 h 776474"/>
                  <a:gd name="connsiteX136" fmla="*/ 292490 w 512041"/>
                  <a:gd name="connsiteY136" fmla="*/ 300509 h 776474"/>
                  <a:gd name="connsiteX137" fmla="*/ 306587 w 512041"/>
                  <a:gd name="connsiteY137" fmla="*/ 296795 h 776474"/>
                  <a:gd name="connsiteX138" fmla="*/ 290109 w 512041"/>
                  <a:gd name="connsiteY138" fmla="*/ 283650 h 776474"/>
                  <a:gd name="connsiteX139" fmla="*/ 271249 w 512041"/>
                  <a:gd name="connsiteY139" fmla="*/ 268220 h 776474"/>
                  <a:gd name="connsiteX140" fmla="*/ 264391 w 512041"/>
                  <a:gd name="connsiteY140" fmla="*/ 262505 h 776474"/>
                  <a:gd name="connsiteX141" fmla="*/ 256485 w 512041"/>
                  <a:gd name="connsiteY141" fmla="*/ 256504 h 776474"/>
                  <a:gd name="connsiteX142" fmla="*/ 241817 w 512041"/>
                  <a:gd name="connsiteY142" fmla="*/ 238216 h 776474"/>
                  <a:gd name="connsiteX143" fmla="*/ 239341 w 512041"/>
                  <a:gd name="connsiteY143" fmla="*/ 228881 h 776474"/>
                  <a:gd name="connsiteX144" fmla="*/ 237912 w 512041"/>
                  <a:gd name="connsiteY144" fmla="*/ 226595 h 776474"/>
                  <a:gd name="connsiteX145" fmla="*/ 230673 w 512041"/>
                  <a:gd name="connsiteY145" fmla="*/ 218273 h 776474"/>
                  <a:gd name="connsiteX146" fmla="*/ 227460 w 512041"/>
                  <a:gd name="connsiteY146" fmla="*/ 207822 h 776474"/>
                  <a:gd name="connsiteX147" fmla="*/ 227435 w 512041"/>
                  <a:gd name="connsiteY147" fmla="*/ 207831 h 776474"/>
                  <a:gd name="connsiteX148" fmla="*/ 227435 w 512041"/>
                  <a:gd name="connsiteY148" fmla="*/ 207739 h 776474"/>
                  <a:gd name="connsiteX149" fmla="*/ 227434 w 512041"/>
                  <a:gd name="connsiteY149" fmla="*/ 207736 h 776474"/>
                  <a:gd name="connsiteX150" fmla="*/ 225625 w 512041"/>
                  <a:gd name="connsiteY150" fmla="*/ 207736 h 776474"/>
                  <a:gd name="connsiteX151" fmla="*/ 227149 w 512041"/>
                  <a:gd name="connsiteY151" fmla="*/ 202402 h 776474"/>
                  <a:gd name="connsiteX152" fmla="*/ 230893 w 512041"/>
                  <a:gd name="connsiteY152" fmla="*/ 206520 h 776474"/>
                  <a:gd name="connsiteX153" fmla="*/ 230958 w 512041"/>
                  <a:gd name="connsiteY153" fmla="*/ 206498 h 776474"/>
                  <a:gd name="connsiteX154" fmla="*/ 227148 w 512041"/>
                  <a:gd name="connsiteY154" fmla="*/ 202307 h 776474"/>
                  <a:gd name="connsiteX155" fmla="*/ 369030 w 512041"/>
                  <a:gd name="connsiteY155" fmla="*/ 114657 h 776474"/>
                  <a:gd name="connsiteX156" fmla="*/ 369595 w 512041"/>
                  <a:gd name="connsiteY156" fmla="*/ 117844 h 776474"/>
                  <a:gd name="connsiteX157" fmla="*/ 372426 w 512041"/>
                  <a:gd name="connsiteY157" fmla="*/ 120014 h 776474"/>
                  <a:gd name="connsiteX158" fmla="*/ 370977 w 512041"/>
                  <a:gd name="connsiteY158" fmla="*/ 112010 h 776474"/>
                  <a:gd name="connsiteX159" fmla="*/ 370662 w 512041"/>
                  <a:gd name="connsiteY159" fmla="*/ 112270 h 776474"/>
                  <a:gd name="connsiteX160" fmla="*/ 372693 w 512041"/>
                  <a:gd name="connsiteY160" fmla="*/ 120219 h 776474"/>
                  <a:gd name="connsiteX161" fmla="*/ 373167 w 512041"/>
                  <a:gd name="connsiteY161" fmla="*/ 120582 h 776474"/>
                  <a:gd name="connsiteX162" fmla="*/ 370977 w 512041"/>
                  <a:gd name="connsiteY162" fmla="*/ 112010 h 776474"/>
                  <a:gd name="connsiteX163" fmla="*/ 442402 w 512041"/>
                  <a:gd name="connsiteY163" fmla="*/ 19082 h 776474"/>
                  <a:gd name="connsiteX164" fmla="*/ 449844 w 512041"/>
                  <a:gd name="connsiteY164" fmla="*/ 19427 h 776474"/>
                  <a:gd name="connsiteX165" fmla="*/ 450606 w 512041"/>
                  <a:gd name="connsiteY165" fmla="*/ 27333 h 776474"/>
                  <a:gd name="connsiteX166" fmla="*/ 444129 w 512041"/>
                  <a:gd name="connsiteY166" fmla="*/ 67052 h 776474"/>
                  <a:gd name="connsiteX167" fmla="*/ 434889 w 512041"/>
                  <a:gd name="connsiteY167" fmla="*/ 85530 h 776474"/>
                  <a:gd name="connsiteX168" fmla="*/ 417649 w 512041"/>
                  <a:gd name="connsiteY168" fmla="*/ 108200 h 776474"/>
                  <a:gd name="connsiteX169" fmla="*/ 403552 w 512041"/>
                  <a:gd name="connsiteY169" fmla="*/ 116963 h 776474"/>
                  <a:gd name="connsiteX170" fmla="*/ 390408 w 512041"/>
                  <a:gd name="connsiteY170" fmla="*/ 127440 h 776474"/>
                  <a:gd name="connsiteX171" fmla="*/ 369262 w 512041"/>
                  <a:gd name="connsiteY171" fmla="*/ 132298 h 776474"/>
                  <a:gd name="connsiteX172" fmla="*/ 369548 w 512041"/>
                  <a:gd name="connsiteY172" fmla="*/ 132298 h 776474"/>
                  <a:gd name="connsiteX173" fmla="*/ 361547 w 512041"/>
                  <a:gd name="connsiteY173" fmla="*/ 129536 h 776474"/>
                  <a:gd name="connsiteX174" fmla="*/ 366690 w 512041"/>
                  <a:gd name="connsiteY174" fmla="*/ 107914 h 776474"/>
                  <a:gd name="connsiteX175" fmla="*/ 376406 w 512041"/>
                  <a:gd name="connsiteY175" fmla="*/ 96484 h 776474"/>
                  <a:gd name="connsiteX176" fmla="*/ 376787 w 512041"/>
                  <a:gd name="connsiteY176" fmla="*/ 93531 h 776474"/>
                  <a:gd name="connsiteX177" fmla="*/ 376787 w 512041"/>
                  <a:gd name="connsiteY177" fmla="*/ 84578 h 776474"/>
                  <a:gd name="connsiteX178" fmla="*/ 397075 w 512041"/>
                  <a:gd name="connsiteY178" fmla="*/ 53717 h 776474"/>
                  <a:gd name="connsiteX179" fmla="*/ 405362 w 512041"/>
                  <a:gd name="connsiteY179" fmla="*/ 50193 h 776474"/>
                  <a:gd name="connsiteX180" fmla="*/ 410220 w 512041"/>
                  <a:gd name="connsiteY180" fmla="*/ 45621 h 776474"/>
                  <a:gd name="connsiteX181" fmla="*/ 417363 w 512041"/>
                  <a:gd name="connsiteY181" fmla="*/ 41144 h 776474"/>
                  <a:gd name="connsiteX182" fmla="*/ 419268 w 512041"/>
                  <a:gd name="connsiteY182" fmla="*/ 39239 h 776474"/>
                  <a:gd name="connsiteX183" fmla="*/ 435747 w 512041"/>
                  <a:gd name="connsiteY183" fmla="*/ 20094 h 776474"/>
                  <a:gd name="connsiteX184" fmla="*/ 442402 w 512041"/>
                  <a:gd name="connsiteY184" fmla="*/ 19082 h 776474"/>
                  <a:gd name="connsiteX185" fmla="*/ 78559 w 512041"/>
                  <a:gd name="connsiteY185" fmla="*/ 12568 h 776474"/>
                  <a:gd name="connsiteX186" fmla="*/ 84560 w 512041"/>
                  <a:gd name="connsiteY186" fmla="*/ 22569 h 776474"/>
                  <a:gd name="connsiteX187" fmla="*/ 86465 w 512041"/>
                  <a:gd name="connsiteY187" fmla="*/ 26284 h 776474"/>
                  <a:gd name="connsiteX188" fmla="*/ 86465 w 512041"/>
                  <a:gd name="connsiteY188" fmla="*/ 26570 h 776474"/>
                  <a:gd name="connsiteX189" fmla="*/ 86560 w 512041"/>
                  <a:gd name="connsiteY189" fmla="*/ 26570 h 776474"/>
                  <a:gd name="connsiteX190" fmla="*/ 87036 w 512041"/>
                  <a:gd name="connsiteY190" fmla="*/ 36762 h 776474"/>
                  <a:gd name="connsiteX191" fmla="*/ 87036 w 512041"/>
                  <a:gd name="connsiteY191" fmla="*/ 32672 h 776474"/>
                  <a:gd name="connsiteX192" fmla="*/ 86751 w 512041"/>
                  <a:gd name="connsiteY192" fmla="*/ 26571 h 776474"/>
                  <a:gd name="connsiteX193" fmla="*/ 86751 w 512041"/>
                  <a:gd name="connsiteY193" fmla="*/ 26570 h 776474"/>
                  <a:gd name="connsiteX194" fmla="*/ 86756 w 512041"/>
                  <a:gd name="connsiteY194" fmla="*/ 26577 h 776474"/>
                  <a:gd name="connsiteX195" fmla="*/ 86878 w 512041"/>
                  <a:gd name="connsiteY195" fmla="*/ 26730 h 776474"/>
                  <a:gd name="connsiteX196" fmla="*/ 86774 w 512041"/>
                  <a:gd name="connsiteY196" fmla="*/ 26522 h 776474"/>
                  <a:gd name="connsiteX197" fmla="*/ 86750 w 512041"/>
                  <a:gd name="connsiteY197" fmla="*/ 26570 h 776474"/>
                  <a:gd name="connsiteX198" fmla="*/ 86750 w 512041"/>
                  <a:gd name="connsiteY198" fmla="*/ 26474 h 776474"/>
                  <a:gd name="connsiteX199" fmla="*/ 86655 w 512041"/>
                  <a:gd name="connsiteY199" fmla="*/ 26284 h 776474"/>
                  <a:gd name="connsiteX200" fmla="*/ 86560 w 512041"/>
                  <a:gd name="connsiteY200" fmla="*/ 26284 h 776474"/>
                  <a:gd name="connsiteX201" fmla="*/ 87132 w 512041"/>
                  <a:gd name="connsiteY201" fmla="*/ 21807 h 776474"/>
                  <a:gd name="connsiteX202" fmla="*/ 89989 w 512041"/>
                  <a:gd name="connsiteY202" fmla="*/ 23427 h 776474"/>
                  <a:gd name="connsiteX203" fmla="*/ 94180 w 512041"/>
                  <a:gd name="connsiteY203" fmla="*/ 30761 h 776474"/>
                  <a:gd name="connsiteX204" fmla="*/ 112087 w 512041"/>
                  <a:gd name="connsiteY204" fmla="*/ 53145 h 776474"/>
                  <a:gd name="connsiteX205" fmla="*/ 120564 w 512041"/>
                  <a:gd name="connsiteY205" fmla="*/ 66861 h 776474"/>
                  <a:gd name="connsiteX206" fmla="*/ 126565 w 512041"/>
                  <a:gd name="connsiteY206" fmla="*/ 72385 h 776474"/>
                  <a:gd name="connsiteX207" fmla="*/ 124851 w 512041"/>
                  <a:gd name="connsiteY207" fmla="*/ 113152 h 776474"/>
                  <a:gd name="connsiteX208" fmla="*/ 123422 w 512041"/>
                  <a:gd name="connsiteY208" fmla="*/ 119153 h 776474"/>
                  <a:gd name="connsiteX209" fmla="*/ 124374 w 512041"/>
                  <a:gd name="connsiteY209" fmla="*/ 126582 h 776474"/>
                  <a:gd name="connsiteX210" fmla="*/ 111135 w 512041"/>
                  <a:gd name="connsiteY210" fmla="*/ 126487 h 776474"/>
                  <a:gd name="connsiteX211" fmla="*/ 99895 w 512041"/>
                  <a:gd name="connsiteY211" fmla="*/ 118200 h 776474"/>
                  <a:gd name="connsiteX212" fmla="*/ 93704 w 512041"/>
                  <a:gd name="connsiteY212" fmla="*/ 110676 h 776474"/>
                  <a:gd name="connsiteX213" fmla="*/ 93609 w 512041"/>
                  <a:gd name="connsiteY213" fmla="*/ 110676 h 776474"/>
                  <a:gd name="connsiteX214" fmla="*/ 74273 w 512041"/>
                  <a:gd name="connsiteY214" fmla="*/ 88387 h 776474"/>
                  <a:gd name="connsiteX215" fmla="*/ 59985 w 512041"/>
                  <a:gd name="connsiteY215" fmla="*/ 50478 h 776474"/>
                  <a:gd name="connsiteX216" fmla="*/ 68844 w 512041"/>
                  <a:gd name="connsiteY216" fmla="*/ 19236 h 776474"/>
                  <a:gd name="connsiteX217" fmla="*/ 78559 w 512041"/>
                  <a:gd name="connsiteY217" fmla="*/ 12568 h 776474"/>
                  <a:gd name="connsiteX218" fmla="*/ 236197 w 512041"/>
                  <a:gd name="connsiteY218" fmla="*/ 1043 h 776474"/>
                  <a:gd name="connsiteX219" fmla="*/ 251914 w 512041"/>
                  <a:gd name="connsiteY219" fmla="*/ 25999 h 776474"/>
                  <a:gd name="connsiteX220" fmla="*/ 248199 w 512041"/>
                  <a:gd name="connsiteY220" fmla="*/ 28761 h 776474"/>
                  <a:gd name="connsiteX221" fmla="*/ 249627 w 512041"/>
                  <a:gd name="connsiteY221" fmla="*/ 39239 h 776474"/>
                  <a:gd name="connsiteX222" fmla="*/ 252295 w 512041"/>
                  <a:gd name="connsiteY222" fmla="*/ 42287 h 776474"/>
                  <a:gd name="connsiteX223" fmla="*/ 247151 w 512041"/>
                  <a:gd name="connsiteY223" fmla="*/ 45335 h 776474"/>
                  <a:gd name="connsiteX224" fmla="*/ 250675 w 512041"/>
                  <a:gd name="connsiteY224" fmla="*/ 57050 h 776474"/>
                  <a:gd name="connsiteX225" fmla="*/ 255057 w 512041"/>
                  <a:gd name="connsiteY225" fmla="*/ 82387 h 776474"/>
                  <a:gd name="connsiteX226" fmla="*/ 256771 w 512041"/>
                  <a:gd name="connsiteY226" fmla="*/ 93055 h 776474"/>
                  <a:gd name="connsiteX227" fmla="*/ 267249 w 512041"/>
                  <a:gd name="connsiteY227" fmla="*/ 131345 h 776474"/>
                  <a:gd name="connsiteX228" fmla="*/ 269630 w 512041"/>
                  <a:gd name="connsiteY228" fmla="*/ 135441 h 776474"/>
                  <a:gd name="connsiteX229" fmla="*/ 281250 w 512041"/>
                  <a:gd name="connsiteY229" fmla="*/ 156206 h 776474"/>
                  <a:gd name="connsiteX230" fmla="*/ 297824 w 512041"/>
                  <a:gd name="connsiteY230" fmla="*/ 177446 h 776474"/>
                  <a:gd name="connsiteX231" fmla="*/ 316493 w 512041"/>
                  <a:gd name="connsiteY231" fmla="*/ 192877 h 776474"/>
                  <a:gd name="connsiteX232" fmla="*/ 336019 w 512041"/>
                  <a:gd name="connsiteY232" fmla="*/ 206307 h 776474"/>
                  <a:gd name="connsiteX233" fmla="*/ 343639 w 512041"/>
                  <a:gd name="connsiteY233" fmla="*/ 213546 h 776474"/>
                  <a:gd name="connsiteX234" fmla="*/ 345925 w 512041"/>
                  <a:gd name="connsiteY234" fmla="*/ 214880 h 776474"/>
                  <a:gd name="connsiteX235" fmla="*/ 366214 w 512041"/>
                  <a:gd name="connsiteY235" fmla="*/ 220785 h 776474"/>
                  <a:gd name="connsiteX236" fmla="*/ 373738 w 512041"/>
                  <a:gd name="connsiteY236" fmla="*/ 223071 h 776474"/>
                  <a:gd name="connsiteX237" fmla="*/ 384978 w 512041"/>
                  <a:gd name="connsiteY237" fmla="*/ 231072 h 776474"/>
                  <a:gd name="connsiteX238" fmla="*/ 399170 w 512041"/>
                  <a:gd name="connsiteY238" fmla="*/ 235168 h 776474"/>
                  <a:gd name="connsiteX239" fmla="*/ 412696 w 512041"/>
                  <a:gd name="connsiteY239" fmla="*/ 238787 h 776474"/>
                  <a:gd name="connsiteX240" fmla="*/ 425364 w 512041"/>
                  <a:gd name="connsiteY240" fmla="*/ 239073 h 776474"/>
                  <a:gd name="connsiteX241" fmla="*/ 443175 w 512041"/>
                  <a:gd name="connsiteY241" fmla="*/ 243550 h 776474"/>
                  <a:gd name="connsiteX242" fmla="*/ 466131 w 512041"/>
                  <a:gd name="connsiteY242" fmla="*/ 246693 h 776474"/>
                  <a:gd name="connsiteX243" fmla="*/ 484419 w 512041"/>
                  <a:gd name="connsiteY243" fmla="*/ 247741 h 776474"/>
                  <a:gd name="connsiteX244" fmla="*/ 503278 w 512041"/>
                  <a:gd name="connsiteY244" fmla="*/ 268029 h 776474"/>
                  <a:gd name="connsiteX245" fmla="*/ 505755 w 512041"/>
                  <a:gd name="connsiteY245" fmla="*/ 284603 h 776474"/>
                  <a:gd name="connsiteX246" fmla="*/ 512041 w 512041"/>
                  <a:gd name="connsiteY246" fmla="*/ 288698 h 776474"/>
                  <a:gd name="connsiteX247" fmla="*/ 511851 w 512041"/>
                  <a:gd name="connsiteY247" fmla="*/ 288794 h 776474"/>
                  <a:gd name="connsiteX248" fmla="*/ 511851 w 512041"/>
                  <a:gd name="connsiteY248" fmla="*/ 290699 h 776474"/>
                  <a:gd name="connsiteX249" fmla="*/ 509470 w 512041"/>
                  <a:gd name="connsiteY249" fmla="*/ 311082 h 776474"/>
                  <a:gd name="connsiteX250" fmla="*/ 510898 w 512041"/>
                  <a:gd name="connsiteY250" fmla="*/ 315464 h 776474"/>
                  <a:gd name="connsiteX251" fmla="*/ 505183 w 512041"/>
                  <a:gd name="connsiteY251" fmla="*/ 328322 h 776474"/>
                  <a:gd name="connsiteX252" fmla="*/ 505945 w 512041"/>
                  <a:gd name="connsiteY252" fmla="*/ 343277 h 776474"/>
                  <a:gd name="connsiteX253" fmla="*/ 474798 w 512041"/>
                  <a:gd name="connsiteY253" fmla="*/ 366041 h 776474"/>
                  <a:gd name="connsiteX254" fmla="*/ 440699 w 512041"/>
                  <a:gd name="connsiteY254" fmla="*/ 367946 h 776474"/>
                  <a:gd name="connsiteX255" fmla="*/ 423078 w 512041"/>
                  <a:gd name="connsiteY255" fmla="*/ 374138 h 776474"/>
                  <a:gd name="connsiteX256" fmla="*/ 412124 w 512041"/>
                  <a:gd name="connsiteY256" fmla="*/ 374138 h 776474"/>
                  <a:gd name="connsiteX257" fmla="*/ 404885 w 512041"/>
                  <a:gd name="connsiteY257" fmla="*/ 374995 h 776474"/>
                  <a:gd name="connsiteX258" fmla="*/ 365928 w 512041"/>
                  <a:gd name="connsiteY258" fmla="*/ 388901 h 776474"/>
                  <a:gd name="connsiteX259" fmla="*/ 330114 w 512041"/>
                  <a:gd name="connsiteY259" fmla="*/ 395664 h 776474"/>
                  <a:gd name="connsiteX260" fmla="*/ 326304 w 512041"/>
                  <a:gd name="connsiteY260" fmla="*/ 396045 h 776474"/>
                  <a:gd name="connsiteX261" fmla="*/ 300015 w 512041"/>
                  <a:gd name="connsiteY261" fmla="*/ 401189 h 776474"/>
                  <a:gd name="connsiteX262" fmla="*/ 289442 w 512041"/>
                  <a:gd name="connsiteY262" fmla="*/ 401284 h 776474"/>
                  <a:gd name="connsiteX263" fmla="*/ 265534 w 512041"/>
                  <a:gd name="connsiteY263" fmla="*/ 417667 h 776474"/>
                  <a:gd name="connsiteX264" fmla="*/ 262200 w 512041"/>
                  <a:gd name="connsiteY264" fmla="*/ 460625 h 776474"/>
                  <a:gd name="connsiteX265" fmla="*/ 262772 w 512041"/>
                  <a:gd name="connsiteY265" fmla="*/ 481484 h 776474"/>
                  <a:gd name="connsiteX266" fmla="*/ 260105 w 512041"/>
                  <a:gd name="connsiteY266" fmla="*/ 544445 h 776474"/>
                  <a:gd name="connsiteX267" fmla="*/ 253152 w 512041"/>
                  <a:gd name="connsiteY267" fmla="*/ 577115 h 776474"/>
                  <a:gd name="connsiteX268" fmla="*/ 249627 w 512041"/>
                  <a:gd name="connsiteY268" fmla="*/ 620073 h 776474"/>
                  <a:gd name="connsiteX269" fmla="*/ 246008 w 512041"/>
                  <a:gd name="connsiteY269" fmla="*/ 648553 h 776474"/>
                  <a:gd name="connsiteX270" fmla="*/ 244865 w 512041"/>
                  <a:gd name="connsiteY270" fmla="*/ 674842 h 776474"/>
                  <a:gd name="connsiteX271" fmla="*/ 245056 w 512041"/>
                  <a:gd name="connsiteY271" fmla="*/ 714561 h 776474"/>
                  <a:gd name="connsiteX272" fmla="*/ 242674 w 512041"/>
                  <a:gd name="connsiteY272" fmla="*/ 765425 h 776474"/>
                  <a:gd name="connsiteX273" fmla="*/ 234673 w 512041"/>
                  <a:gd name="connsiteY273" fmla="*/ 776474 h 776474"/>
                  <a:gd name="connsiteX274" fmla="*/ 223339 w 512041"/>
                  <a:gd name="connsiteY274" fmla="*/ 776474 h 776474"/>
                  <a:gd name="connsiteX275" fmla="*/ 223148 w 512041"/>
                  <a:gd name="connsiteY275" fmla="*/ 776474 h 776474"/>
                  <a:gd name="connsiteX276" fmla="*/ 213719 w 512041"/>
                  <a:gd name="connsiteY276" fmla="*/ 776474 h 776474"/>
                  <a:gd name="connsiteX277" fmla="*/ 213528 w 512041"/>
                  <a:gd name="connsiteY277" fmla="*/ 776474 h 776474"/>
                  <a:gd name="connsiteX278" fmla="*/ 207718 w 512041"/>
                  <a:gd name="connsiteY278" fmla="*/ 776474 h 776474"/>
                  <a:gd name="connsiteX279" fmla="*/ 196383 w 512041"/>
                  <a:gd name="connsiteY279" fmla="*/ 757614 h 776474"/>
                  <a:gd name="connsiteX280" fmla="*/ 193144 w 512041"/>
                  <a:gd name="connsiteY280" fmla="*/ 750375 h 776474"/>
                  <a:gd name="connsiteX281" fmla="*/ 187620 w 512041"/>
                  <a:gd name="connsiteY281" fmla="*/ 723419 h 776474"/>
                  <a:gd name="connsiteX282" fmla="*/ 185620 w 512041"/>
                  <a:gd name="connsiteY282" fmla="*/ 719038 h 776474"/>
                  <a:gd name="connsiteX283" fmla="*/ 178857 w 512041"/>
                  <a:gd name="connsiteY283" fmla="*/ 663602 h 776474"/>
                  <a:gd name="connsiteX284" fmla="*/ 181238 w 512041"/>
                  <a:gd name="connsiteY284" fmla="*/ 654744 h 776474"/>
                  <a:gd name="connsiteX285" fmla="*/ 180667 w 512041"/>
                  <a:gd name="connsiteY285" fmla="*/ 574639 h 776474"/>
                  <a:gd name="connsiteX286" fmla="*/ 184286 w 512041"/>
                  <a:gd name="connsiteY286" fmla="*/ 558065 h 776474"/>
                  <a:gd name="connsiteX287" fmla="*/ 180762 w 512041"/>
                  <a:gd name="connsiteY287" fmla="*/ 537110 h 776474"/>
                  <a:gd name="connsiteX288" fmla="*/ 179428 w 512041"/>
                  <a:gd name="connsiteY288" fmla="*/ 508821 h 776474"/>
                  <a:gd name="connsiteX289" fmla="*/ 178095 w 512041"/>
                  <a:gd name="connsiteY289" fmla="*/ 487580 h 776474"/>
                  <a:gd name="connsiteX290" fmla="*/ 174380 w 512041"/>
                  <a:gd name="connsiteY290" fmla="*/ 458624 h 776474"/>
                  <a:gd name="connsiteX291" fmla="*/ 170856 w 512041"/>
                  <a:gd name="connsiteY291" fmla="*/ 419858 h 776474"/>
                  <a:gd name="connsiteX292" fmla="*/ 164760 w 512041"/>
                  <a:gd name="connsiteY292" fmla="*/ 397950 h 776474"/>
                  <a:gd name="connsiteX293" fmla="*/ 151901 w 512041"/>
                  <a:gd name="connsiteY293" fmla="*/ 379853 h 776474"/>
                  <a:gd name="connsiteX294" fmla="*/ 144091 w 512041"/>
                  <a:gd name="connsiteY294" fmla="*/ 371661 h 776474"/>
                  <a:gd name="connsiteX295" fmla="*/ 110848 w 512041"/>
                  <a:gd name="connsiteY295" fmla="*/ 364327 h 776474"/>
                  <a:gd name="connsiteX296" fmla="*/ 86941 w 512041"/>
                  <a:gd name="connsiteY296" fmla="*/ 364041 h 776474"/>
                  <a:gd name="connsiteX297" fmla="*/ 74272 w 512041"/>
                  <a:gd name="connsiteY297" fmla="*/ 361565 h 776474"/>
                  <a:gd name="connsiteX298" fmla="*/ 59032 w 512041"/>
                  <a:gd name="connsiteY298" fmla="*/ 360803 h 776474"/>
                  <a:gd name="connsiteX299" fmla="*/ 41792 w 512041"/>
                  <a:gd name="connsiteY299" fmla="*/ 361184 h 776474"/>
                  <a:gd name="connsiteX300" fmla="*/ 38649 w 512041"/>
                  <a:gd name="connsiteY300" fmla="*/ 361374 h 776474"/>
                  <a:gd name="connsiteX301" fmla="*/ 32362 w 512041"/>
                  <a:gd name="connsiteY301" fmla="*/ 361946 h 776474"/>
                  <a:gd name="connsiteX302" fmla="*/ 19408 w 512041"/>
                  <a:gd name="connsiteY302" fmla="*/ 361374 h 776474"/>
                  <a:gd name="connsiteX303" fmla="*/ 930 w 512041"/>
                  <a:gd name="connsiteY303" fmla="*/ 347563 h 776474"/>
                  <a:gd name="connsiteX304" fmla="*/ 1501 w 512041"/>
                  <a:gd name="connsiteY304" fmla="*/ 329465 h 776474"/>
                  <a:gd name="connsiteX305" fmla="*/ 7216 w 512041"/>
                  <a:gd name="connsiteY305" fmla="*/ 322417 h 776474"/>
                  <a:gd name="connsiteX306" fmla="*/ 8740 w 512041"/>
                  <a:gd name="connsiteY306" fmla="*/ 320417 h 776474"/>
                  <a:gd name="connsiteX307" fmla="*/ 14836 w 512041"/>
                  <a:gd name="connsiteY307" fmla="*/ 311844 h 776474"/>
                  <a:gd name="connsiteX308" fmla="*/ 7216 w 512041"/>
                  <a:gd name="connsiteY308" fmla="*/ 296509 h 776474"/>
                  <a:gd name="connsiteX309" fmla="*/ 15408 w 512041"/>
                  <a:gd name="connsiteY309" fmla="*/ 280126 h 776474"/>
                  <a:gd name="connsiteX310" fmla="*/ 30743 w 512041"/>
                  <a:gd name="connsiteY310" fmla="*/ 274316 h 776474"/>
                  <a:gd name="connsiteX311" fmla="*/ 48460 w 512041"/>
                  <a:gd name="connsiteY311" fmla="*/ 269839 h 776474"/>
                  <a:gd name="connsiteX312" fmla="*/ 58556 w 512041"/>
                  <a:gd name="connsiteY312" fmla="*/ 274887 h 776474"/>
                  <a:gd name="connsiteX313" fmla="*/ 60937 w 512041"/>
                  <a:gd name="connsiteY313" fmla="*/ 274030 h 776474"/>
                  <a:gd name="connsiteX314" fmla="*/ 70558 w 512041"/>
                  <a:gd name="connsiteY314" fmla="*/ 268410 h 776474"/>
                  <a:gd name="connsiteX315" fmla="*/ 78749 w 512041"/>
                  <a:gd name="connsiteY315" fmla="*/ 265362 h 776474"/>
                  <a:gd name="connsiteX316" fmla="*/ 106086 w 512041"/>
                  <a:gd name="connsiteY316" fmla="*/ 257361 h 776474"/>
                  <a:gd name="connsiteX317" fmla="*/ 124564 w 512041"/>
                  <a:gd name="connsiteY317" fmla="*/ 253075 h 776474"/>
                  <a:gd name="connsiteX318" fmla="*/ 137233 w 512041"/>
                  <a:gd name="connsiteY318" fmla="*/ 243836 h 776474"/>
                  <a:gd name="connsiteX319" fmla="*/ 169332 w 512041"/>
                  <a:gd name="connsiteY319" fmla="*/ 232310 h 776474"/>
                  <a:gd name="connsiteX320" fmla="*/ 173999 w 512041"/>
                  <a:gd name="connsiteY320" fmla="*/ 226976 h 776474"/>
                  <a:gd name="connsiteX321" fmla="*/ 183905 w 512041"/>
                  <a:gd name="connsiteY321" fmla="*/ 222595 h 776474"/>
                  <a:gd name="connsiteX322" fmla="*/ 186191 w 512041"/>
                  <a:gd name="connsiteY322" fmla="*/ 221833 h 776474"/>
                  <a:gd name="connsiteX323" fmla="*/ 204955 w 512041"/>
                  <a:gd name="connsiteY323" fmla="*/ 177351 h 776474"/>
                  <a:gd name="connsiteX324" fmla="*/ 208003 w 512041"/>
                  <a:gd name="connsiteY324" fmla="*/ 105056 h 776474"/>
                  <a:gd name="connsiteX325" fmla="*/ 203241 w 512041"/>
                  <a:gd name="connsiteY325" fmla="*/ 70766 h 776474"/>
                  <a:gd name="connsiteX326" fmla="*/ 207813 w 512041"/>
                  <a:gd name="connsiteY326" fmla="*/ 52669 h 776474"/>
                  <a:gd name="connsiteX327" fmla="*/ 210194 w 512041"/>
                  <a:gd name="connsiteY327" fmla="*/ 39905 h 776474"/>
                  <a:gd name="connsiteX328" fmla="*/ 227720 w 512041"/>
                  <a:gd name="connsiteY328" fmla="*/ 2567 h 776474"/>
                  <a:gd name="connsiteX329" fmla="*/ 236197 w 512041"/>
                  <a:gd name="connsiteY329" fmla="*/ 1043 h 7764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  <a:cxn ang="0">
                    <a:pos x="connsiteX255" y="connsiteY255"/>
                  </a:cxn>
                  <a:cxn ang="0">
                    <a:pos x="connsiteX256" y="connsiteY256"/>
                  </a:cxn>
                  <a:cxn ang="0">
                    <a:pos x="connsiteX257" y="connsiteY257"/>
                  </a:cxn>
                  <a:cxn ang="0">
                    <a:pos x="connsiteX258" y="connsiteY258"/>
                  </a:cxn>
                  <a:cxn ang="0">
                    <a:pos x="connsiteX259" y="connsiteY259"/>
                  </a:cxn>
                  <a:cxn ang="0">
                    <a:pos x="connsiteX260" y="connsiteY260"/>
                  </a:cxn>
                  <a:cxn ang="0">
                    <a:pos x="connsiteX261" y="connsiteY261"/>
                  </a:cxn>
                  <a:cxn ang="0">
                    <a:pos x="connsiteX262" y="connsiteY262"/>
                  </a:cxn>
                  <a:cxn ang="0">
                    <a:pos x="connsiteX263" y="connsiteY263"/>
                  </a:cxn>
                  <a:cxn ang="0">
                    <a:pos x="connsiteX264" y="connsiteY264"/>
                  </a:cxn>
                  <a:cxn ang="0">
                    <a:pos x="connsiteX265" y="connsiteY265"/>
                  </a:cxn>
                  <a:cxn ang="0">
                    <a:pos x="connsiteX266" y="connsiteY266"/>
                  </a:cxn>
                  <a:cxn ang="0">
                    <a:pos x="connsiteX267" y="connsiteY267"/>
                  </a:cxn>
                  <a:cxn ang="0">
                    <a:pos x="connsiteX268" y="connsiteY268"/>
                  </a:cxn>
                  <a:cxn ang="0">
                    <a:pos x="connsiteX269" y="connsiteY269"/>
                  </a:cxn>
                  <a:cxn ang="0">
                    <a:pos x="connsiteX270" y="connsiteY270"/>
                  </a:cxn>
                  <a:cxn ang="0">
                    <a:pos x="connsiteX271" y="connsiteY271"/>
                  </a:cxn>
                  <a:cxn ang="0">
                    <a:pos x="connsiteX272" y="connsiteY272"/>
                  </a:cxn>
                  <a:cxn ang="0">
                    <a:pos x="connsiteX273" y="connsiteY273"/>
                  </a:cxn>
                  <a:cxn ang="0">
                    <a:pos x="connsiteX274" y="connsiteY274"/>
                  </a:cxn>
                  <a:cxn ang="0">
                    <a:pos x="connsiteX275" y="connsiteY275"/>
                  </a:cxn>
                  <a:cxn ang="0">
                    <a:pos x="connsiteX276" y="connsiteY276"/>
                  </a:cxn>
                  <a:cxn ang="0">
                    <a:pos x="connsiteX277" y="connsiteY277"/>
                  </a:cxn>
                  <a:cxn ang="0">
                    <a:pos x="connsiteX278" y="connsiteY278"/>
                  </a:cxn>
                  <a:cxn ang="0">
                    <a:pos x="connsiteX279" y="connsiteY279"/>
                  </a:cxn>
                  <a:cxn ang="0">
                    <a:pos x="connsiteX280" y="connsiteY280"/>
                  </a:cxn>
                  <a:cxn ang="0">
                    <a:pos x="connsiteX281" y="connsiteY281"/>
                  </a:cxn>
                  <a:cxn ang="0">
                    <a:pos x="connsiteX282" y="connsiteY282"/>
                  </a:cxn>
                  <a:cxn ang="0">
                    <a:pos x="connsiteX283" y="connsiteY283"/>
                  </a:cxn>
                  <a:cxn ang="0">
                    <a:pos x="connsiteX284" y="connsiteY284"/>
                  </a:cxn>
                  <a:cxn ang="0">
                    <a:pos x="connsiteX285" y="connsiteY285"/>
                  </a:cxn>
                  <a:cxn ang="0">
                    <a:pos x="connsiteX286" y="connsiteY286"/>
                  </a:cxn>
                  <a:cxn ang="0">
                    <a:pos x="connsiteX287" y="connsiteY287"/>
                  </a:cxn>
                  <a:cxn ang="0">
                    <a:pos x="connsiteX288" y="connsiteY288"/>
                  </a:cxn>
                  <a:cxn ang="0">
                    <a:pos x="connsiteX289" y="connsiteY289"/>
                  </a:cxn>
                  <a:cxn ang="0">
                    <a:pos x="connsiteX290" y="connsiteY290"/>
                  </a:cxn>
                  <a:cxn ang="0">
                    <a:pos x="connsiteX291" y="connsiteY291"/>
                  </a:cxn>
                  <a:cxn ang="0">
                    <a:pos x="connsiteX292" y="connsiteY292"/>
                  </a:cxn>
                  <a:cxn ang="0">
                    <a:pos x="connsiteX293" y="connsiteY293"/>
                  </a:cxn>
                  <a:cxn ang="0">
                    <a:pos x="connsiteX294" y="connsiteY294"/>
                  </a:cxn>
                  <a:cxn ang="0">
                    <a:pos x="connsiteX295" y="connsiteY295"/>
                  </a:cxn>
                  <a:cxn ang="0">
                    <a:pos x="connsiteX296" y="connsiteY296"/>
                  </a:cxn>
                  <a:cxn ang="0">
                    <a:pos x="connsiteX297" y="connsiteY297"/>
                  </a:cxn>
                  <a:cxn ang="0">
                    <a:pos x="connsiteX298" y="connsiteY298"/>
                  </a:cxn>
                  <a:cxn ang="0">
                    <a:pos x="connsiteX299" y="connsiteY299"/>
                  </a:cxn>
                  <a:cxn ang="0">
                    <a:pos x="connsiteX300" y="connsiteY300"/>
                  </a:cxn>
                  <a:cxn ang="0">
                    <a:pos x="connsiteX301" y="connsiteY301"/>
                  </a:cxn>
                  <a:cxn ang="0">
                    <a:pos x="connsiteX302" y="connsiteY302"/>
                  </a:cxn>
                  <a:cxn ang="0">
                    <a:pos x="connsiteX303" y="connsiteY303"/>
                  </a:cxn>
                  <a:cxn ang="0">
                    <a:pos x="connsiteX304" y="connsiteY304"/>
                  </a:cxn>
                  <a:cxn ang="0">
                    <a:pos x="connsiteX305" y="connsiteY305"/>
                  </a:cxn>
                  <a:cxn ang="0">
                    <a:pos x="connsiteX306" y="connsiteY306"/>
                  </a:cxn>
                  <a:cxn ang="0">
                    <a:pos x="connsiteX307" y="connsiteY307"/>
                  </a:cxn>
                  <a:cxn ang="0">
                    <a:pos x="connsiteX308" y="connsiteY308"/>
                  </a:cxn>
                  <a:cxn ang="0">
                    <a:pos x="connsiteX309" y="connsiteY309"/>
                  </a:cxn>
                  <a:cxn ang="0">
                    <a:pos x="connsiteX310" y="connsiteY310"/>
                  </a:cxn>
                  <a:cxn ang="0">
                    <a:pos x="connsiteX311" y="connsiteY311"/>
                  </a:cxn>
                  <a:cxn ang="0">
                    <a:pos x="connsiteX312" y="connsiteY312"/>
                  </a:cxn>
                  <a:cxn ang="0">
                    <a:pos x="connsiteX313" y="connsiteY313"/>
                  </a:cxn>
                  <a:cxn ang="0">
                    <a:pos x="connsiteX314" y="connsiteY314"/>
                  </a:cxn>
                  <a:cxn ang="0">
                    <a:pos x="connsiteX315" y="connsiteY315"/>
                  </a:cxn>
                  <a:cxn ang="0">
                    <a:pos x="connsiteX316" y="connsiteY316"/>
                  </a:cxn>
                  <a:cxn ang="0">
                    <a:pos x="connsiteX317" y="connsiteY317"/>
                  </a:cxn>
                  <a:cxn ang="0">
                    <a:pos x="connsiteX318" y="connsiteY318"/>
                  </a:cxn>
                  <a:cxn ang="0">
                    <a:pos x="connsiteX319" y="connsiteY319"/>
                  </a:cxn>
                  <a:cxn ang="0">
                    <a:pos x="connsiteX320" y="connsiteY320"/>
                  </a:cxn>
                  <a:cxn ang="0">
                    <a:pos x="connsiteX321" y="connsiteY321"/>
                  </a:cxn>
                  <a:cxn ang="0">
                    <a:pos x="connsiteX322" y="connsiteY322"/>
                  </a:cxn>
                  <a:cxn ang="0">
                    <a:pos x="connsiteX323" y="connsiteY323"/>
                  </a:cxn>
                  <a:cxn ang="0">
                    <a:pos x="connsiteX324" y="connsiteY324"/>
                  </a:cxn>
                  <a:cxn ang="0">
                    <a:pos x="connsiteX325" y="connsiteY325"/>
                  </a:cxn>
                  <a:cxn ang="0">
                    <a:pos x="connsiteX326" y="connsiteY326"/>
                  </a:cxn>
                  <a:cxn ang="0">
                    <a:pos x="connsiteX327" y="connsiteY327"/>
                  </a:cxn>
                  <a:cxn ang="0">
                    <a:pos x="connsiteX328" y="connsiteY328"/>
                  </a:cxn>
                  <a:cxn ang="0">
                    <a:pos x="connsiteX329" y="connsiteY329"/>
                  </a:cxn>
                </a:cxnLst>
                <a:rect l="l" t="t" r="r" b="b"/>
                <a:pathLst>
                  <a:path w="512041" h="776474">
                    <a:moveTo>
                      <a:pt x="468035" y="583116"/>
                    </a:moveTo>
                    <a:lnTo>
                      <a:pt x="467945" y="583143"/>
                    </a:lnTo>
                    <a:lnTo>
                      <a:pt x="468894" y="588831"/>
                    </a:lnTo>
                    <a:lnTo>
                      <a:pt x="467101" y="585493"/>
                    </a:lnTo>
                    <a:lnTo>
                      <a:pt x="468893" y="588831"/>
                    </a:lnTo>
                    <a:lnTo>
                      <a:pt x="468894" y="588831"/>
                    </a:lnTo>
                    <a:lnTo>
                      <a:pt x="468988" y="588831"/>
                    </a:lnTo>
                    <a:cubicBezTo>
                      <a:pt x="470322" y="586640"/>
                      <a:pt x="470036" y="584735"/>
                      <a:pt x="468035" y="583116"/>
                    </a:cubicBezTo>
                    <a:close/>
                    <a:moveTo>
                      <a:pt x="457368" y="573019"/>
                    </a:moveTo>
                    <a:cubicBezTo>
                      <a:pt x="455748" y="576924"/>
                      <a:pt x="450224" y="571019"/>
                      <a:pt x="449843" y="576162"/>
                    </a:cubicBezTo>
                    <a:lnTo>
                      <a:pt x="449844" y="576163"/>
                    </a:lnTo>
                    <a:lnTo>
                      <a:pt x="453142" y="574128"/>
                    </a:lnTo>
                    <a:lnTo>
                      <a:pt x="457368" y="573020"/>
                    </a:lnTo>
                    <a:close/>
                    <a:moveTo>
                      <a:pt x="251628" y="544349"/>
                    </a:moveTo>
                    <a:cubicBezTo>
                      <a:pt x="249056" y="546350"/>
                      <a:pt x="250580" y="549207"/>
                      <a:pt x="250675" y="552255"/>
                    </a:cubicBezTo>
                    <a:lnTo>
                      <a:pt x="250676" y="552253"/>
                    </a:lnTo>
                    <a:close/>
                    <a:moveTo>
                      <a:pt x="50174" y="541301"/>
                    </a:moveTo>
                    <a:cubicBezTo>
                      <a:pt x="57032" y="541968"/>
                      <a:pt x="49983" y="545397"/>
                      <a:pt x="51222" y="547111"/>
                    </a:cubicBezTo>
                    <a:cubicBezTo>
                      <a:pt x="49317" y="545397"/>
                      <a:pt x="50460" y="543206"/>
                      <a:pt x="50174" y="541301"/>
                    </a:cubicBezTo>
                    <a:close/>
                    <a:moveTo>
                      <a:pt x="447843" y="531204"/>
                    </a:moveTo>
                    <a:cubicBezTo>
                      <a:pt x="446509" y="534062"/>
                      <a:pt x="446033" y="536157"/>
                      <a:pt x="447843" y="538443"/>
                    </a:cubicBezTo>
                    <a:lnTo>
                      <a:pt x="447938" y="538090"/>
                    </a:lnTo>
                    <a:lnTo>
                      <a:pt x="447938" y="531653"/>
                    </a:lnTo>
                    <a:close/>
                    <a:moveTo>
                      <a:pt x="373738" y="497391"/>
                    </a:moveTo>
                    <a:cubicBezTo>
                      <a:pt x="372119" y="497010"/>
                      <a:pt x="371547" y="498248"/>
                      <a:pt x="371547" y="499581"/>
                    </a:cubicBezTo>
                    <a:cubicBezTo>
                      <a:pt x="371547" y="500343"/>
                      <a:pt x="372024" y="501201"/>
                      <a:pt x="372404" y="502534"/>
                    </a:cubicBezTo>
                    <a:lnTo>
                      <a:pt x="372404" y="502629"/>
                    </a:lnTo>
                    <a:cubicBezTo>
                      <a:pt x="373548" y="501296"/>
                      <a:pt x="374500" y="500439"/>
                      <a:pt x="374976" y="499391"/>
                    </a:cubicBezTo>
                    <a:lnTo>
                      <a:pt x="374952" y="499351"/>
                    </a:lnTo>
                    <a:lnTo>
                      <a:pt x="372500" y="502439"/>
                    </a:lnTo>
                    <a:cubicBezTo>
                      <a:pt x="372024" y="501105"/>
                      <a:pt x="371643" y="500343"/>
                      <a:pt x="371643" y="499486"/>
                    </a:cubicBezTo>
                    <a:lnTo>
                      <a:pt x="373738" y="497391"/>
                    </a:lnTo>
                    <a:close/>
                    <a:moveTo>
                      <a:pt x="359260" y="480341"/>
                    </a:moveTo>
                    <a:cubicBezTo>
                      <a:pt x="358879" y="480150"/>
                      <a:pt x="357164" y="481103"/>
                      <a:pt x="357164" y="481674"/>
                    </a:cubicBezTo>
                    <a:cubicBezTo>
                      <a:pt x="356783" y="484532"/>
                      <a:pt x="359070" y="485389"/>
                      <a:pt x="361070" y="486532"/>
                    </a:cubicBezTo>
                    <a:lnTo>
                      <a:pt x="361165" y="486532"/>
                    </a:lnTo>
                    <a:cubicBezTo>
                      <a:pt x="359165" y="485485"/>
                      <a:pt x="356879" y="484532"/>
                      <a:pt x="357260" y="481675"/>
                    </a:cubicBezTo>
                    <a:lnTo>
                      <a:pt x="359276" y="480391"/>
                    </a:lnTo>
                    <a:close/>
                    <a:moveTo>
                      <a:pt x="351354" y="471959"/>
                    </a:moveTo>
                    <a:cubicBezTo>
                      <a:pt x="350116" y="472054"/>
                      <a:pt x="348592" y="471864"/>
                      <a:pt x="348592" y="473769"/>
                    </a:cubicBezTo>
                    <a:cubicBezTo>
                      <a:pt x="348687" y="475483"/>
                      <a:pt x="349830" y="476817"/>
                      <a:pt x="351450" y="476817"/>
                    </a:cubicBezTo>
                    <a:lnTo>
                      <a:pt x="351578" y="476750"/>
                    </a:lnTo>
                    <a:lnTo>
                      <a:pt x="348783" y="473769"/>
                    </a:lnTo>
                    <a:lnTo>
                      <a:pt x="351413" y="472045"/>
                    </a:lnTo>
                    <a:close/>
                    <a:moveTo>
                      <a:pt x="76273" y="434145"/>
                    </a:moveTo>
                    <a:cubicBezTo>
                      <a:pt x="79225" y="438431"/>
                      <a:pt x="88655" y="436907"/>
                      <a:pt x="87131" y="444242"/>
                    </a:cubicBezTo>
                    <a:lnTo>
                      <a:pt x="87417" y="444242"/>
                    </a:lnTo>
                    <a:cubicBezTo>
                      <a:pt x="85988" y="451290"/>
                      <a:pt x="94656" y="456910"/>
                      <a:pt x="87703" y="465482"/>
                    </a:cubicBezTo>
                    <a:cubicBezTo>
                      <a:pt x="83035" y="471102"/>
                      <a:pt x="82940" y="481198"/>
                      <a:pt x="80559" y="489199"/>
                    </a:cubicBezTo>
                    <a:cubicBezTo>
                      <a:pt x="79511" y="492438"/>
                      <a:pt x="83988" y="497677"/>
                      <a:pt x="76273" y="497772"/>
                    </a:cubicBezTo>
                    <a:cubicBezTo>
                      <a:pt x="75511" y="497772"/>
                      <a:pt x="75796" y="499487"/>
                      <a:pt x="76844" y="500629"/>
                    </a:cubicBezTo>
                    <a:cubicBezTo>
                      <a:pt x="80464" y="504725"/>
                      <a:pt x="80273" y="507297"/>
                      <a:pt x="73891" y="507488"/>
                    </a:cubicBezTo>
                    <a:cubicBezTo>
                      <a:pt x="72463" y="507583"/>
                      <a:pt x="71320" y="509393"/>
                      <a:pt x="71510" y="511202"/>
                    </a:cubicBezTo>
                    <a:cubicBezTo>
                      <a:pt x="72177" y="517679"/>
                      <a:pt x="65224" y="519870"/>
                      <a:pt x="63033" y="525299"/>
                    </a:cubicBezTo>
                    <a:cubicBezTo>
                      <a:pt x="60842" y="530538"/>
                      <a:pt x="56080" y="537110"/>
                      <a:pt x="50269" y="541206"/>
                    </a:cubicBezTo>
                    <a:cubicBezTo>
                      <a:pt x="49984" y="541301"/>
                      <a:pt x="49412" y="541492"/>
                      <a:pt x="49412" y="541587"/>
                    </a:cubicBezTo>
                    <a:cubicBezTo>
                      <a:pt x="49888" y="554922"/>
                      <a:pt x="39316" y="561494"/>
                      <a:pt x="32267" y="570257"/>
                    </a:cubicBezTo>
                    <a:cubicBezTo>
                      <a:pt x="31315" y="571496"/>
                      <a:pt x="29124" y="572734"/>
                      <a:pt x="29314" y="573686"/>
                    </a:cubicBezTo>
                    <a:cubicBezTo>
                      <a:pt x="30648" y="581687"/>
                      <a:pt x="24838" y="579497"/>
                      <a:pt x="21028" y="579497"/>
                    </a:cubicBezTo>
                    <a:cubicBezTo>
                      <a:pt x="14360" y="579687"/>
                      <a:pt x="11503" y="575591"/>
                      <a:pt x="9979" y="569400"/>
                    </a:cubicBezTo>
                    <a:cubicBezTo>
                      <a:pt x="8169" y="561971"/>
                      <a:pt x="11979" y="555303"/>
                      <a:pt x="11979" y="548064"/>
                    </a:cubicBezTo>
                    <a:cubicBezTo>
                      <a:pt x="12074" y="538634"/>
                      <a:pt x="11693" y="528252"/>
                      <a:pt x="15408" y="520061"/>
                    </a:cubicBezTo>
                    <a:cubicBezTo>
                      <a:pt x="19599" y="510726"/>
                      <a:pt x="21885" y="500629"/>
                      <a:pt x="26933" y="491581"/>
                    </a:cubicBezTo>
                    <a:cubicBezTo>
                      <a:pt x="29981" y="486151"/>
                      <a:pt x="34172" y="479103"/>
                      <a:pt x="37506" y="476626"/>
                    </a:cubicBezTo>
                    <a:cubicBezTo>
                      <a:pt x="46459" y="469864"/>
                      <a:pt x="45221" y="455672"/>
                      <a:pt x="54651" y="452623"/>
                    </a:cubicBezTo>
                    <a:cubicBezTo>
                      <a:pt x="61985" y="450338"/>
                      <a:pt x="61890" y="444337"/>
                      <a:pt x="65890" y="441479"/>
                    </a:cubicBezTo>
                    <a:cubicBezTo>
                      <a:pt x="69319" y="439098"/>
                      <a:pt x="73891" y="438241"/>
                      <a:pt x="76273" y="434145"/>
                    </a:cubicBezTo>
                    <a:close/>
                    <a:moveTo>
                      <a:pt x="337484" y="428358"/>
                    </a:moveTo>
                    <a:cubicBezTo>
                      <a:pt x="338639" y="428048"/>
                      <a:pt x="339782" y="428810"/>
                      <a:pt x="340591" y="431668"/>
                    </a:cubicBezTo>
                    <a:cubicBezTo>
                      <a:pt x="342496" y="438526"/>
                      <a:pt x="345163" y="437955"/>
                      <a:pt x="348687" y="432906"/>
                    </a:cubicBezTo>
                    <a:cubicBezTo>
                      <a:pt x="349068" y="432430"/>
                      <a:pt x="350021" y="431859"/>
                      <a:pt x="350021" y="431859"/>
                    </a:cubicBezTo>
                    <a:cubicBezTo>
                      <a:pt x="353831" y="435954"/>
                      <a:pt x="361737" y="434335"/>
                      <a:pt x="363260" y="440431"/>
                    </a:cubicBezTo>
                    <a:cubicBezTo>
                      <a:pt x="364308" y="444908"/>
                      <a:pt x="367071" y="446622"/>
                      <a:pt x="370214" y="448623"/>
                    </a:cubicBezTo>
                    <a:cubicBezTo>
                      <a:pt x="375548" y="452052"/>
                      <a:pt x="380977" y="455385"/>
                      <a:pt x="381453" y="462720"/>
                    </a:cubicBezTo>
                    <a:cubicBezTo>
                      <a:pt x="381453" y="463672"/>
                      <a:pt x="382787" y="465387"/>
                      <a:pt x="383739" y="465482"/>
                    </a:cubicBezTo>
                    <a:cubicBezTo>
                      <a:pt x="398027" y="467292"/>
                      <a:pt x="399265" y="483865"/>
                      <a:pt x="410600" y="489009"/>
                    </a:cubicBezTo>
                    <a:cubicBezTo>
                      <a:pt x="413362" y="490247"/>
                      <a:pt x="413172" y="493771"/>
                      <a:pt x="414314" y="496248"/>
                    </a:cubicBezTo>
                    <a:cubicBezTo>
                      <a:pt x="415553" y="498819"/>
                      <a:pt x="414124" y="507011"/>
                      <a:pt x="422220" y="502058"/>
                    </a:cubicBezTo>
                    <a:cubicBezTo>
                      <a:pt x="425078" y="500248"/>
                      <a:pt x="426316" y="505677"/>
                      <a:pt x="428602" y="507487"/>
                    </a:cubicBezTo>
                    <a:cubicBezTo>
                      <a:pt x="437651" y="514440"/>
                      <a:pt x="447366" y="520632"/>
                      <a:pt x="454796" y="529395"/>
                    </a:cubicBezTo>
                    <a:cubicBezTo>
                      <a:pt x="456415" y="531300"/>
                      <a:pt x="458225" y="533300"/>
                      <a:pt x="458987" y="535586"/>
                    </a:cubicBezTo>
                    <a:cubicBezTo>
                      <a:pt x="460320" y="539682"/>
                      <a:pt x="459939" y="545111"/>
                      <a:pt x="466893" y="542730"/>
                    </a:cubicBezTo>
                    <a:lnTo>
                      <a:pt x="466797" y="542730"/>
                    </a:lnTo>
                    <a:cubicBezTo>
                      <a:pt x="468035" y="542349"/>
                      <a:pt x="469083" y="541872"/>
                      <a:pt x="469560" y="543777"/>
                    </a:cubicBezTo>
                    <a:cubicBezTo>
                      <a:pt x="472608" y="556636"/>
                      <a:pt x="475846" y="569495"/>
                      <a:pt x="478989" y="582354"/>
                    </a:cubicBezTo>
                    <a:cubicBezTo>
                      <a:pt x="478132" y="588545"/>
                      <a:pt x="477370" y="594736"/>
                      <a:pt x="476227" y="600832"/>
                    </a:cubicBezTo>
                    <a:cubicBezTo>
                      <a:pt x="476037" y="601594"/>
                      <a:pt x="474036" y="602928"/>
                      <a:pt x="473274" y="602642"/>
                    </a:cubicBezTo>
                    <a:cubicBezTo>
                      <a:pt x="464321" y="599403"/>
                      <a:pt x="454415" y="600642"/>
                      <a:pt x="445461" y="596070"/>
                    </a:cubicBezTo>
                    <a:cubicBezTo>
                      <a:pt x="441842" y="594260"/>
                      <a:pt x="436031" y="594165"/>
                      <a:pt x="433269" y="591117"/>
                    </a:cubicBezTo>
                    <a:cubicBezTo>
                      <a:pt x="428507" y="585783"/>
                      <a:pt x="419363" y="585687"/>
                      <a:pt x="417362" y="577305"/>
                    </a:cubicBezTo>
                    <a:cubicBezTo>
                      <a:pt x="417077" y="576258"/>
                      <a:pt x="415077" y="574638"/>
                      <a:pt x="414886" y="574734"/>
                    </a:cubicBezTo>
                    <a:cubicBezTo>
                      <a:pt x="406218" y="580639"/>
                      <a:pt x="407837" y="571114"/>
                      <a:pt x="405171" y="568257"/>
                    </a:cubicBezTo>
                    <a:cubicBezTo>
                      <a:pt x="400503" y="563208"/>
                      <a:pt x="394979" y="559208"/>
                      <a:pt x="390121" y="554350"/>
                    </a:cubicBezTo>
                    <a:cubicBezTo>
                      <a:pt x="386216" y="550445"/>
                      <a:pt x="380501" y="547397"/>
                      <a:pt x="378215" y="542634"/>
                    </a:cubicBezTo>
                    <a:cubicBezTo>
                      <a:pt x="372500" y="530728"/>
                      <a:pt x="363451" y="521489"/>
                      <a:pt x="355545" y="511297"/>
                    </a:cubicBezTo>
                    <a:cubicBezTo>
                      <a:pt x="350211" y="504439"/>
                      <a:pt x="342877" y="499296"/>
                      <a:pt x="337924" y="491390"/>
                    </a:cubicBezTo>
                    <a:cubicBezTo>
                      <a:pt x="334019" y="485199"/>
                      <a:pt x="333257" y="478055"/>
                      <a:pt x="329447" y="472054"/>
                    </a:cubicBezTo>
                    <a:cubicBezTo>
                      <a:pt x="328685" y="470911"/>
                      <a:pt x="328875" y="468720"/>
                      <a:pt x="331066" y="468244"/>
                    </a:cubicBezTo>
                    <a:cubicBezTo>
                      <a:pt x="336210" y="467196"/>
                      <a:pt x="334019" y="466625"/>
                      <a:pt x="330971" y="465958"/>
                    </a:cubicBezTo>
                    <a:cubicBezTo>
                      <a:pt x="329352" y="465577"/>
                      <a:pt x="328875" y="464244"/>
                      <a:pt x="329733" y="463101"/>
                    </a:cubicBezTo>
                    <a:cubicBezTo>
                      <a:pt x="335352" y="455862"/>
                      <a:pt x="330399" y="447861"/>
                      <a:pt x="331542" y="440336"/>
                    </a:cubicBezTo>
                    <a:cubicBezTo>
                      <a:pt x="332018" y="437288"/>
                      <a:pt x="332781" y="434049"/>
                      <a:pt x="334304" y="431478"/>
                    </a:cubicBezTo>
                    <a:cubicBezTo>
                      <a:pt x="335162" y="430049"/>
                      <a:pt x="336329" y="428667"/>
                      <a:pt x="337484" y="428358"/>
                    </a:cubicBezTo>
                    <a:close/>
                    <a:moveTo>
                      <a:pt x="307445" y="252503"/>
                    </a:moveTo>
                    <a:lnTo>
                      <a:pt x="307540" y="252503"/>
                    </a:lnTo>
                    <a:lnTo>
                      <a:pt x="307505" y="252555"/>
                    </a:lnTo>
                    <a:close/>
                    <a:moveTo>
                      <a:pt x="307444" y="252218"/>
                    </a:moveTo>
                    <a:cubicBezTo>
                      <a:pt x="306873" y="252408"/>
                      <a:pt x="306492" y="253551"/>
                      <a:pt x="305920" y="254599"/>
                    </a:cubicBezTo>
                    <a:lnTo>
                      <a:pt x="306068" y="254711"/>
                    </a:lnTo>
                    <a:lnTo>
                      <a:pt x="307505" y="252555"/>
                    </a:lnTo>
                    <a:lnTo>
                      <a:pt x="309672" y="254452"/>
                    </a:lnTo>
                    <a:lnTo>
                      <a:pt x="309730" y="254218"/>
                    </a:lnTo>
                    <a:cubicBezTo>
                      <a:pt x="309825" y="252789"/>
                      <a:pt x="308873" y="251837"/>
                      <a:pt x="307444" y="252218"/>
                    </a:cubicBezTo>
                    <a:close/>
                    <a:moveTo>
                      <a:pt x="227148" y="202307"/>
                    </a:moveTo>
                    <a:cubicBezTo>
                      <a:pt x="224005" y="202783"/>
                      <a:pt x="225625" y="205640"/>
                      <a:pt x="225625" y="207641"/>
                    </a:cubicBezTo>
                    <a:cubicBezTo>
                      <a:pt x="222291" y="220404"/>
                      <a:pt x="219433" y="233453"/>
                      <a:pt x="215528" y="246122"/>
                    </a:cubicBezTo>
                    <a:cubicBezTo>
                      <a:pt x="212766" y="255170"/>
                      <a:pt x="212194" y="264981"/>
                      <a:pt x="206860" y="272982"/>
                    </a:cubicBezTo>
                    <a:cubicBezTo>
                      <a:pt x="203146" y="278602"/>
                      <a:pt x="200955" y="284698"/>
                      <a:pt x="198383" y="290699"/>
                    </a:cubicBezTo>
                    <a:cubicBezTo>
                      <a:pt x="197812" y="292032"/>
                      <a:pt x="198193" y="294509"/>
                      <a:pt x="196192" y="294128"/>
                    </a:cubicBezTo>
                    <a:cubicBezTo>
                      <a:pt x="187048" y="292223"/>
                      <a:pt x="189048" y="303653"/>
                      <a:pt x="182667" y="305367"/>
                    </a:cubicBezTo>
                    <a:cubicBezTo>
                      <a:pt x="180857" y="305939"/>
                      <a:pt x="181619" y="309082"/>
                      <a:pt x="182667" y="311844"/>
                    </a:cubicBezTo>
                    <a:cubicBezTo>
                      <a:pt x="184762" y="317273"/>
                      <a:pt x="190763" y="319559"/>
                      <a:pt x="192382" y="324131"/>
                    </a:cubicBezTo>
                    <a:cubicBezTo>
                      <a:pt x="197050" y="337181"/>
                      <a:pt x="201812" y="350420"/>
                      <a:pt x="204003" y="363946"/>
                    </a:cubicBezTo>
                    <a:cubicBezTo>
                      <a:pt x="208003" y="388425"/>
                      <a:pt x="208479" y="413476"/>
                      <a:pt x="215528" y="439384"/>
                    </a:cubicBezTo>
                    <a:cubicBezTo>
                      <a:pt x="217909" y="428525"/>
                      <a:pt x="220291" y="419000"/>
                      <a:pt x="222100" y="409475"/>
                    </a:cubicBezTo>
                    <a:cubicBezTo>
                      <a:pt x="223434" y="402713"/>
                      <a:pt x="225529" y="395759"/>
                      <a:pt x="221148" y="389282"/>
                    </a:cubicBezTo>
                    <a:cubicBezTo>
                      <a:pt x="233816" y="383567"/>
                      <a:pt x="216385" y="368899"/>
                      <a:pt x="228958" y="363184"/>
                    </a:cubicBezTo>
                    <a:cubicBezTo>
                      <a:pt x="226958" y="349754"/>
                      <a:pt x="232673" y="338609"/>
                      <a:pt x="239626" y="328037"/>
                    </a:cubicBezTo>
                    <a:cubicBezTo>
                      <a:pt x="241627" y="324989"/>
                      <a:pt x="243627" y="320798"/>
                      <a:pt x="243627" y="318512"/>
                    </a:cubicBezTo>
                    <a:cubicBezTo>
                      <a:pt x="243627" y="311463"/>
                      <a:pt x="248008" y="310606"/>
                      <a:pt x="252390" y="311177"/>
                    </a:cubicBezTo>
                    <a:cubicBezTo>
                      <a:pt x="258010" y="311939"/>
                      <a:pt x="260581" y="310130"/>
                      <a:pt x="260677" y="304891"/>
                    </a:cubicBezTo>
                    <a:cubicBezTo>
                      <a:pt x="265248" y="305843"/>
                      <a:pt x="262486" y="311082"/>
                      <a:pt x="265820" y="313368"/>
                    </a:cubicBezTo>
                    <a:cubicBezTo>
                      <a:pt x="266011" y="304700"/>
                      <a:pt x="266106" y="304510"/>
                      <a:pt x="271630" y="308034"/>
                    </a:cubicBezTo>
                    <a:cubicBezTo>
                      <a:pt x="273821" y="309463"/>
                      <a:pt x="273345" y="307463"/>
                      <a:pt x="273345" y="306891"/>
                    </a:cubicBezTo>
                    <a:cubicBezTo>
                      <a:pt x="273726" y="301367"/>
                      <a:pt x="277536" y="303462"/>
                      <a:pt x="279155" y="304986"/>
                    </a:cubicBezTo>
                    <a:cubicBezTo>
                      <a:pt x="285823" y="311177"/>
                      <a:pt x="287346" y="301081"/>
                      <a:pt x="292490" y="300605"/>
                    </a:cubicBezTo>
                    <a:lnTo>
                      <a:pt x="292490" y="300509"/>
                    </a:lnTo>
                    <a:cubicBezTo>
                      <a:pt x="296110" y="300128"/>
                      <a:pt x="301063" y="297080"/>
                      <a:pt x="306587" y="296795"/>
                    </a:cubicBezTo>
                    <a:cubicBezTo>
                      <a:pt x="302587" y="289460"/>
                      <a:pt x="295633" y="287555"/>
                      <a:pt x="290109" y="283650"/>
                    </a:cubicBezTo>
                    <a:cubicBezTo>
                      <a:pt x="283632" y="278983"/>
                      <a:pt x="278774" y="272030"/>
                      <a:pt x="271249" y="268220"/>
                    </a:cubicBezTo>
                    <a:cubicBezTo>
                      <a:pt x="268773" y="266981"/>
                      <a:pt x="269440" y="261171"/>
                      <a:pt x="264391" y="262505"/>
                    </a:cubicBezTo>
                    <a:cubicBezTo>
                      <a:pt x="264391" y="257075"/>
                      <a:pt x="257629" y="260314"/>
                      <a:pt x="256485" y="256504"/>
                    </a:cubicBezTo>
                    <a:cubicBezTo>
                      <a:pt x="254009" y="248408"/>
                      <a:pt x="244484" y="246217"/>
                      <a:pt x="241817" y="238216"/>
                    </a:cubicBezTo>
                    <a:cubicBezTo>
                      <a:pt x="240769" y="235168"/>
                      <a:pt x="231625" y="234596"/>
                      <a:pt x="239341" y="228881"/>
                    </a:cubicBezTo>
                    <a:cubicBezTo>
                      <a:pt x="240864" y="227738"/>
                      <a:pt x="238960" y="227167"/>
                      <a:pt x="237912" y="226595"/>
                    </a:cubicBezTo>
                    <a:cubicBezTo>
                      <a:pt x="233959" y="224690"/>
                      <a:pt x="231983" y="221666"/>
                      <a:pt x="230673" y="218273"/>
                    </a:cubicBezTo>
                    <a:lnTo>
                      <a:pt x="227460" y="207822"/>
                    </a:lnTo>
                    <a:lnTo>
                      <a:pt x="227435" y="207831"/>
                    </a:lnTo>
                    <a:lnTo>
                      <a:pt x="227435" y="207739"/>
                    </a:lnTo>
                    <a:lnTo>
                      <a:pt x="227434" y="207736"/>
                    </a:lnTo>
                    <a:lnTo>
                      <a:pt x="225625" y="207736"/>
                    </a:lnTo>
                    <a:cubicBezTo>
                      <a:pt x="225625" y="205736"/>
                      <a:pt x="224006" y="202878"/>
                      <a:pt x="227149" y="202402"/>
                    </a:cubicBezTo>
                    <a:lnTo>
                      <a:pt x="230893" y="206520"/>
                    </a:lnTo>
                    <a:lnTo>
                      <a:pt x="230958" y="206498"/>
                    </a:lnTo>
                    <a:cubicBezTo>
                      <a:pt x="230958" y="204021"/>
                      <a:pt x="229435" y="201926"/>
                      <a:pt x="227148" y="202307"/>
                    </a:cubicBezTo>
                    <a:close/>
                    <a:moveTo>
                      <a:pt x="369030" y="114657"/>
                    </a:moveTo>
                    <a:lnTo>
                      <a:pt x="369595" y="117844"/>
                    </a:lnTo>
                    <a:lnTo>
                      <a:pt x="372426" y="120014"/>
                    </a:lnTo>
                    <a:close/>
                    <a:moveTo>
                      <a:pt x="370977" y="112010"/>
                    </a:moveTo>
                    <a:lnTo>
                      <a:pt x="370662" y="112270"/>
                    </a:lnTo>
                    <a:lnTo>
                      <a:pt x="372693" y="120219"/>
                    </a:lnTo>
                    <a:lnTo>
                      <a:pt x="373167" y="120582"/>
                    </a:lnTo>
                    <a:cubicBezTo>
                      <a:pt x="374691" y="116391"/>
                      <a:pt x="372215" y="114391"/>
                      <a:pt x="370977" y="112010"/>
                    </a:cubicBezTo>
                    <a:close/>
                    <a:moveTo>
                      <a:pt x="442402" y="19082"/>
                    </a:moveTo>
                    <a:cubicBezTo>
                      <a:pt x="444867" y="19784"/>
                      <a:pt x="447462" y="20713"/>
                      <a:pt x="449844" y="19427"/>
                    </a:cubicBezTo>
                    <a:cubicBezTo>
                      <a:pt x="450225" y="19236"/>
                      <a:pt x="450415" y="24094"/>
                      <a:pt x="450606" y="27333"/>
                    </a:cubicBezTo>
                    <a:cubicBezTo>
                      <a:pt x="453273" y="40763"/>
                      <a:pt x="445748" y="53431"/>
                      <a:pt x="444129" y="67052"/>
                    </a:cubicBezTo>
                    <a:cubicBezTo>
                      <a:pt x="443462" y="72767"/>
                      <a:pt x="436699" y="80006"/>
                      <a:pt x="434889" y="85530"/>
                    </a:cubicBezTo>
                    <a:cubicBezTo>
                      <a:pt x="431460" y="95913"/>
                      <a:pt x="422031" y="99818"/>
                      <a:pt x="417649" y="108200"/>
                    </a:cubicBezTo>
                    <a:cubicBezTo>
                      <a:pt x="414696" y="113724"/>
                      <a:pt x="408029" y="113248"/>
                      <a:pt x="403552" y="116963"/>
                    </a:cubicBezTo>
                    <a:cubicBezTo>
                      <a:pt x="398313" y="121249"/>
                      <a:pt x="398123" y="121059"/>
                      <a:pt x="390408" y="127440"/>
                    </a:cubicBezTo>
                    <a:cubicBezTo>
                      <a:pt x="385359" y="131631"/>
                      <a:pt x="376596" y="136013"/>
                      <a:pt x="369262" y="132298"/>
                    </a:cubicBezTo>
                    <a:lnTo>
                      <a:pt x="369548" y="132298"/>
                    </a:lnTo>
                    <a:cubicBezTo>
                      <a:pt x="366690" y="130869"/>
                      <a:pt x="360880" y="134489"/>
                      <a:pt x="361547" y="129536"/>
                    </a:cubicBezTo>
                    <a:cubicBezTo>
                      <a:pt x="362404" y="122297"/>
                      <a:pt x="360975" y="114201"/>
                      <a:pt x="366690" y="107914"/>
                    </a:cubicBezTo>
                    <a:cubicBezTo>
                      <a:pt x="370024" y="104199"/>
                      <a:pt x="376025" y="102866"/>
                      <a:pt x="376406" y="96484"/>
                    </a:cubicBezTo>
                    <a:cubicBezTo>
                      <a:pt x="376501" y="95627"/>
                      <a:pt x="380883" y="95817"/>
                      <a:pt x="376787" y="93531"/>
                    </a:cubicBezTo>
                    <a:cubicBezTo>
                      <a:pt x="372215" y="91055"/>
                      <a:pt x="375072" y="86578"/>
                      <a:pt x="376787" y="84578"/>
                    </a:cubicBezTo>
                    <a:cubicBezTo>
                      <a:pt x="384978" y="75243"/>
                      <a:pt x="388407" y="62670"/>
                      <a:pt x="397075" y="53717"/>
                    </a:cubicBezTo>
                    <a:cubicBezTo>
                      <a:pt x="398885" y="51812"/>
                      <a:pt x="400218" y="46954"/>
                      <a:pt x="405362" y="50193"/>
                    </a:cubicBezTo>
                    <a:cubicBezTo>
                      <a:pt x="407267" y="51336"/>
                      <a:pt x="409172" y="47907"/>
                      <a:pt x="410220" y="45621"/>
                    </a:cubicBezTo>
                    <a:cubicBezTo>
                      <a:pt x="411553" y="42573"/>
                      <a:pt x="410791" y="36000"/>
                      <a:pt x="417363" y="41144"/>
                    </a:cubicBezTo>
                    <a:cubicBezTo>
                      <a:pt x="417459" y="41144"/>
                      <a:pt x="419268" y="39810"/>
                      <a:pt x="419268" y="39239"/>
                    </a:cubicBezTo>
                    <a:cubicBezTo>
                      <a:pt x="418316" y="27237"/>
                      <a:pt x="430222" y="26475"/>
                      <a:pt x="435747" y="20094"/>
                    </a:cubicBezTo>
                    <a:cubicBezTo>
                      <a:pt x="437604" y="17903"/>
                      <a:pt x="439938" y="18379"/>
                      <a:pt x="442402" y="19082"/>
                    </a:cubicBezTo>
                    <a:close/>
                    <a:moveTo>
                      <a:pt x="78559" y="12568"/>
                    </a:moveTo>
                    <a:cubicBezTo>
                      <a:pt x="82845" y="13521"/>
                      <a:pt x="84941" y="17712"/>
                      <a:pt x="84560" y="22569"/>
                    </a:cubicBezTo>
                    <a:cubicBezTo>
                      <a:pt x="84465" y="24093"/>
                      <a:pt x="84560" y="25808"/>
                      <a:pt x="86465" y="26284"/>
                    </a:cubicBezTo>
                    <a:lnTo>
                      <a:pt x="86465" y="26570"/>
                    </a:lnTo>
                    <a:lnTo>
                      <a:pt x="86560" y="26570"/>
                    </a:lnTo>
                    <a:cubicBezTo>
                      <a:pt x="86179" y="29713"/>
                      <a:pt x="84369" y="32856"/>
                      <a:pt x="87036" y="36762"/>
                    </a:cubicBezTo>
                    <a:lnTo>
                      <a:pt x="87036" y="32672"/>
                    </a:lnTo>
                    <a:lnTo>
                      <a:pt x="86751" y="26571"/>
                    </a:lnTo>
                    <a:lnTo>
                      <a:pt x="86751" y="26570"/>
                    </a:lnTo>
                    <a:lnTo>
                      <a:pt x="86756" y="26577"/>
                    </a:lnTo>
                    <a:lnTo>
                      <a:pt x="86878" y="26730"/>
                    </a:lnTo>
                    <a:lnTo>
                      <a:pt x="86774" y="26522"/>
                    </a:lnTo>
                    <a:lnTo>
                      <a:pt x="86750" y="26570"/>
                    </a:lnTo>
                    <a:lnTo>
                      <a:pt x="86750" y="26474"/>
                    </a:lnTo>
                    <a:lnTo>
                      <a:pt x="86655" y="26284"/>
                    </a:lnTo>
                    <a:lnTo>
                      <a:pt x="86560" y="26284"/>
                    </a:lnTo>
                    <a:lnTo>
                      <a:pt x="87132" y="21807"/>
                    </a:lnTo>
                    <a:cubicBezTo>
                      <a:pt x="88084" y="22379"/>
                      <a:pt x="89418" y="22665"/>
                      <a:pt x="89989" y="23427"/>
                    </a:cubicBezTo>
                    <a:cubicBezTo>
                      <a:pt x="91608" y="25713"/>
                      <a:pt x="93418" y="28094"/>
                      <a:pt x="94180" y="30761"/>
                    </a:cubicBezTo>
                    <a:cubicBezTo>
                      <a:pt x="96942" y="40857"/>
                      <a:pt x="105420" y="46572"/>
                      <a:pt x="112087" y="53145"/>
                    </a:cubicBezTo>
                    <a:cubicBezTo>
                      <a:pt x="116373" y="57336"/>
                      <a:pt x="120755" y="60288"/>
                      <a:pt x="120564" y="66861"/>
                    </a:cubicBezTo>
                    <a:cubicBezTo>
                      <a:pt x="120469" y="70861"/>
                      <a:pt x="125898" y="69528"/>
                      <a:pt x="126565" y="72385"/>
                    </a:cubicBezTo>
                    <a:cubicBezTo>
                      <a:pt x="129708" y="86101"/>
                      <a:pt x="132756" y="100008"/>
                      <a:pt x="124851" y="113152"/>
                    </a:cubicBezTo>
                    <a:cubicBezTo>
                      <a:pt x="123517" y="115343"/>
                      <a:pt x="123136" y="117057"/>
                      <a:pt x="123422" y="119153"/>
                    </a:cubicBezTo>
                    <a:cubicBezTo>
                      <a:pt x="123803" y="121629"/>
                      <a:pt x="131709" y="123344"/>
                      <a:pt x="124374" y="126582"/>
                    </a:cubicBezTo>
                    <a:cubicBezTo>
                      <a:pt x="120088" y="128487"/>
                      <a:pt x="115326" y="133917"/>
                      <a:pt x="111135" y="126487"/>
                    </a:cubicBezTo>
                    <a:cubicBezTo>
                      <a:pt x="108658" y="121915"/>
                      <a:pt x="103610" y="121058"/>
                      <a:pt x="99895" y="118200"/>
                    </a:cubicBezTo>
                    <a:cubicBezTo>
                      <a:pt x="97038" y="116010"/>
                      <a:pt x="95609" y="113438"/>
                      <a:pt x="93704" y="110676"/>
                    </a:cubicBezTo>
                    <a:lnTo>
                      <a:pt x="93609" y="110676"/>
                    </a:lnTo>
                    <a:cubicBezTo>
                      <a:pt x="87894" y="102675"/>
                      <a:pt x="80940" y="95626"/>
                      <a:pt x="74273" y="88387"/>
                    </a:cubicBezTo>
                    <a:cubicBezTo>
                      <a:pt x="64367" y="77624"/>
                      <a:pt x="55128" y="66003"/>
                      <a:pt x="59985" y="50478"/>
                    </a:cubicBezTo>
                    <a:cubicBezTo>
                      <a:pt x="63224" y="40191"/>
                      <a:pt x="64653" y="29332"/>
                      <a:pt x="68844" y="19236"/>
                    </a:cubicBezTo>
                    <a:cubicBezTo>
                      <a:pt x="70844" y="14283"/>
                      <a:pt x="74178" y="11616"/>
                      <a:pt x="78559" y="12568"/>
                    </a:cubicBezTo>
                    <a:close/>
                    <a:moveTo>
                      <a:pt x="236197" y="1043"/>
                    </a:moveTo>
                    <a:cubicBezTo>
                      <a:pt x="247818" y="6187"/>
                      <a:pt x="246865" y="17712"/>
                      <a:pt x="251914" y="25999"/>
                    </a:cubicBezTo>
                    <a:cubicBezTo>
                      <a:pt x="252961" y="27713"/>
                      <a:pt x="253342" y="32952"/>
                      <a:pt x="248199" y="28761"/>
                    </a:cubicBezTo>
                    <a:cubicBezTo>
                      <a:pt x="245532" y="32666"/>
                      <a:pt x="250389" y="35619"/>
                      <a:pt x="249627" y="39239"/>
                    </a:cubicBezTo>
                    <a:cubicBezTo>
                      <a:pt x="254962" y="36381"/>
                      <a:pt x="252104" y="40286"/>
                      <a:pt x="252295" y="42287"/>
                    </a:cubicBezTo>
                    <a:cubicBezTo>
                      <a:pt x="252771" y="47525"/>
                      <a:pt x="248104" y="42287"/>
                      <a:pt x="247151" y="45335"/>
                    </a:cubicBezTo>
                    <a:cubicBezTo>
                      <a:pt x="251342" y="48192"/>
                      <a:pt x="251342" y="51907"/>
                      <a:pt x="250675" y="57050"/>
                    </a:cubicBezTo>
                    <a:cubicBezTo>
                      <a:pt x="249532" y="65623"/>
                      <a:pt x="251533" y="74291"/>
                      <a:pt x="255057" y="82387"/>
                    </a:cubicBezTo>
                    <a:cubicBezTo>
                      <a:pt x="256581" y="85911"/>
                      <a:pt x="256009" y="89721"/>
                      <a:pt x="256771" y="93055"/>
                    </a:cubicBezTo>
                    <a:cubicBezTo>
                      <a:pt x="259724" y="105914"/>
                      <a:pt x="263629" y="118582"/>
                      <a:pt x="267249" y="131345"/>
                    </a:cubicBezTo>
                    <a:cubicBezTo>
                      <a:pt x="267725" y="132869"/>
                      <a:pt x="268677" y="134298"/>
                      <a:pt x="269630" y="135441"/>
                    </a:cubicBezTo>
                    <a:cubicBezTo>
                      <a:pt x="274773" y="141632"/>
                      <a:pt x="280965" y="146395"/>
                      <a:pt x="281250" y="156206"/>
                    </a:cubicBezTo>
                    <a:cubicBezTo>
                      <a:pt x="281536" y="165921"/>
                      <a:pt x="291728" y="171350"/>
                      <a:pt x="297824" y="177446"/>
                    </a:cubicBezTo>
                    <a:cubicBezTo>
                      <a:pt x="303158" y="182780"/>
                      <a:pt x="308492" y="189734"/>
                      <a:pt x="316493" y="192877"/>
                    </a:cubicBezTo>
                    <a:cubicBezTo>
                      <a:pt x="323923" y="195734"/>
                      <a:pt x="328685" y="202973"/>
                      <a:pt x="336019" y="206307"/>
                    </a:cubicBezTo>
                    <a:cubicBezTo>
                      <a:pt x="339163" y="207736"/>
                      <a:pt x="343639" y="208688"/>
                      <a:pt x="343639" y="213546"/>
                    </a:cubicBezTo>
                    <a:cubicBezTo>
                      <a:pt x="343639" y="215927"/>
                      <a:pt x="344973" y="215165"/>
                      <a:pt x="345925" y="214880"/>
                    </a:cubicBezTo>
                    <a:cubicBezTo>
                      <a:pt x="352879" y="212403"/>
                      <a:pt x="360213" y="215070"/>
                      <a:pt x="366214" y="220785"/>
                    </a:cubicBezTo>
                    <a:cubicBezTo>
                      <a:pt x="366975" y="221452"/>
                      <a:pt x="371071" y="222595"/>
                      <a:pt x="373738" y="223071"/>
                    </a:cubicBezTo>
                    <a:cubicBezTo>
                      <a:pt x="378882" y="224024"/>
                      <a:pt x="381644" y="226976"/>
                      <a:pt x="384978" y="231072"/>
                    </a:cubicBezTo>
                    <a:cubicBezTo>
                      <a:pt x="387550" y="234215"/>
                      <a:pt x="394217" y="234215"/>
                      <a:pt x="399170" y="235168"/>
                    </a:cubicBezTo>
                    <a:cubicBezTo>
                      <a:pt x="403742" y="236025"/>
                      <a:pt x="408314" y="234787"/>
                      <a:pt x="412696" y="238787"/>
                    </a:cubicBezTo>
                    <a:cubicBezTo>
                      <a:pt x="413934" y="240026"/>
                      <a:pt x="421077" y="242883"/>
                      <a:pt x="425364" y="239073"/>
                    </a:cubicBezTo>
                    <a:cubicBezTo>
                      <a:pt x="429841" y="246122"/>
                      <a:pt x="437365" y="243550"/>
                      <a:pt x="443175" y="243550"/>
                    </a:cubicBezTo>
                    <a:cubicBezTo>
                      <a:pt x="451272" y="243550"/>
                      <a:pt x="458987" y="247741"/>
                      <a:pt x="466131" y="246693"/>
                    </a:cubicBezTo>
                    <a:cubicBezTo>
                      <a:pt x="472703" y="245741"/>
                      <a:pt x="478227" y="246788"/>
                      <a:pt x="484419" y="247741"/>
                    </a:cubicBezTo>
                    <a:cubicBezTo>
                      <a:pt x="496611" y="249455"/>
                      <a:pt x="499849" y="259361"/>
                      <a:pt x="503278" y="268029"/>
                    </a:cubicBezTo>
                    <a:cubicBezTo>
                      <a:pt x="505183" y="272792"/>
                      <a:pt x="507279" y="278507"/>
                      <a:pt x="505755" y="284603"/>
                    </a:cubicBezTo>
                    <a:cubicBezTo>
                      <a:pt x="504517" y="289841"/>
                      <a:pt x="509279" y="288222"/>
                      <a:pt x="512041" y="288698"/>
                    </a:cubicBezTo>
                    <a:lnTo>
                      <a:pt x="511851" y="288794"/>
                    </a:lnTo>
                    <a:lnTo>
                      <a:pt x="511851" y="290699"/>
                    </a:lnTo>
                    <a:cubicBezTo>
                      <a:pt x="507469" y="297080"/>
                      <a:pt x="509470" y="304224"/>
                      <a:pt x="509470" y="311082"/>
                    </a:cubicBezTo>
                    <a:cubicBezTo>
                      <a:pt x="509470" y="312320"/>
                      <a:pt x="510898" y="313749"/>
                      <a:pt x="510898" y="315464"/>
                    </a:cubicBezTo>
                    <a:cubicBezTo>
                      <a:pt x="510803" y="320512"/>
                      <a:pt x="509660" y="325179"/>
                      <a:pt x="505183" y="328322"/>
                    </a:cubicBezTo>
                    <a:cubicBezTo>
                      <a:pt x="510517" y="332990"/>
                      <a:pt x="508803" y="339657"/>
                      <a:pt x="505945" y="343277"/>
                    </a:cubicBezTo>
                    <a:cubicBezTo>
                      <a:pt x="497849" y="353564"/>
                      <a:pt x="488800" y="363279"/>
                      <a:pt x="474798" y="366041"/>
                    </a:cubicBezTo>
                    <a:cubicBezTo>
                      <a:pt x="463559" y="368327"/>
                      <a:pt x="452034" y="366803"/>
                      <a:pt x="440699" y="367946"/>
                    </a:cubicBezTo>
                    <a:cubicBezTo>
                      <a:pt x="433746" y="368613"/>
                      <a:pt x="430602" y="376043"/>
                      <a:pt x="423078" y="374138"/>
                    </a:cubicBezTo>
                    <a:cubicBezTo>
                      <a:pt x="420125" y="373471"/>
                      <a:pt x="415934" y="375662"/>
                      <a:pt x="412124" y="374138"/>
                    </a:cubicBezTo>
                    <a:cubicBezTo>
                      <a:pt x="409552" y="373090"/>
                      <a:pt x="407266" y="374614"/>
                      <a:pt x="404885" y="374995"/>
                    </a:cubicBezTo>
                    <a:cubicBezTo>
                      <a:pt x="390883" y="376995"/>
                      <a:pt x="379072" y="384806"/>
                      <a:pt x="365928" y="388901"/>
                    </a:cubicBezTo>
                    <a:cubicBezTo>
                      <a:pt x="354307" y="392521"/>
                      <a:pt x="342115" y="393569"/>
                      <a:pt x="330114" y="395664"/>
                    </a:cubicBezTo>
                    <a:cubicBezTo>
                      <a:pt x="328780" y="395855"/>
                      <a:pt x="327447" y="396521"/>
                      <a:pt x="326304" y="396045"/>
                    </a:cubicBezTo>
                    <a:cubicBezTo>
                      <a:pt x="316398" y="392045"/>
                      <a:pt x="308302" y="397283"/>
                      <a:pt x="300015" y="401189"/>
                    </a:cubicBezTo>
                    <a:cubicBezTo>
                      <a:pt x="296205" y="402903"/>
                      <a:pt x="293538" y="403189"/>
                      <a:pt x="289442" y="401284"/>
                    </a:cubicBezTo>
                    <a:cubicBezTo>
                      <a:pt x="279536" y="396521"/>
                      <a:pt x="266296" y="406904"/>
                      <a:pt x="265534" y="417667"/>
                    </a:cubicBezTo>
                    <a:cubicBezTo>
                      <a:pt x="264391" y="432050"/>
                      <a:pt x="263439" y="446337"/>
                      <a:pt x="262200" y="460625"/>
                    </a:cubicBezTo>
                    <a:cubicBezTo>
                      <a:pt x="261534" y="467768"/>
                      <a:pt x="264868" y="475007"/>
                      <a:pt x="262772" y="481484"/>
                    </a:cubicBezTo>
                    <a:cubicBezTo>
                      <a:pt x="256104" y="502344"/>
                      <a:pt x="260296" y="523490"/>
                      <a:pt x="260105" y="544445"/>
                    </a:cubicBezTo>
                    <a:cubicBezTo>
                      <a:pt x="260105" y="556065"/>
                      <a:pt x="253437" y="565685"/>
                      <a:pt x="253152" y="577115"/>
                    </a:cubicBezTo>
                    <a:cubicBezTo>
                      <a:pt x="252771" y="591498"/>
                      <a:pt x="249627" y="605595"/>
                      <a:pt x="249627" y="620073"/>
                    </a:cubicBezTo>
                    <a:cubicBezTo>
                      <a:pt x="249627" y="629693"/>
                      <a:pt x="247437" y="639123"/>
                      <a:pt x="246008" y="648553"/>
                    </a:cubicBezTo>
                    <a:cubicBezTo>
                      <a:pt x="244675" y="657125"/>
                      <a:pt x="245818" y="666079"/>
                      <a:pt x="244865" y="674842"/>
                    </a:cubicBezTo>
                    <a:cubicBezTo>
                      <a:pt x="243436" y="687986"/>
                      <a:pt x="247151" y="701417"/>
                      <a:pt x="245056" y="714561"/>
                    </a:cubicBezTo>
                    <a:cubicBezTo>
                      <a:pt x="242293" y="731516"/>
                      <a:pt x="244294" y="748470"/>
                      <a:pt x="242674" y="765425"/>
                    </a:cubicBezTo>
                    <a:cubicBezTo>
                      <a:pt x="242103" y="771140"/>
                      <a:pt x="238674" y="773711"/>
                      <a:pt x="234673" y="776474"/>
                    </a:cubicBezTo>
                    <a:lnTo>
                      <a:pt x="223339" y="776474"/>
                    </a:lnTo>
                    <a:lnTo>
                      <a:pt x="223148" y="776474"/>
                    </a:lnTo>
                    <a:lnTo>
                      <a:pt x="213719" y="776474"/>
                    </a:lnTo>
                    <a:lnTo>
                      <a:pt x="213528" y="776474"/>
                    </a:lnTo>
                    <a:lnTo>
                      <a:pt x="207718" y="776474"/>
                    </a:lnTo>
                    <a:cubicBezTo>
                      <a:pt x="208384" y="767615"/>
                      <a:pt x="199907" y="764091"/>
                      <a:pt x="196383" y="757614"/>
                    </a:cubicBezTo>
                    <a:cubicBezTo>
                      <a:pt x="195049" y="755328"/>
                      <a:pt x="193144" y="752185"/>
                      <a:pt x="193144" y="750375"/>
                    </a:cubicBezTo>
                    <a:cubicBezTo>
                      <a:pt x="193525" y="740755"/>
                      <a:pt x="188668" y="732468"/>
                      <a:pt x="187620" y="723419"/>
                    </a:cubicBezTo>
                    <a:cubicBezTo>
                      <a:pt x="187334" y="721229"/>
                      <a:pt x="185334" y="720657"/>
                      <a:pt x="185620" y="719038"/>
                    </a:cubicBezTo>
                    <a:cubicBezTo>
                      <a:pt x="189144" y="699893"/>
                      <a:pt x="179904" y="682271"/>
                      <a:pt x="178857" y="663602"/>
                    </a:cubicBezTo>
                    <a:cubicBezTo>
                      <a:pt x="178666" y="659983"/>
                      <a:pt x="181714" y="658649"/>
                      <a:pt x="181238" y="654744"/>
                    </a:cubicBezTo>
                    <a:cubicBezTo>
                      <a:pt x="178190" y="628074"/>
                      <a:pt x="182571" y="601309"/>
                      <a:pt x="180667" y="574639"/>
                    </a:cubicBezTo>
                    <a:cubicBezTo>
                      <a:pt x="180190" y="568638"/>
                      <a:pt x="175237" y="561875"/>
                      <a:pt x="184286" y="558065"/>
                    </a:cubicBezTo>
                    <a:cubicBezTo>
                      <a:pt x="180000" y="551684"/>
                      <a:pt x="182191" y="544064"/>
                      <a:pt x="180762" y="537110"/>
                    </a:cubicBezTo>
                    <a:cubicBezTo>
                      <a:pt x="178952" y="527871"/>
                      <a:pt x="177619" y="518918"/>
                      <a:pt x="179428" y="508821"/>
                    </a:cubicBezTo>
                    <a:cubicBezTo>
                      <a:pt x="180381" y="503392"/>
                      <a:pt x="180095" y="495010"/>
                      <a:pt x="178095" y="487580"/>
                    </a:cubicBezTo>
                    <a:cubicBezTo>
                      <a:pt x="175714" y="478627"/>
                      <a:pt x="174666" y="468245"/>
                      <a:pt x="174380" y="458624"/>
                    </a:cubicBezTo>
                    <a:cubicBezTo>
                      <a:pt x="173999" y="445575"/>
                      <a:pt x="170189" y="432907"/>
                      <a:pt x="170856" y="419858"/>
                    </a:cubicBezTo>
                    <a:cubicBezTo>
                      <a:pt x="158759" y="415667"/>
                      <a:pt x="170475" y="404999"/>
                      <a:pt x="164760" y="397950"/>
                    </a:cubicBezTo>
                    <a:cubicBezTo>
                      <a:pt x="160188" y="392426"/>
                      <a:pt x="157140" y="384996"/>
                      <a:pt x="151901" y="379853"/>
                    </a:cubicBezTo>
                    <a:cubicBezTo>
                      <a:pt x="149234" y="377186"/>
                      <a:pt x="150472" y="370232"/>
                      <a:pt x="144091" y="371661"/>
                    </a:cubicBezTo>
                    <a:cubicBezTo>
                      <a:pt x="131613" y="374614"/>
                      <a:pt x="121897" y="362612"/>
                      <a:pt x="110848" y="364327"/>
                    </a:cubicBezTo>
                    <a:cubicBezTo>
                      <a:pt x="102562" y="365660"/>
                      <a:pt x="95132" y="360136"/>
                      <a:pt x="86941" y="364041"/>
                    </a:cubicBezTo>
                    <a:cubicBezTo>
                      <a:pt x="83607" y="365565"/>
                      <a:pt x="78749" y="365375"/>
                      <a:pt x="74272" y="361565"/>
                    </a:cubicBezTo>
                    <a:cubicBezTo>
                      <a:pt x="71224" y="358993"/>
                      <a:pt x="64271" y="361088"/>
                      <a:pt x="59032" y="360803"/>
                    </a:cubicBezTo>
                    <a:cubicBezTo>
                      <a:pt x="53222" y="360517"/>
                      <a:pt x="47507" y="362993"/>
                      <a:pt x="41792" y="361184"/>
                    </a:cubicBezTo>
                    <a:cubicBezTo>
                      <a:pt x="40649" y="360803"/>
                      <a:pt x="39887" y="360136"/>
                      <a:pt x="38649" y="361374"/>
                    </a:cubicBezTo>
                    <a:cubicBezTo>
                      <a:pt x="35887" y="363946"/>
                      <a:pt x="33886" y="360898"/>
                      <a:pt x="32362" y="361946"/>
                    </a:cubicBezTo>
                    <a:cubicBezTo>
                      <a:pt x="27219" y="365375"/>
                      <a:pt x="23599" y="359850"/>
                      <a:pt x="19408" y="361374"/>
                    </a:cubicBezTo>
                    <a:cubicBezTo>
                      <a:pt x="11312" y="364422"/>
                      <a:pt x="2168" y="356135"/>
                      <a:pt x="930" y="347563"/>
                    </a:cubicBezTo>
                    <a:cubicBezTo>
                      <a:pt x="-23" y="341181"/>
                      <a:pt x="-785" y="335466"/>
                      <a:pt x="1501" y="329465"/>
                    </a:cubicBezTo>
                    <a:cubicBezTo>
                      <a:pt x="2644" y="326322"/>
                      <a:pt x="-499" y="320131"/>
                      <a:pt x="7216" y="322417"/>
                    </a:cubicBezTo>
                    <a:cubicBezTo>
                      <a:pt x="7502" y="322512"/>
                      <a:pt x="8835" y="320607"/>
                      <a:pt x="8740" y="320417"/>
                    </a:cubicBezTo>
                    <a:cubicBezTo>
                      <a:pt x="1120" y="310606"/>
                      <a:pt x="14836" y="316130"/>
                      <a:pt x="14836" y="311844"/>
                    </a:cubicBezTo>
                    <a:cubicBezTo>
                      <a:pt x="3406" y="308225"/>
                      <a:pt x="3883" y="308320"/>
                      <a:pt x="7216" y="296509"/>
                    </a:cubicBezTo>
                    <a:cubicBezTo>
                      <a:pt x="9026" y="290318"/>
                      <a:pt x="13884" y="286317"/>
                      <a:pt x="15408" y="280126"/>
                    </a:cubicBezTo>
                    <a:cubicBezTo>
                      <a:pt x="17503" y="271839"/>
                      <a:pt x="25885" y="277554"/>
                      <a:pt x="30743" y="274316"/>
                    </a:cubicBezTo>
                    <a:cubicBezTo>
                      <a:pt x="35887" y="270887"/>
                      <a:pt x="42840" y="275840"/>
                      <a:pt x="48460" y="269839"/>
                    </a:cubicBezTo>
                    <a:cubicBezTo>
                      <a:pt x="52365" y="265648"/>
                      <a:pt x="59032" y="269553"/>
                      <a:pt x="58556" y="274887"/>
                    </a:cubicBezTo>
                    <a:cubicBezTo>
                      <a:pt x="59508" y="274601"/>
                      <a:pt x="60842" y="274506"/>
                      <a:pt x="60937" y="274030"/>
                    </a:cubicBezTo>
                    <a:cubicBezTo>
                      <a:pt x="62271" y="268791"/>
                      <a:pt x="64557" y="266505"/>
                      <a:pt x="70558" y="268410"/>
                    </a:cubicBezTo>
                    <a:cubicBezTo>
                      <a:pt x="71986" y="268886"/>
                      <a:pt x="75891" y="267934"/>
                      <a:pt x="78749" y="265362"/>
                    </a:cubicBezTo>
                    <a:cubicBezTo>
                      <a:pt x="86179" y="258695"/>
                      <a:pt x="96846" y="259838"/>
                      <a:pt x="106086" y="257361"/>
                    </a:cubicBezTo>
                    <a:cubicBezTo>
                      <a:pt x="112182" y="255742"/>
                      <a:pt x="118564" y="254980"/>
                      <a:pt x="124564" y="253075"/>
                    </a:cubicBezTo>
                    <a:cubicBezTo>
                      <a:pt x="129612" y="251456"/>
                      <a:pt x="136185" y="251265"/>
                      <a:pt x="137233" y="243836"/>
                    </a:cubicBezTo>
                    <a:cubicBezTo>
                      <a:pt x="151329" y="249836"/>
                      <a:pt x="155997" y="229167"/>
                      <a:pt x="169332" y="232310"/>
                    </a:cubicBezTo>
                    <a:cubicBezTo>
                      <a:pt x="170379" y="232596"/>
                      <a:pt x="172380" y="228881"/>
                      <a:pt x="173999" y="226976"/>
                    </a:cubicBezTo>
                    <a:cubicBezTo>
                      <a:pt x="176571" y="224024"/>
                      <a:pt x="177428" y="217166"/>
                      <a:pt x="183905" y="222595"/>
                    </a:cubicBezTo>
                    <a:cubicBezTo>
                      <a:pt x="184286" y="222881"/>
                      <a:pt x="186096" y="222309"/>
                      <a:pt x="186191" y="221833"/>
                    </a:cubicBezTo>
                    <a:cubicBezTo>
                      <a:pt x="190477" y="206212"/>
                      <a:pt x="202574" y="194115"/>
                      <a:pt x="204955" y="177351"/>
                    </a:cubicBezTo>
                    <a:cubicBezTo>
                      <a:pt x="208384" y="153253"/>
                      <a:pt x="209908" y="128964"/>
                      <a:pt x="208003" y="105056"/>
                    </a:cubicBezTo>
                    <a:cubicBezTo>
                      <a:pt x="207146" y="93912"/>
                      <a:pt x="207908" y="81720"/>
                      <a:pt x="203241" y="70766"/>
                    </a:cubicBezTo>
                    <a:cubicBezTo>
                      <a:pt x="210289" y="66194"/>
                      <a:pt x="202574" y="57812"/>
                      <a:pt x="207813" y="52669"/>
                    </a:cubicBezTo>
                    <a:cubicBezTo>
                      <a:pt x="211623" y="48859"/>
                      <a:pt x="208098" y="43525"/>
                      <a:pt x="210194" y="39905"/>
                    </a:cubicBezTo>
                    <a:cubicBezTo>
                      <a:pt x="217147" y="27904"/>
                      <a:pt x="217433" y="12854"/>
                      <a:pt x="227720" y="2567"/>
                    </a:cubicBezTo>
                    <a:cubicBezTo>
                      <a:pt x="229816" y="472"/>
                      <a:pt x="231244" y="-1147"/>
                      <a:pt x="236197" y="1043"/>
                    </a:cubicBezTo>
                    <a:close/>
                  </a:path>
                </a:pathLst>
              </a:custGeom>
              <a:solidFill>
                <a:schemeClr val="accent4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80" name="Freeform: Shape 79">
                <a:extLst>
                  <a:ext uri="{FF2B5EF4-FFF2-40B4-BE49-F238E27FC236}">
                    <a16:creationId xmlns:a16="http://schemas.microsoft.com/office/drawing/2014/main" id="{DC47A1DD-DE31-726E-77D8-7520229CAB4D}"/>
                  </a:ext>
                </a:extLst>
              </p:cNvPr>
              <p:cNvSpPr/>
              <p:nvPr/>
            </p:nvSpPr>
            <p:spPr>
              <a:xfrm>
                <a:off x="10732103" y="6210946"/>
                <a:ext cx="382260" cy="413371"/>
              </a:xfrm>
              <a:custGeom>
                <a:avLst/>
                <a:gdLst>
                  <a:gd name="connsiteX0" fmla="*/ 33115 w 382260"/>
                  <a:gd name="connsiteY0" fmla="*/ 204794 h 413370"/>
                  <a:gd name="connsiteX1" fmla="*/ 45879 w 382260"/>
                  <a:gd name="connsiteY1" fmla="*/ 200889 h 413370"/>
                  <a:gd name="connsiteX2" fmla="*/ 56642 w 382260"/>
                  <a:gd name="connsiteY2" fmla="*/ 194602 h 413370"/>
                  <a:gd name="connsiteX3" fmla="*/ 78264 w 382260"/>
                  <a:gd name="connsiteY3" fmla="*/ 180029 h 413370"/>
                  <a:gd name="connsiteX4" fmla="*/ 97409 w 382260"/>
                  <a:gd name="connsiteY4" fmla="*/ 165456 h 413370"/>
                  <a:gd name="connsiteX5" fmla="*/ 124555 w 382260"/>
                  <a:gd name="connsiteY5" fmla="*/ 139929 h 413370"/>
                  <a:gd name="connsiteX6" fmla="*/ 148463 w 382260"/>
                  <a:gd name="connsiteY6" fmla="*/ 111925 h 413370"/>
                  <a:gd name="connsiteX7" fmla="*/ 160179 w 382260"/>
                  <a:gd name="connsiteY7" fmla="*/ 91923 h 413370"/>
                  <a:gd name="connsiteX8" fmla="*/ 162560 w 382260"/>
                  <a:gd name="connsiteY8" fmla="*/ 87541 h 413370"/>
                  <a:gd name="connsiteX9" fmla="*/ 166751 w 382260"/>
                  <a:gd name="connsiteY9" fmla="*/ 77064 h 413370"/>
                  <a:gd name="connsiteX10" fmla="*/ 167513 w 382260"/>
                  <a:gd name="connsiteY10" fmla="*/ 74397 h 413370"/>
                  <a:gd name="connsiteX11" fmla="*/ 173228 w 382260"/>
                  <a:gd name="connsiteY11" fmla="*/ 54299 h 413370"/>
                  <a:gd name="connsiteX12" fmla="*/ 175609 w 382260"/>
                  <a:gd name="connsiteY12" fmla="*/ 28772 h 413370"/>
                  <a:gd name="connsiteX13" fmla="*/ 175609 w 382260"/>
                  <a:gd name="connsiteY13" fmla="*/ 7055 h 413370"/>
                  <a:gd name="connsiteX14" fmla="*/ 176371 w 382260"/>
                  <a:gd name="connsiteY14" fmla="*/ 4864 h 413370"/>
                  <a:gd name="connsiteX15" fmla="*/ 177419 w 382260"/>
                  <a:gd name="connsiteY15" fmla="*/ 2293 h 413370"/>
                  <a:gd name="connsiteX16" fmla="*/ 180086 w 382260"/>
                  <a:gd name="connsiteY16" fmla="*/ 7 h 413370"/>
                  <a:gd name="connsiteX17" fmla="*/ 187325 w 382260"/>
                  <a:gd name="connsiteY17" fmla="*/ 7817 h 413370"/>
                  <a:gd name="connsiteX18" fmla="*/ 188373 w 382260"/>
                  <a:gd name="connsiteY18" fmla="*/ 27629 h 413370"/>
                  <a:gd name="connsiteX19" fmla="*/ 195802 w 382260"/>
                  <a:gd name="connsiteY19" fmla="*/ 56490 h 413370"/>
                  <a:gd name="connsiteX20" fmla="*/ 204089 w 382260"/>
                  <a:gd name="connsiteY20" fmla="*/ 75635 h 413370"/>
                  <a:gd name="connsiteX21" fmla="*/ 208852 w 382260"/>
                  <a:gd name="connsiteY21" fmla="*/ 90494 h 413370"/>
                  <a:gd name="connsiteX22" fmla="*/ 225997 w 382260"/>
                  <a:gd name="connsiteY22" fmla="*/ 117926 h 413370"/>
                  <a:gd name="connsiteX23" fmla="*/ 249428 w 382260"/>
                  <a:gd name="connsiteY23" fmla="*/ 144406 h 413370"/>
                  <a:gd name="connsiteX24" fmla="*/ 263620 w 382260"/>
                  <a:gd name="connsiteY24" fmla="*/ 156312 h 413370"/>
                  <a:gd name="connsiteX25" fmla="*/ 274765 w 382260"/>
                  <a:gd name="connsiteY25" fmla="*/ 164599 h 413370"/>
                  <a:gd name="connsiteX26" fmla="*/ 298196 w 382260"/>
                  <a:gd name="connsiteY26" fmla="*/ 178029 h 413370"/>
                  <a:gd name="connsiteX27" fmla="*/ 319342 w 382260"/>
                  <a:gd name="connsiteY27" fmla="*/ 188506 h 413370"/>
                  <a:gd name="connsiteX28" fmla="*/ 345726 w 382260"/>
                  <a:gd name="connsiteY28" fmla="*/ 199079 h 413370"/>
                  <a:gd name="connsiteX29" fmla="*/ 377635 w 382260"/>
                  <a:gd name="connsiteY29" fmla="*/ 210509 h 413370"/>
                  <a:gd name="connsiteX30" fmla="*/ 381730 w 382260"/>
                  <a:gd name="connsiteY30" fmla="*/ 215843 h 413370"/>
                  <a:gd name="connsiteX31" fmla="*/ 379635 w 382260"/>
                  <a:gd name="connsiteY31" fmla="*/ 220987 h 413370"/>
                  <a:gd name="connsiteX32" fmla="*/ 375730 w 382260"/>
                  <a:gd name="connsiteY32" fmla="*/ 226321 h 413370"/>
                  <a:gd name="connsiteX33" fmla="*/ 370110 w 382260"/>
                  <a:gd name="connsiteY33" fmla="*/ 229273 h 413370"/>
                  <a:gd name="connsiteX34" fmla="*/ 355060 w 382260"/>
                  <a:gd name="connsiteY34" fmla="*/ 232607 h 413370"/>
                  <a:gd name="connsiteX35" fmla="*/ 346964 w 382260"/>
                  <a:gd name="connsiteY35" fmla="*/ 236608 h 413370"/>
                  <a:gd name="connsiteX36" fmla="*/ 322961 w 382260"/>
                  <a:gd name="connsiteY36" fmla="*/ 246990 h 413370"/>
                  <a:gd name="connsiteX37" fmla="*/ 288671 w 382260"/>
                  <a:gd name="connsiteY37" fmla="*/ 265849 h 413370"/>
                  <a:gd name="connsiteX38" fmla="*/ 267907 w 382260"/>
                  <a:gd name="connsiteY38" fmla="*/ 279946 h 413370"/>
                  <a:gd name="connsiteX39" fmla="*/ 237998 w 382260"/>
                  <a:gd name="connsiteY39" fmla="*/ 307855 h 413370"/>
                  <a:gd name="connsiteX40" fmla="*/ 225330 w 382260"/>
                  <a:gd name="connsiteY40" fmla="*/ 322714 h 413370"/>
                  <a:gd name="connsiteX41" fmla="*/ 200660 w 382260"/>
                  <a:gd name="connsiteY41" fmla="*/ 364814 h 413370"/>
                  <a:gd name="connsiteX42" fmla="*/ 187135 w 382260"/>
                  <a:gd name="connsiteY42" fmla="*/ 398628 h 413370"/>
                  <a:gd name="connsiteX43" fmla="*/ 186277 w 382260"/>
                  <a:gd name="connsiteY43" fmla="*/ 402724 h 413370"/>
                  <a:gd name="connsiteX44" fmla="*/ 181896 w 382260"/>
                  <a:gd name="connsiteY44" fmla="*/ 412725 h 413370"/>
                  <a:gd name="connsiteX45" fmla="*/ 179896 w 382260"/>
                  <a:gd name="connsiteY45" fmla="*/ 413011 h 413370"/>
                  <a:gd name="connsiteX46" fmla="*/ 176086 w 382260"/>
                  <a:gd name="connsiteY46" fmla="*/ 412439 h 413370"/>
                  <a:gd name="connsiteX47" fmla="*/ 175038 w 382260"/>
                  <a:gd name="connsiteY47" fmla="*/ 411391 h 413370"/>
                  <a:gd name="connsiteX48" fmla="*/ 175038 w 382260"/>
                  <a:gd name="connsiteY48" fmla="*/ 403771 h 413370"/>
                  <a:gd name="connsiteX49" fmla="*/ 173800 w 382260"/>
                  <a:gd name="connsiteY49" fmla="*/ 383769 h 413370"/>
                  <a:gd name="connsiteX50" fmla="*/ 170275 w 382260"/>
                  <a:gd name="connsiteY50" fmla="*/ 371386 h 413370"/>
                  <a:gd name="connsiteX51" fmla="*/ 165703 w 382260"/>
                  <a:gd name="connsiteY51" fmla="*/ 352527 h 413370"/>
                  <a:gd name="connsiteX52" fmla="*/ 152749 w 382260"/>
                  <a:gd name="connsiteY52" fmla="*/ 321285 h 413370"/>
                  <a:gd name="connsiteX53" fmla="*/ 122269 w 382260"/>
                  <a:gd name="connsiteY53" fmla="*/ 274041 h 413370"/>
                  <a:gd name="connsiteX54" fmla="*/ 97219 w 382260"/>
                  <a:gd name="connsiteY54" fmla="*/ 253276 h 413370"/>
                  <a:gd name="connsiteX55" fmla="*/ 85027 w 382260"/>
                  <a:gd name="connsiteY55" fmla="*/ 247276 h 413370"/>
                  <a:gd name="connsiteX56" fmla="*/ 76359 w 382260"/>
                  <a:gd name="connsiteY56" fmla="*/ 242418 h 413370"/>
                  <a:gd name="connsiteX57" fmla="*/ 74930 w 382260"/>
                  <a:gd name="connsiteY57" fmla="*/ 242418 h 413370"/>
                  <a:gd name="connsiteX58" fmla="*/ 71977 w 382260"/>
                  <a:gd name="connsiteY58" fmla="*/ 242799 h 413370"/>
                  <a:gd name="connsiteX59" fmla="*/ 63119 w 382260"/>
                  <a:gd name="connsiteY59" fmla="*/ 240322 h 413370"/>
                  <a:gd name="connsiteX60" fmla="*/ 61119 w 382260"/>
                  <a:gd name="connsiteY60" fmla="*/ 237465 h 413370"/>
                  <a:gd name="connsiteX61" fmla="*/ 58071 w 382260"/>
                  <a:gd name="connsiteY61" fmla="*/ 234512 h 413370"/>
                  <a:gd name="connsiteX62" fmla="*/ 42164 w 382260"/>
                  <a:gd name="connsiteY62" fmla="*/ 232417 h 413370"/>
                  <a:gd name="connsiteX63" fmla="*/ 38640 w 382260"/>
                  <a:gd name="connsiteY63" fmla="*/ 230607 h 413370"/>
                  <a:gd name="connsiteX64" fmla="*/ 34544 w 382260"/>
                  <a:gd name="connsiteY64" fmla="*/ 229940 h 413370"/>
                  <a:gd name="connsiteX65" fmla="*/ 30448 w 382260"/>
                  <a:gd name="connsiteY65" fmla="*/ 230321 h 413370"/>
                  <a:gd name="connsiteX66" fmla="*/ 27305 w 382260"/>
                  <a:gd name="connsiteY66" fmla="*/ 231274 h 413370"/>
                  <a:gd name="connsiteX67" fmla="*/ 25114 w 382260"/>
                  <a:gd name="connsiteY67" fmla="*/ 232321 h 413370"/>
                  <a:gd name="connsiteX68" fmla="*/ 17685 w 382260"/>
                  <a:gd name="connsiteY68" fmla="*/ 231845 h 413370"/>
                  <a:gd name="connsiteX69" fmla="*/ 13494 w 382260"/>
                  <a:gd name="connsiteY69" fmla="*/ 229750 h 413370"/>
                  <a:gd name="connsiteX70" fmla="*/ 9874 w 382260"/>
                  <a:gd name="connsiteY70" fmla="*/ 230607 h 413370"/>
                  <a:gd name="connsiteX71" fmla="*/ 6541 w 382260"/>
                  <a:gd name="connsiteY71" fmla="*/ 228130 h 413370"/>
                  <a:gd name="connsiteX72" fmla="*/ 2826 w 382260"/>
                  <a:gd name="connsiteY72" fmla="*/ 226416 h 413370"/>
                  <a:gd name="connsiteX73" fmla="*/ 64 w 382260"/>
                  <a:gd name="connsiteY73" fmla="*/ 224320 h 413370"/>
                  <a:gd name="connsiteX74" fmla="*/ 1778 w 382260"/>
                  <a:gd name="connsiteY74" fmla="*/ 222034 h 413370"/>
                  <a:gd name="connsiteX75" fmla="*/ 7017 w 382260"/>
                  <a:gd name="connsiteY75" fmla="*/ 211938 h 413370"/>
                  <a:gd name="connsiteX76" fmla="*/ 10732 w 382260"/>
                  <a:gd name="connsiteY76" fmla="*/ 209366 h 413370"/>
                  <a:gd name="connsiteX77" fmla="*/ 28448 w 382260"/>
                  <a:gd name="connsiteY77" fmla="*/ 206699 h 413370"/>
                  <a:gd name="connsiteX78" fmla="*/ 32544 w 382260"/>
                  <a:gd name="connsiteY78" fmla="*/ 205175 h 4133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</a:cxnLst>
                <a:rect l="l" t="t" r="r" b="b"/>
                <a:pathLst>
                  <a:path w="382260" h="413370">
                    <a:moveTo>
                      <a:pt x="33115" y="204794"/>
                    </a:moveTo>
                    <a:cubicBezTo>
                      <a:pt x="36830" y="201937"/>
                      <a:pt x="41593" y="202032"/>
                      <a:pt x="45879" y="200889"/>
                    </a:cubicBezTo>
                    <a:cubicBezTo>
                      <a:pt x="50260" y="199651"/>
                      <a:pt x="52927" y="196507"/>
                      <a:pt x="56642" y="194602"/>
                    </a:cubicBezTo>
                    <a:cubicBezTo>
                      <a:pt x="64357" y="190697"/>
                      <a:pt x="71215" y="185173"/>
                      <a:pt x="78264" y="180029"/>
                    </a:cubicBezTo>
                    <a:cubicBezTo>
                      <a:pt x="84741" y="175362"/>
                      <a:pt x="91980" y="171171"/>
                      <a:pt x="97409" y="165456"/>
                    </a:cubicBezTo>
                    <a:cubicBezTo>
                      <a:pt x="105982" y="156407"/>
                      <a:pt x="115888" y="148882"/>
                      <a:pt x="124555" y="139929"/>
                    </a:cubicBezTo>
                    <a:cubicBezTo>
                      <a:pt x="133128" y="131071"/>
                      <a:pt x="141129" y="121736"/>
                      <a:pt x="148463" y="111925"/>
                    </a:cubicBezTo>
                    <a:cubicBezTo>
                      <a:pt x="153035" y="105829"/>
                      <a:pt x="157798" y="99448"/>
                      <a:pt x="160179" y="91923"/>
                    </a:cubicBezTo>
                    <a:cubicBezTo>
                      <a:pt x="160655" y="90399"/>
                      <a:pt x="161322" y="88494"/>
                      <a:pt x="162560" y="87541"/>
                    </a:cubicBezTo>
                    <a:cubicBezTo>
                      <a:pt x="166180" y="84779"/>
                      <a:pt x="166275" y="80874"/>
                      <a:pt x="166751" y="77064"/>
                    </a:cubicBezTo>
                    <a:cubicBezTo>
                      <a:pt x="166846" y="76111"/>
                      <a:pt x="166846" y="75254"/>
                      <a:pt x="167513" y="74397"/>
                    </a:cubicBezTo>
                    <a:cubicBezTo>
                      <a:pt x="172371" y="68491"/>
                      <a:pt x="171704" y="61157"/>
                      <a:pt x="173228" y="54299"/>
                    </a:cubicBezTo>
                    <a:cubicBezTo>
                      <a:pt x="175228" y="45727"/>
                      <a:pt x="174752" y="37249"/>
                      <a:pt x="175609" y="28772"/>
                    </a:cubicBezTo>
                    <a:cubicBezTo>
                      <a:pt x="176276" y="21628"/>
                      <a:pt x="177991" y="14294"/>
                      <a:pt x="175609" y="7055"/>
                    </a:cubicBezTo>
                    <a:cubicBezTo>
                      <a:pt x="175228" y="5912"/>
                      <a:pt x="175324" y="4960"/>
                      <a:pt x="176371" y="4864"/>
                    </a:cubicBezTo>
                    <a:cubicBezTo>
                      <a:pt x="178943" y="4674"/>
                      <a:pt x="178276" y="4102"/>
                      <a:pt x="177419" y="2293"/>
                    </a:cubicBezTo>
                    <a:cubicBezTo>
                      <a:pt x="176752" y="769"/>
                      <a:pt x="178467" y="102"/>
                      <a:pt x="180086" y="7"/>
                    </a:cubicBezTo>
                    <a:cubicBezTo>
                      <a:pt x="184372" y="-184"/>
                      <a:pt x="188468" y="3721"/>
                      <a:pt x="187325" y="7817"/>
                    </a:cubicBezTo>
                    <a:cubicBezTo>
                      <a:pt x="185325" y="14675"/>
                      <a:pt x="187611" y="21152"/>
                      <a:pt x="188373" y="27629"/>
                    </a:cubicBezTo>
                    <a:cubicBezTo>
                      <a:pt x="189516" y="37535"/>
                      <a:pt x="192850" y="47060"/>
                      <a:pt x="195802" y="56490"/>
                    </a:cubicBezTo>
                    <a:cubicBezTo>
                      <a:pt x="197898" y="63062"/>
                      <a:pt x="200279" y="69539"/>
                      <a:pt x="204089" y="75635"/>
                    </a:cubicBezTo>
                    <a:cubicBezTo>
                      <a:pt x="206566" y="79636"/>
                      <a:pt x="206470" y="85732"/>
                      <a:pt x="208852" y="90494"/>
                    </a:cubicBezTo>
                    <a:cubicBezTo>
                      <a:pt x="213900" y="100114"/>
                      <a:pt x="219710" y="109163"/>
                      <a:pt x="225997" y="117926"/>
                    </a:cubicBezTo>
                    <a:cubicBezTo>
                      <a:pt x="232855" y="127546"/>
                      <a:pt x="241618" y="135547"/>
                      <a:pt x="249428" y="144406"/>
                    </a:cubicBezTo>
                    <a:cubicBezTo>
                      <a:pt x="253524" y="148978"/>
                      <a:pt x="258382" y="153169"/>
                      <a:pt x="263620" y="156312"/>
                    </a:cubicBezTo>
                    <a:cubicBezTo>
                      <a:pt x="267621" y="158788"/>
                      <a:pt x="271336" y="161646"/>
                      <a:pt x="274765" y="164599"/>
                    </a:cubicBezTo>
                    <a:cubicBezTo>
                      <a:pt x="281718" y="170695"/>
                      <a:pt x="290386" y="173647"/>
                      <a:pt x="298196" y="178029"/>
                    </a:cubicBezTo>
                    <a:cubicBezTo>
                      <a:pt x="305054" y="181839"/>
                      <a:pt x="311817" y="185935"/>
                      <a:pt x="319342" y="188506"/>
                    </a:cubicBezTo>
                    <a:cubicBezTo>
                      <a:pt x="328390" y="191459"/>
                      <a:pt x="336963" y="195650"/>
                      <a:pt x="345726" y="199079"/>
                    </a:cubicBezTo>
                    <a:cubicBezTo>
                      <a:pt x="356203" y="203175"/>
                      <a:pt x="367252" y="205842"/>
                      <a:pt x="377635" y="210509"/>
                    </a:cubicBezTo>
                    <a:cubicBezTo>
                      <a:pt x="380206" y="211652"/>
                      <a:pt x="380302" y="214129"/>
                      <a:pt x="381730" y="215843"/>
                    </a:cubicBezTo>
                    <a:cubicBezTo>
                      <a:pt x="383254" y="217558"/>
                      <a:pt x="381159" y="219177"/>
                      <a:pt x="379635" y="220987"/>
                    </a:cubicBezTo>
                    <a:cubicBezTo>
                      <a:pt x="378397" y="222511"/>
                      <a:pt x="376968" y="224511"/>
                      <a:pt x="375730" y="226321"/>
                    </a:cubicBezTo>
                    <a:cubicBezTo>
                      <a:pt x="374396" y="228321"/>
                      <a:pt x="372205" y="229083"/>
                      <a:pt x="370110" y="229273"/>
                    </a:cubicBezTo>
                    <a:cubicBezTo>
                      <a:pt x="364966" y="229845"/>
                      <a:pt x="360204" y="231845"/>
                      <a:pt x="355060" y="232607"/>
                    </a:cubicBezTo>
                    <a:cubicBezTo>
                      <a:pt x="352298" y="232988"/>
                      <a:pt x="349726" y="235274"/>
                      <a:pt x="346964" y="236608"/>
                    </a:cubicBezTo>
                    <a:cubicBezTo>
                      <a:pt x="339154" y="240418"/>
                      <a:pt x="330676" y="242894"/>
                      <a:pt x="322961" y="246990"/>
                    </a:cubicBezTo>
                    <a:cubicBezTo>
                      <a:pt x="311436" y="253086"/>
                      <a:pt x="299625" y="258610"/>
                      <a:pt x="288671" y="265849"/>
                    </a:cubicBezTo>
                    <a:cubicBezTo>
                      <a:pt x="281718" y="270517"/>
                      <a:pt x="274479" y="274803"/>
                      <a:pt x="267907" y="279946"/>
                    </a:cubicBezTo>
                    <a:cubicBezTo>
                      <a:pt x="257143" y="288328"/>
                      <a:pt x="245904" y="296234"/>
                      <a:pt x="237998" y="307855"/>
                    </a:cubicBezTo>
                    <a:cubicBezTo>
                      <a:pt x="234379" y="313189"/>
                      <a:pt x="229045" y="317284"/>
                      <a:pt x="225330" y="322714"/>
                    </a:cubicBezTo>
                    <a:cubicBezTo>
                      <a:pt x="215995" y="336144"/>
                      <a:pt x="207423" y="349765"/>
                      <a:pt x="200660" y="364814"/>
                    </a:cubicBezTo>
                    <a:cubicBezTo>
                      <a:pt x="195707" y="375958"/>
                      <a:pt x="191897" y="387484"/>
                      <a:pt x="187135" y="398628"/>
                    </a:cubicBezTo>
                    <a:cubicBezTo>
                      <a:pt x="186563" y="399866"/>
                      <a:pt x="186182" y="401390"/>
                      <a:pt x="186277" y="402724"/>
                    </a:cubicBezTo>
                    <a:cubicBezTo>
                      <a:pt x="186658" y="406915"/>
                      <a:pt x="183515" y="409486"/>
                      <a:pt x="181896" y="412725"/>
                    </a:cubicBezTo>
                    <a:cubicBezTo>
                      <a:pt x="181515" y="413582"/>
                      <a:pt x="180562" y="413487"/>
                      <a:pt x="179896" y="413011"/>
                    </a:cubicBezTo>
                    <a:cubicBezTo>
                      <a:pt x="178753" y="412058"/>
                      <a:pt x="177895" y="410629"/>
                      <a:pt x="176086" y="412439"/>
                    </a:cubicBezTo>
                    <a:cubicBezTo>
                      <a:pt x="175038" y="413582"/>
                      <a:pt x="175133" y="411868"/>
                      <a:pt x="175038" y="411391"/>
                    </a:cubicBezTo>
                    <a:cubicBezTo>
                      <a:pt x="174371" y="408820"/>
                      <a:pt x="174847" y="406438"/>
                      <a:pt x="175038" y="403771"/>
                    </a:cubicBezTo>
                    <a:cubicBezTo>
                      <a:pt x="175705" y="397199"/>
                      <a:pt x="180181" y="390436"/>
                      <a:pt x="173800" y="383769"/>
                    </a:cubicBezTo>
                    <a:cubicBezTo>
                      <a:pt x="171133" y="381007"/>
                      <a:pt x="171514" y="375577"/>
                      <a:pt x="170275" y="371386"/>
                    </a:cubicBezTo>
                    <a:cubicBezTo>
                      <a:pt x="168370" y="365195"/>
                      <a:pt x="168085" y="358718"/>
                      <a:pt x="165703" y="352527"/>
                    </a:cubicBezTo>
                    <a:cubicBezTo>
                      <a:pt x="161608" y="341954"/>
                      <a:pt x="156940" y="331762"/>
                      <a:pt x="152749" y="321285"/>
                    </a:cubicBezTo>
                    <a:cubicBezTo>
                      <a:pt x="145606" y="303473"/>
                      <a:pt x="134842" y="288138"/>
                      <a:pt x="122269" y="274041"/>
                    </a:cubicBezTo>
                    <a:cubicBezTo>
                      <a:pt x="115126" y="265945"/>
                      <a:pt x="107029" y="258610"/>
                      <a:pt x="97219" y="253276"/>
                    </a:cubicBezTo>
                    <a:cubicBezTo>
                      <a:pt x="93218" y="251086"/>
                      <a:pt x="89313" y="248609"/>
                      <a:pt x="85027" y="247276"/>
                    </a:cubicBezTo>
                    <a:cubicBezTo>
                      <a:pt x="81693" y="246228"/>
                      <a:pt x="78454" y="245466"/>
                      <a:pt x="76359" y="242418"/>
                    </a:cubicBezTo>
                    <a:cubicBezTo>
                      <a:pt x="75978" y="241846"/>
                      <a:pt x="75406" y="240703"/>
                      <a:pt x="74930" y="242418"/>
                    </a:cubicBezTo>
                    <a:cubicBezTo>
                      <a:pt x="74168" y="244799"/>
                      <a:pt x="72835" y="243085"/>
                      <a:pt x="71977" y="242799"/>
                    </a:cubicBezTo>
                    <a:cubicBezTo>
                      <a:pt x="69120" y="241561"/>
                      <a:pt x="66358" y="240418"/>
                      <a:pt x="63119" y="240322"/>
                    </a:cubicBezTo>
                    <a:cubicBezTo>
                      <a:pt x="61595" y="240322"/>
                      <a:pt x="61786" y="238513"/>
                      <a:pt x="61119" y="237465"/>
                    </a:cubicBezTo>
                    <a:cubicBezTo>
                      <a:pt x="60357" y="236227"/>
                      <a:pt x="59881" y="234131"/>
                      <a:pt x="58071" y="234512"/>
                    </a:cubicBezTo>
                    <a:cubicBezTo>
                      <a:pt x="52451" y="235655"/>
                      <a:pt x="47498" y="233083"/>
                      <a:pt x="42164" y="232417"/>
                    </a:cubicBezTo>
                    <a:cubicBezTo>
                      <a:pt x="40640" y="232226"/>
                      <a:pt x="39402" y="232798"/>
                      <a:pt x="38640" y="230607"/>
                    </a:cubicBezTo>
                    <a:cubicBezTo>
                      <a:pt x="38259" y="229559"/>
                      <a:pt x="35687" y="228797"/>
                      <a:pt x="34544" y="229940"/>
                    </a:cubicBezTo>
                    <a:cubicBezTo>
                      <a:pt x="33020" y="231369"/>
                      <a:pt x="31687" y="231178"/>
                      <a:pt x="30448" y="230321"/>
                    </a:cubicBezTo>
                    <a:cubicBezTo>
                      <a:pt x="28734" y="229178"/>
                      <a:pt x="27877" y="228988"/>
                      <a:pt x="27305" y="231274"/>
                    </a:cubicBezTo>
                    <a:cubicBezTo>
                      <a:pt x="27115" y="232131"/>
                      <a:pt x="25591" y="233083"/>
                      <a:pt x="25114" y="232321"/>
                    </a:cubicBezTo>
                    <a:cubicBezTo>
                      <a:pt x="22733" y="229178"/>
                      <a:pt x="20352" y="230607"/>
                      <a:pt x="17685" y="231845"/>
                    </a:cubicBezTo>
                    <a:cubicBezTo>
                      <a:pt x="15589" y="232798"/>
                      <a:pt x="14065" y="232131"/>
                      <a:pt x="13494" y="229750"/>
                    </a:cubicBezTo>
                    <a:cubicBezTo>
                      <a:pt x="12065" y="228988"/>
                      <a:pt x="11208" y="230607"/>
                      <a:pt x="9874" y="230607"/>
                    </a:cubicBezTo>
                    <a:cubicBezTo>
                      <a:pt x="8922" y="229654"/>
                      <a:pt x="5398" y="232607"/>
                      <a:pt x="6541" y="228130"/>
                    </a:cubicBezTo>
                    <a:cubicBezTo>
                      <a:pt x="7017" y="226225"/>
                      <a:pt x="4064" y="227273"/>
                      <a:pt x="2826" y="226416"/>
                    </a:cubicBezTo>
                    <a:cubicBezTo>
                      <a:pt x="1873" y="225749"/>
                      <a:pt x="445" y="225940"/>
                      <a:pt x="64" y="224320"/>
                    </a:cubicBezTo>
                    <a:cubicBezTo>
                      <a:pt x="-317" y="222701"/>
                      <a:pt x="1111" y="222415"/>
                      <a:pt x="1778" y="222034"/>
                    </a:cubicBezTo>
                    <a:cubicBezTo>
                      <a:pt x="5874" y="219939"/>
                      <a:pt x="6160" y="215367"/>
                      <a:pt x="7017" y="211938"/>
                    </a:cubicBezTo>
                    <a:cubicBezTo>
                      <a:pt x="7874" y="208890"/>
                      <a:pt x="9779" y="209080"/>
                      <a:pt x="10732" y="209366"/>
                    </a:cubicBezTo>
                    <a:cubicBezTo>
                      <a:pt x="17018" y="210795"/>
                      <a:pt x="22733" y="209080"/>
                      <a:pt x="28448" y="206699"/>
                    </a:cubicBezTo>
                    <a:cubicBezTo>
                      <a:pt x="29782" y="206032"/>
                      <a:pt x="32068" y="208033"/>
                      <a:pt x="32544" y="205175"/>
                    </a:cubicBezTo>
                  </a:path>
                </a:pathLst>
              </a:custGeom>
              <a:solidFill>
                <a:srgbClr val="4FE2F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E06B10EC-42BB-E956-5950-E424545F2F3C}"/>
              </a:ext>
            </a:extLst>
          </p:cNvPr>
          <p:cNvSpPr>
            <a:spLocks/>
          </p:cNvSpPr>
          <p:nvPr/>
        </p:nvSpPr>
        <p:spPr>
          <a:xfrm>
            <a:off x="596899" y="2855349"/>
            <a:ext cx="5361941" cy="2739205"/>
          </a:xfrm>
          <a:prstGeom prst="roundRect">
            <a:avLst>
              <a:gd name="adj" fmla="val 4422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AA48BF2C-1BB1-46C6-6806-E37EEA17BD6F}"/>
              </a:ext>
            </a:extLst>
          </p:cNvPr>
          <p:cNvSpPr>
            <a:spLocks/>
          </p:cNvSpPr>
          <p:nvPr/>
        </p:nvSpPr>
        <p:spPr>
          <a:xfrm>
            <a:off x="6233160" y="2855349"/>
            <a:ext cx="5361940" cy="2739205"/>
          </a:xfrm>
          <a:prstGeom prst="roundRect">
            <a:avLst>
              <a:gd name="adj" fmla="val 4422"/>
            </a:avLst>
          </a:prstGeom>
          <a:solidFill>
            <a:schemeClr val="bg1">
              <a:alpha val="12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318302A7-D1BC-6810-9CED-9E2E6D291EAB}"/>
              </a:ext>
            </a:extLst>
          </p:cNvPr>
          <p:cNvGrpSpPr>
            <a:grpSpLocks/>
          </p:cNvGrpSpPr>
          <p:nvPr/>
        </p:nvGrpSpPr>
        <p:grpSpPr>
          <a:xfrm>
            <a:off x="7937858" y="1881014"/>
            <a:ext cx="1952544" cy="1952542"/>
            <a:chOff x="7883317" y="2059427"/>
            <a:chExt cx="1519518" cy="1519516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990CD553-32A1-8BE4-D0C6-12637395D69D}"/>
                </a:ext>
              </a:extLst>
            </p:cNvPr>
            <p:cNvSpPr/>
            <p:nvPr/>
          </p:nvSpPr>
          <p:spPr>
            <a:xfrm>
              <a:off x="7883317" y="2059427"/>
              <a:ext cx="1519518" cy="15195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 b="1">
                <a:solidFill>
                  <a:schemeClr val="accent5"/>
                </a:solidFill>
              </a:endParaRPr>
            </a:p>
          </p:txBody>
        </p:sp>
        <p:pic>
          <p:nvPicPr>
            <p:cNvPr id="85" name="Picture 84" descr="A person leaning against a wall&#10;&#10;Description automatically generated">
              <a:extLst>
                <a:ext uri="{FF2B5EF4-FFF2-40B4-BE49-F238E27FC236}">
                  <a16:creationId xmlns:a16="http://schemas.microsoft.com/office/drawing/2014/main" id="{FFBB1D71-2965-1E84-4E62-0B0D3F701007}"/>
                </a:ext>
              </a:extLst>
            </p:cNvPr>
            <p:cNvPicPr>
              <a:picLocks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7374" t="4006" r="22142" b="50179"/>
            <a:stretch/>
          </p:blipFill>
          <p:spPr>
            <a:xfrm>
              <a:off x="7975564" y="2151673"/>
              <a:ext cx="1335024" cy="1335024"/>
            </a:xfrm>
            <a:prstGeom prst="ellipse">
              <a:avLst/>
            </a:prstGeom>
          </p:spPr>
        </p:pic>
      </p:grpSp>
      <p:grpSp>
        <p:nvGrpSpPr>
          <p:cNvPr id="88" name="Group 87">
            <a:extLst>
              <a:ext uri="{FF2B5EF4-FFF2-40B4-BE49-F238E27FC236}">
                <a16:creationId xmlns:a16="http://schemas.microsoft.com/office/drawing/2014/main" id="{D4157041-1E2A-BB40-F1AF-1D8D62DB6BA9}"/>
              </a:ext>
            </a:extLst>
          </p:cNvPr>
          <p:cNvGrpSpPr>
            <a:grpSpLocks/>
          </p:cNvGrpSpPr>
          <p:nvPr/>
        </p:nvGrpSpPr>
        <p:grpSpPr>
          <a:xfrm>
            <a:off x="2301597" y="1881014"/>
            <a:ext cx="1952544" cy="1952542"/>
            <a:chOff x="2497296" y="2059427"/>
            <a:chExt cx="1519518" cy="1519516"/>
          </a:xfrm>
        </p:grpSpPr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CE4B7283-D764-0A50-B5C8-BA330A9806C2}"/>
                </a:ext>
              </a:extLst>
            </p:cNvPr>
            <p:cNvSpPr/>
            <p:nvPr/>
          </p:nvSpPr>
          <p:spPr>
            <a:xfrm>
              <a:off x="2497296" y="2059427"/>
              <a:ext cx="1519518" cy="151951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600" b="1">
                <a:solidFill>
                  <a:schemeClr val="accent5"/>
                </a:solidFill>
              </a:endParaRPr>
            </a:p>
          </p:txBody>
        </p:sp>
        <p:pic>
          <p:nvPicPr>
            <p:cNvPr id="86" name="Picture 85" descr="A person smiling at camera&#10;&#10;Description automatically generated">
              <a:extLst>
                <a:ext uri="{FF2B5EF4-FFF2-40B4-BE49-F238E27FC236}">
                  <a16:creationId xmlns:a16="http://schemas.microsoft.com/office/drawing/2014/main" id="{9933D5AF-41BA-201E-B536-CB14B219752E}"/>
                </a:ext>
              </a:extLst>
            </p:cNvPr>
            <p:cNvPicPr>
              <a:picLocks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2537" t="1133" r="5555" b="4936"/>
            <a:stretch/>
          </p:blipFill>
          <p:spPr>
            <a:xfrm>
              <a:off x="2589543" y="2151673"/>
              <a:ext cx="1335024" cy="1335024"/>
            </a:xfrm>
            <a:prstGeom prst="ellipse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361E9FDC-DA4F-4D81-9DAB-D91ED145598F}"/>
              </a:ext>
            </a:extLst>
          </p:cNvPr>
          <p:cNvSpPr txBox="1"/>
          <p:nvPr/>
        </p:nvSpPr>
        <p:spPr>
          <a:xfrm>
            <a:off x="783588" y="3999295"/>
            <a:ext cx="4988562" cy="1100301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normalizeH="0" baseline="0" noProof="0">
                <a:ln>
                  <a:noFill/>
                </a:ln>
                <a:solidFill>
                  <a:schemeClr val="accent4"/>
                </a:solidFill>
                <a:effectLst/>
                <a:uLnTx/>
                <a:uFillTx/>
                <a:ea typeface="+mj-ea"/>
                <a:cs typeface="+mj-cs"/>
              </a:rPr>
              <a:t>Shanna Parra</a:t>
            </a:r>
          </a:p>
          <a:p>
            <a:pPr marL="0" marR="0" lvl="0" indent="0" algn="ctr" defTabSz="914400" rtl="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j-ea"/>
                <a:cs typeface="+mj-cs"/>
              </a:rPr>
              <a:t>Director Commercial Sustainability</a:t>
            </a:r>
          </a:p>
          <a:p>
            <a:pPr marL="0" marR="0" lvl="0" indent="0" algn="ctr" defTabSz="914400" rtl="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j-ea"/>
                <a:cs typeface="+mj-cs"/>
              </a:rPr>
              <a:t>Email: </a:t>
            </a:r>
            <a:r>
              <a:rPr kumimoji="0" lang="en-US" sz="1800" b="1" i="0" u="none" strike="noStrike" kern="1200" cap="none" normalizeH="0" baseline="0" noProof="0">
                <a:ln>
                  <a:noFill/>
                </a:ln>
                <a:solidFill>
                  <a:schemeClr val="accent6"/>
                </a:solidFill>
                <a:effectLst/>
                <a:uLnTx/>
                <a:uFillTx/>
                <a:ea typeface="+mj-ea"/>
                <a:cs typeface="+mj-cs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hanna.parra@pepsico.com</a:t>
            </a:r>
            <a:endParaRPr kumimoji="0" lang="en-US" sz="1800" b="1" i="0" u="none" strike="noStrike" kern="1200" cap="none" normalizeH="0" baseline="0" noProof="0">
              <a:ln>
                <a:noFill/>
              </a:ln>
              <a:solidFill>
                <a:schemeClr val="accent6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4139B90-3FE8-170E-6F0E-E837766F723D}"/>
              </a:ext>
            </a:extLst>
          </p:cNvPr>
          <p:cNvSpPr txBox="1"/>
          <p:nvPr/>
        </p:nvSpPr>
        <p:spPr>
          <a:xfrm>
            <a:off x="6419849" y="3999295"/>
            <a:ext cx="4988562" cy="1100301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algn="ctr">
              <a:spcAft>
                <a:spcPts val="300"/>
              </a:spcAft>
              <a:defRPr/>
            </a:pPr>
            <a:r>
              <a:rPr lang="en-US" sz="2800" b="1">
                <a:solidFill>
                  <a:schemeClr val="accent4"/>
                </a:solidFill>
                <a:effectLst/>
                <a:ea typeface="+mj-ea"/>
                <a:cs typeface="+mj-cs"/>
              </a:rPr>
              <a:t>Catherine Walton</a:t>
            </a:r>
          </a:p>
          <a:p>
            <a:pPr marL="0" marR="0" lvl="0" indent="0" algn="ctr" defTabSz="914400" rtl="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ea typeface="+mj-ea"/>
                <a:cs typeface="+mj-cs"/>
              </a:rPr>
              <a:t>Senior Manager Commercial Sustainability</a:t>
            </a:r>
          </a:p>
          <a:p>
            <a:pPr marL="0" marR="0" lvl="0" indent="0" algn="ctr" defTabSz="914400" rtl="0" eaLnBrk="1" fontAlgn="auto" latinLnBrk="0" hangingPunct="1">
              <a:spcBef>
                <a:spcPts val="20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normalizeH="0" baseline="0" noProof="0">
                <a:ln>
                  <a:noFill/>
                </a:ln>
                <a:solidFill>
                  <a:srgbClr val="FFFFFF"/>
                </a:solidFill>
                <a:uLnTx/>
                <a:uFillTx/>
                <a:ea typeface="+mj-ea"/>
                <a:cs typeface="+mj-cs"/>
              </a:rPr>
              <a:t>Email: </a:t>
            </a:r>
            <a:r>
              <a:rPr kumimoji="0" lang="en-US" b="1" i="0" u="none" strike="noStrike" kern="1200" cap="none" normalizeH="0" baseline="0" noProof="0">
                <a:ln>
                  <a:noFill/>
                </a:ln>
                <a:solidFill>
                  <a:schemeClr val="accent6"/>
                </a:solidFill>
                <a:uLnTx/>
                <a:uFillTx/>
                <a:ea typeface="+mj-ea"/>
                <a:cs typeface="+mj-cs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therine.walton@pepsico.com</a:t>
            </a:r>
            <a:endParaRPr kumimoji="0" lang="en-US" b="1" i="0" u="none" strike="noStrike" kern="1200" cap="none" normalizeH="0" baseline="0" noProof="0">
              <a:ln>
                <a:noFill/>
              </a:ln>
              <a:solidFill>
                <a:schemeClr val="accent6"/>
              </a:solidFill>
              <a:uLnTx/>
              <a:uFillTx/>
              <a:ea typeface="+mj-ea"/>
              <a:cs typeface="+mj-cs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A6F432F-5D2F-CF10-7748-659091639F1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 flipH="1" flipV="1">
            <a:off x="0" y="0"/>
            <a:ext cx="2261365" cy="144942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0C0B6B4A-E5D8-5450-CA20-DC6D253FBD4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2823" y="6592472"/>
            <a:ext cx="2324100" cy="10795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37D71BA-BD7C-85E7-696C-BDC23FB46B57}"/>
              </a:ext>
            </a:extLst>
          </p:cNvPr>
          <p:cNvSpPr txBox="1"/>
          <p:nvPr/>
        </p:nvSpPr>
        <p:spPr>
          <a:xfrm>
            <a:off x="11064240" y="6589345"/>
            <a:ext cx="993807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D6EE3F35-5EAA-0344-B6FC-083E415BACD9}" type="slidenum">
              <a:rPr lang="en-US" sz="700" spc="300" smtClean="0">
                <a:solidFill>
                  <a:schemeClr val="accent5"/>
                </a:solidFill>
                <a:latin typeface="+mj-lt"/>
                <a:ea typeface="+mj-ea"/>
                <a:cs typeface="+mj-cs"/>
              </a:rPr>
              <a:pPr algn="r"/>
              <a:t>5</a:t>
            </a:fld>
            <a:endParaRPr lang="en-US" sz="700" spc="300">
              <a:solidFill>
                <a:schemeClr val="accent5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9550924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ep+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00C041"/>
      </a:accent1>
      <a:accent2>
        <a:srgbClr val="00A651"/>
      </a:accent2>
      <a:accent3>
        <a:srgbClr val="8EDB43"/>
      </a:accent3>
      <a:accent4>
        <a:srgbClr val="FFC62C"/>
      </a:accent4>
      <a:accent5>
        <a:srgbClr val="0065E5"/>
      </a:accent5>
      <a:accent6>
        <a:srgbClr val="4FE2F3"/>
      </a:accent6>
      <a:hlink>
        <a:srgbClr val="797979"/>
      </a:hlink>
      <a:folHlink>
        <a:srgbClr val="A9A9A9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odaStream Professional Template">
  <a:themeElements>
    <a:clrScheme name="SodaStream Professional template">
      <a:dk1>
        <a:sysClr val="windowText" lastClr="000000"/>
      </a:dk1>
      <a:lt1>
        <a:sysClr val="window" lastClr="FFFFFF"/>
      </a:lt1>
      <a:dk2>
        <a:srgbClr val="818285"/>
      </a:dk2>
      <a:lt2>
        <a:srgbClr val="E7E6E6"/>
      </a:lt2>
      <a:accent1>
        <a:srgbClr val="BDBEC0"/>
      </a:accent1>
      <a:accent2>
        <a:srgbClr val="00AEEF"/>
      </a:accent2>
      <a:accent3>
        <a:srgbClr val="FBF1AB"/>
      </a:accent3>
      <a:accent4>
        <a:srgbClr val="D3E090"/>
      </a:accent4>
      <a:accent5>
        <a:srgbClr val="FAA47B"/>
      </a:accent5>
      <a:accent6>
        <a:srgbClr val="EA4B59"/>
      </a:accent6>
      <a:hlink>
        <a:srgbClr val="E7E6E6"/>
      </a:hlink>
      <a:folHlink>
        <a:srgbClr val="92D050"/>
      </a:folHlink>
    </a:clrScheme>
    <a:fontScheme name="SodaStream professional template">
      <a:majorFont>
        <a:latin typeface="Avenir Next LT Pro Demi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PepsiCo Positive Template ">
  <a:themeElements>
    <a:clrScheme name="pep+ Color Palett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0065E5"/>
      </a:accent1>
      <a:accent2>
        <a:srgbClr val="143DCF"/>
      </a:accent2>
      <a:accent3>
        <a:srgbClr val="4FE2F3"/>
      </a:accent3>
      <a:accent4>
        <a:srgbClr val="00A651"/>
      </a:accent4>
      <a:accent5>
        <a:srgbClr val="8EDB43"/>
      </a:accent5>
      <a:accent6>
        <a:srgbClr val="FFC72C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Office Theme">
  <a:themeElements>
    <a:clrScheme name="Custom 2">
      <a:dk1>
        <a:srgbClr val="000000"/>
      </a:dk1>
      <a:lt1>
        <a:srgbClr val="FFFFFF"/>
      </a:lt1>
      <a:dk2>
        <a:srgbClr val="004C97"/>
      </a:dk2>
      <a:lt2>
        <a:srgbClr val="EFEFEF"/>
      </a:lt2>
      <a:accent1>
        <a:srgbClr val="01A7DF"/>
      </a:accent1>
      <a:accent2>
        <a:srgbClr val="4FE1F2"/>
      </a:accent2>
      <a:accent3>
        <a:srgbClr val="8BD843"/>
      </a:accent3>
      <a:accent4>
        <a:srgbClr val="00AB42"/>
      </a:accent4>
      <a:accent5>
        <a:srgbClr val="00A351"/>
      </a:accent5>
      <a:accent6>
        <a:srgbClr val="FFC107"/>
      </a:accent6>
      <a:hlink>
        <a:srgbClr val="004C97"/>
      </a:hlink>
      <a:folHlink>
        <a:srgbClr val="954F72"/>
      </a:folHlink>
    </a:clrScheme>
    <a:fontScheme name="Pep ESG 22">
      <a:majorFont>
        <a:latin typeface="Fibra One"/>
        <a:ea typeface=""/>
        <a:cs typeface=""/>
      </a:majorFont>
      <a:minorFont>
        <a:latin typeface="Fibra On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15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857c35d-03fd-423e-b114-9dc0e2c72e52">
      <UserInfo>
        <DisplayName>Jani, Victoria {PEP}</DisplayName>
        <AccountId>28</AccountId>
        <AccountType/>
      </UserInfo>
      <UserInfo>
        <DisplayName>Walton, Catherine {PEP}</DisplayName>
        <AccountId>9</AccountId>
        <AccountType/>
      </UserInfo>
      <UserInfo>
        <DisplayName>Melnicoff, Matt {PEP}</DisplayName>
        <AccountId>14</AccountId>
        <AccountType/>
      </UserInfo>
      <UserInfo>
        <DisplayName>Wise, Paige {PEP}</DisplayName>
        <AccountId>187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A39D8254A486D47BDA1D12EE80FBE24" ma:contentTypeVersion="7" ma:contentTypeDescription="Create a new document." ma:contentTypeScope="" ma:versionID="c6b3173c810d59a80c918d32f6eea627">
  <xsd:schema xmlns:xsd="http://www.w3.org/2001/XMLSchema" xmlns:xs="http://www.w3.org/2001/XMLSchema" xmlns:p="http://schemas.microsoft.com/office/2006/metadata/properties" xmlns:ns2="7f5b135c-cfae-40d3-8ca1-70614c99b4b6" xmlns:ns3="e857c35d-03fd-423e-b114-9dc0e2c72e52" targetNamespace="http://schemas.microsoft.com/office/2006/metadata/properties" ma:root="true" ma:fieldsID="c2a5ef088a08c453a59e1e6789b9adb3" ns2:_="" ns3:_="">
    <xsd:import namespace="7f5b135c-cfae-40d3-8ca1-70614c99b4b6"/>
    <xsd:import namespace="e857c35d-03fd-423e-b114-9dc0e2c72e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5b135c-cfae-40d3-8ca1-70614c99b4b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BillingMetadata" ma:index="14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857c35d-03fd-423e-b114-9dc0e2c72e5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6E741FD-624B-477A-9BF6-82CBDA985F57}">
  <ds:schemaRefs>
    <ds:schemaRef ds:uri="http://purl.org/dc/elements/1.1/"/>
    <ds:schemaRef ds:uri="http://schemas.microsoft.com/office/2006/metadata/properties"/>
    <ds:schemaRef ds:uri="http://purl.org/dc/terms/"/>
    <ds:schemaRef ds:uri="7f5b135c-cfae-40d3-8ca1-70614c99b4b6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e857c35d-03fd-423e-b114-9dc0e2c72e52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5B67B39-585C-47EB-A5D9-099E9078658A}">
  <ds:schemaRefs>
    <ds:schemaRef ds:uri="7f5b135c-cfae-40d3-8ca1-70614c99b4b6"/>
    <ds:schemaRef ds:uri="e857c35d-03fd-423e-b114-9dc0e2c72e5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4FCF79C-FF8C-40E8-BAAE-AC41127B8C3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</TotalTime>
  <Words>396</Words>
  <Application>Microsoft Office PowerPoint</Application>
  <PresentationFormat>Widescreen</PresentationFormat>
  <Paragraphs>71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7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7" baseType="lpstr">
      <vt:lpstr>Arial</vt:lpstr>
      <vt:lpstr>Avenir Next LT Pro</vt:lpstr>
      <vt:lpstr>Calibri</vt:lpstr>
      <vt:lpstr>Century Gothic</vt:lpstr>
      <vt:lpstr>Courier New</vt:lpstr>
      <vt:lpstr>Fibra One</vt:lpstr>
      <vt:lpstr>Fibra One Bold</vt:lpstr>
      <vt:lpstr>Fibra One Heavy</vt:lpstr>
      <vt:lpstr>Fibra One Light</vt:lpstr>
      <vt:lpstr>Fibra One SemiBold</vt:lpstr>
      <vt:lpstr>Fibra One UltraBold</vt:lpstr>
      <vt:lpstr>Helvetica Neue</vt:lpstr>
      <vt:lpstr>Leelawadee</vt:lpstr>
      <vt:lpstr>Segoe UI</vt:lpstr>
      <vt:lpstr>Times New Roman</vt:lpstr>
      <vt:lpstr>Wingdings</vt:lpstr>
      <vt:lpstr>Wingdings 2</vt:lpstr>
      <vt:lpstr>Office Theme</vt:lpstr>
      <vt:lpstr>SodaStream Professional Template</vt:lpstr>
      <vt:lpstr>PepsiCo Positive Template </vt:lpstr>
      <vt:lpstr>4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 and introduction guide to how to use this deck as a valuable sell and capability resource</dc:title>
  <dc:creator>Walton, Catherine {PEP}</dc:creator>
  <cp:lastModifiedBy>Melnicoff, Matt {PEP}</cp:lastModifiedBy>
  <cp:revision>2</cp:revision>
  <dcterms:created xsi:type="dcterms:W3CDTF">2020-09-30T06:22:14Z</dcterms:created>
  <dcterms:modified xsi:type="dcterms:W3CDTF">2025-04-08T21:49:40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rder">
    <vt:r8>1827600</vt:r8>
  </property>
  <property fmtid="{D5CDD505-2E9C-101B-9397-08002B2CF9AE}" pid="3" name="ComplianceAssetId">
    <vt:lpwstr/>
  </property>
  <property fmtid="{D5CDD505-2E9C-101B-9397-08002B2CF9AE}" pid="4" name="_ExtendedDescription">
    <vt:lpwstr/>
  </property>
  <property fmtid="{D5CDD505-2E9C-101B-9397-08002B2CF9AE}" pid="5" name="_dlc_policyId">
    <vt:lpwstr>0x010100423F792D533AE0488D9601B7B1810673|-369733750</vt:lpwstr>
  </property>
  <property fmtid="{D5CDD505-2E9C-101B-9397-08002B2CF9AE}" pid="6" name="MediaServiceImageTags">
    <vt:lpwstr/>
  </property>
  <property fmtid="{D5CDD505-2E9C-101B-9397-08002B2CF9AE}" pid="7" name="ItemRetentionFormula">
    <vt:lpwstr>&lt;formula offset="7" unit="days" /&gt;</vt:lpwstr>
  </property>
  <property fmtid="{D5CDD505-2E9C-101B-9397-08002B2CF9AE}" pid="8" name="_dlc_LastRun">
    <vt:lpwstr>02/18/2024 05:21:18</vt:lpwstr>
  </property>
  <property fmtid="{D5CDD505-2E9C-101B-9397-08002B2CF9AE}" pid="9" name="_dlc_ItemStageId">
    <vt:lpwstr>1</vt:lpwstr>
  </property>
  <property fmtid="{D5CDD505-2E9C-101B-9397-08002B2CF9AE}" pid="10" name="ContentTypeId">
    <vt:lpwstr>0x0101005A39D8254A486D47BDA1D12EE80FBE24</vt:lpwstr>
  </property>
  <property fmtid="{D5CDD505-2E9C-101B-9397-08002B2CF9AE}" pid="11" name="MSIP_Label_58532329-be11-4890-9a1f-358987518ed8_Enabled">
    <vt:lpwstr>True</vt:lpwstr>
  </property>
  <property fmtid="{D5CDD505-2E9C-101B-9397-08002B2CF9AE}" pid="12" name="MSIP_Label_58532329-be11-4890-9a1f-358987518ed8_SiteId">
    <vt:lpwstr>42cc3295-cd0e-449c-b98e-5ce5b560c1d3</vt:lpwstr>
  </property>
  <property fmtid="{D5CDD505-2E9C-101B-9397-08002B2CF9AE}" pid="13" name="MSIP_Label_58532329-be11-4890-9a1f-358987518ed8_SetDate">
    <vt:lpwstr>2024-03-14T02:04:19Z</vt:lpwstr>
  </property>
  <property fmtid="{D5CDD505-2E9C-101B-9397-08002B2CF9AE}" pid="14" name="MSIP_Label_58532329-be11-4890-9a1f-358987518ed8_Name">
    <vt:lpwstr>Internal</vt:lpwstr>
  </property>
  <property fmtid="{D5CDD505-2E9C-101B-9397-08002B2CF9AE}" pid="15" name="MSIP_Label_58532329-be11-4890-9a1f-358987518ed8_ActionId">
    <vt:lpwstr>ff849e73-a057-4fd7-a12a-b59e3694e0e1</vt:lpwstr>
  </property>
  <property fmtid="{D5CDD505-2E9C-101B-9397-08002B2CF9AE}" pid="16" name="MSIP_Label_58532329-be11-4890-9a1f-358987518ed8_Removed">
    <vt:lpwstr>False</vt:lpwstr>
  </property>
  <property fmtid="{D5CDD505-2E9C-101B-9397-08002B2CF9AE}" pid="17" name="MSIP_Label_58532329-be11-4890-9a1f-358987518ed8_Extended_MSFT_Method">
    <vt:lpwstr>Standard</vt:lpwstr>
  </property>
  <property fmtid="{D5CDD505-2E9C-101B-9397-08002B2CF9AE}" pid="18" name="Sensitivity">
    <vt:lpwstr>Internal</vt:lpwstr>
  </property>
</Properties>
</file>